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tags/tag1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79" r:id="rId4"/>
  </p:sldMasterIdLst>
  <p:notesMasterIdLst>
    <p:notesMasterId r:id="rId26"/>
  </p:notesMasterIdLst>
  <p:handoutMasterIdLst>
    <p:handoutMasterId r:id="rId27"/>
  </p:handoutMasterIdLst>
  <p:sldIdLst>
    <p:sldId id="602" r:id="rId5"/>
    <p:sldId id="286" r:id="rId6"/>
    <p:sldId id="1449" r:id="rId7"/>
    <p:sldId id="4047" r:id="rId8"/>
    <p:sldId id="4048" r:id="rId9"/>
    <p:sldId id="636" r:id="rId10"/>
    <p:sldId id="4052" r:id="rId11"/>
    <p:sldId id="4049" r:id="rId12"/>
    <p:sldId id="467" r:id="rId13"/>
    <p:sldId id="4053" r:id="rId14"/>
    <p:sldId id="4054" r:id="rId15"/>
    <p:sldId id="630" r:id="rId16"/>
    <p:sldId id="4061" r:id="rId17"/>
    <p:sldId id="4063" r:id="rId18"/>
    <p:sldId id="639" r:id="rId19"/>
    <p:sldId id="4043" r:id="rId20"/>
    <p:sldId id="4051" r:id="rId21"/>
    <p:sldId id="4057" r:id="rId22"/>
    <p:sldId id="4058" r:id="rId23"/>
    <p:sldId id="4059" r:id="rId24"/>
    <p:sldId id="1663" r:id="rId25"/>
  </p:sldIdLst>
  <p:sldSz cx="9906000" cy="6858000" type="A4"/>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idget Hurley" initials="BH" lastIdx="1" clrIdx="0">
    <p:extLst>
      <p:ext uri="{19B8F6BF-5375-455C-9EA6-DF929625EA0E}">
        <p15:presenceInfo xmlns:p15="http://schemas.microsoft.com/office/powerpoint/2012/main" userId="S::tug44965@temple.edu::275f63dc-6c60-47ce-8eb8-20135409a50d" providerId="AD"/>
      </p:ext>
    </p:extLst>
  </p:cmAuthor>
  <p:cmAuthor id="2" name="Brooke Baty" initials="BB" lastIdx="38" clrIdx="1">
    <p:extLst>
      <p:ext uri="{19B8F6BF-5375-455C-9EA6-DF929625EA0E}">
        <p15:presenceInfo xmlns:p15="http://schemas.microsoft.com/office/powerpoint/2012/main" userId="ec07392bbaf8a52a" providerId="Windows Live"/>
      </p:ext>
    </p:extLst>
  </p:cmAuthor>
  <p:cmAuthor id="3" name="Bridget Hurley" initials="BH [2]" lastIdx="1" clrIdx="2">
    <p:extLst>
      <p:ext uri="{19B8F6BF-5375-455C-9EA6-DF929625EA0E}">
        <p15:presenceInfo xmlns:p15="http://schemas.microsoft.com/office/powerpoint/2012/main" userId="Bridget Hurley" providerId="None"/>
      </p:ext>
    </p:extLst>
  </p:cmAuthor>
  <p:cmAuthor id="4" name="Moncur, Andy" initials="MA" lastIdx="2" clrIdx="3">
    <p:extLst>
      <p:ext uri="{19B8F6BF-5375-455C-9EA6-DF929625EA0E}">
        <p15:presenceInfo xmlns:p15="http://schemas.microsoft.com/office/powerpoint/2012/main" userId="S::Andy.Moncur@DuffandPhelps.com::de274970-963c-4f95-b288-0e422d7338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5560"/>
    <a:srgbClr val="43B049"/>
    <a:srgbClr val="13B5E8"/>
    <a:srgbClr val="14487F"/>
    <a:srgbClr val="939396"/>
    <a:srgbClr val="B7B7B9"/>
    <a:srgbClr val="FFFFFF"/>
    <a:srgbClr val="FDC006"/>
    <a:srgbClr val="4D4D4F"/>
    <a:srgbClr val="4C9F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719014-FEE2-4159-B365-A7DF5B546DD1}" v="135" dt="2022-10-05T22:22:05.0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1" d="100"/>
          <a:sy n="51" d="100"/>
        </p:scale>
        <p:origin x="1528" y="44"/>
      </p:cViewPr>
      <p:guideLst>
        <p:guide orient="horz" pos="2040"/>
        <p:guide pos="31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https://duffandphelpsgbr-my.sharepoint.com/personal/alex_houghton_duffandphelps_com/Documents/Manchester%20Advisory/Presentations/CFN/CFN%20October%202022/CFN%20Workbook%20Oct-2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41651185507042E-2"/>
          <c:y val="5.6185835928510924E-2"/>
          <c:w val="0.94727990195697409"/>
          <c:h val="0.75490253164690968"/>
        </c:manualLayout>
      </c:layout>
      <c:barChart>
        <c:barDir val="col"/>
        <c:grouping val="clustered"/>
        <c:varyColors val="0"/>
        <c:ser>
          <c:idx val="0"/>
          <c:order val="0"/>
          <c:spPr>
            <a:solidFill>
              <a:srgbClr val="14487F"/>
            </a:solidFill>
            <a:ln>
              <a:noFill/>
            </a:ln>
            <a:effectLst/>
          </c:spPr>
          <c:invertIfNegative val="0"/>
          <c:dLbls>
            <c:dLbl>
              <c:idx val="11"/>
              <c:layout>
                <c:manualLayout>
                  <c:x val="1.396797352640079E-3"/>
                  <c:y val="-5.37579932606736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29-4C97-9B5B-5DCDAE888AD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14487F"/>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R$2:$AH$2</c:f>
              <c:numCache>
                <c:formatCode>mmm\-yy</c:formatCode>
                <c:ptCount val="17"/>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numCache>
            </c:numRef>
          </c:cat>
          <c:val>
            <c:numRef>
              <c:f>Sheet1!$R$3:$AH$3</c:f>
              <c:numCache>
                <c:formatCode>General</c:formatCode>
                <c:ptCount val="17"/>
                <c:pt idx="0">
                  <c:v>36</c:v>
                </c:pt>
                <c:pt idx="1">
                  <c:v>41</c:v>
                </c:pt>
                <c:pt idx="2">
                  <c:v>41</c:v>
                </c:pt>
                <c:pt idx="3">
                  <c:v>55</c:v>
                </c:pt>
                <c:pt idx="4">
                  <c:v>61</c:v>
                </c:pt>
                <c:pt idx="5">
                  <c:v>70</c:v>
                </c:pt>
                <c:pt idx="6">
                  <c:v>76</c:v>
                </c:pt>
                <c:pt idx="7">
                  <c:v>84</c:v>
                </c:pt>
                <c:pt idx="8">
                  <c:v>43</c:v>
                </c:pt>
                <c:pt idx="9">
                  <c:v>82</c:v>
                </c:pt>
                <c:pt idx="10">
                  <c:v>96</c:v>
                </c:pt>
                <c:pt idx="11">
                  <c:v>71</c:v>
                </c:pt>
                <c:pt idx="12">
                  <c:v>64</c:v>
                </c:pt>
                <c:pt idx="13">
                  <c:v>91</c:v>
                </c:pt>
                <c:pt idx="14">
                  <c:v>75</c:v>
                </c:pt>
                <c:pt idx="15">
                  <c:v>99</c:v>
                </c:pt>
                <c:pt idx="16">
                  <c:v>96</c:v>
                </c:pt>
              </c:numCache>
            </c:numRef>
          </c:val>
          <c:extLst>
            <c:ext xmlns:c16="http://schemas.microsoft.com/office/drawing/2014/chart" uri="{C3380CC4-5D6E-409C-BE32-E72D297353CC}">
              <c16:uniqueId val="{00000000-FBA9-4D0A-80F9-27EE8A106501}"/>
            </c:ext>
          </c:extLst>
        </c:ser>
        <c:dLbls>
          <c:showLegendKey val="0"/>
          <c:showVal val="0"/>
          <c:showCatName val="0"/>
          <c:showSerName val="0"/>
          <c:showPercent val="0"/>
          <c:showBubbleSize val="0"/>
        </c:dLbls>
        <c:gapWidth val="100"/>
        <c:overlap val="-27"/>
        <c:axId val="911779968"/>
        <c:axId val="911783296"/>
      </c:barChart>
      <c:dateAx>
        <c:axId val="911779968"/>
        <c:scaling>
          <c:orientation val="minMax"/>
        </c:scaling>
        <c:delete val="0"/>
        <c:axPos val="b"/>
        <c:numFmt formatCode="mmm\-yy" sourceLinked="1"/>
        <c:majorTickMark val="out"/>
        <c:minorTickMark val="none"/>
        <c:tickLblPos val="nextTo"/>
        <c:spPr>
          <a:noFill/>
          <a:ln w="9525" cap="flat" cmpd="sng" algn="ctr">
            <a:solidFill>
              <a:srgbClr val="4D4D4F"/>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700" b="0" i="0" u="none" strike="noStrike" kern="1200" baseline="0">
                <a:solidFill>
                  <a:srgbClr val="4D4D4F"/>
                </a:solidFill>
                <a:latin typeface="Nunito Sans"/>
                <a:ea typeface="Nunito Sans"/>
                <a:cs typeface="Nunito Sans"/>
              </a:defRPr>
            </a:pPr>
            <a:endParaRPr lang="en-US"/>
          </a:p>
        </c:txPr>
        <c:crossAx val="911783296"/>
        <c:crosses val="autoZero"/>
        <c:auto val="1"/>
        <c:lblOffset val="100"/>
        <c:baseTimeUnit val="months"/>
      </c:dateAx>
      <c:valAx>
        <c:axId val="911783296"/>
        <c:scaling>
          <c:orientation val="minMax"/>
        </c:scaling>
        <c:delete val="0"/>
        <c:axPos val="l"/>
        <c:majorGridlines>
          <c:spPr>
            <a:ln w="9525" cap="flat" cmpd="sng" algn="ctr">
              <a:solidFill>
                <a:srgbClr val="EDEDED"/>
              </a:solidFill>
              <a:prstDash val="solid"/>
              <a:round/>
            </a:ln>
            <a:effectLst/>
          </c:spPr>
        </c:majorGridlines>
        <c:numFmt formatCode="General" sourceLinked="1"/>
        <c:majorTickMark val="out"/>
        <c:minorTickMark val="none"/>
        <c:tickLblPos val="nextTo"/>
        <c:spPr>
          <a:noFill/>
          <a:ln w="9525">
            <a:solidFill>
              <a:srgbClr val="4D4D4F"/>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rgbClr val="4D4D4F"/>
                </a:solidFill>
                <a:latin typeface="Nunito Sans"/>
                <a:ea typeface="Nunito Sans"/>
                <a:cs typeface="Nunito Sans"/>
              </a:defRPr>
            </a:pPr>
            <a:endParaRPr lang="en-US"/>
          </a:p>
        </c:txPr>
        <c:crossAx val="911779968"/>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800">
          <a:latin typeface="Nunito Sans"/>
          <a:ea typeface="Nunito Sans"/>
          <a:cs typeface="Nunito Sans"/>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4487F"/>
            </a:solidFill>
            <a:ln>
              <a:noFill/>
            </a:ln>
            <a:effectLst/>
          </c:spPr>
          <c:invertIfNegative val="0"/>
          <c:dLbls>
            <c:dLbl>
              <c:idx val="16"/>
              <c:layout>
                <c:manualLayout>
                  <c:x val="-4.0801229048676967E-3"/>
                  <c:y val="-2.96494651131436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68B-4317-935C-F0B7F7AA0354}"/>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14487F"/>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O$39:$AG$39</c:f>
              <c:numCache>
                <c:formatCode>mmm\-yy</c:formatCode>
                <c:ptCount val="19"/>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pt idx="18">
                  <c:v>44774</c:v>
                </c:pt>
              </c:numCache>
            </c:numRef>
          </c:cat>
          <c:val>
            <c:numRef>
              <c:f>Sheet1!$O$40:$AG$40</c:f>
              <c:numCache>
                <c:formatCode>#,##0</c:formatCode>
                <c:ptCount val="19"/>
                <c:pt idx="0">
                  <c:v>590</c:v>
                </c:pt>
                <c:pt idx="1">
                  <c:v>882</c:v>
                </c:pt>
                <c:pt idx="2">
                  <c:v>815</c:v>
                </c:pt>
                <c:pt idx="3">
                  <c:v>929</c:v>
                </c:pt>
                <c:pt idx="4">
                  <c:v>1116</c:v>
                </c:pt>
                <c:pt idx="5">
                  <c:v>1006</c:v>
                </c:pt>
                <c:pt idx="6">
                  <c:v>1253</c:v>
                </c:pt>
                <c:pt idx="7">
                  <c:v>1328</c:v>
                </c:pt>
                <c:pt idx="8">
                  <c:v>1245</c:v>
                </c:pt>
                <c:pt idx="9">
                  <c:v>1520</c:v>
                </c:pt>
                <c:pt idx="10">
                  <c:v>1359</c:v>
                </c:pt>
                <c:pt idx="11">
                  <c:v>1359</c:v>
                </c:pt>
                <c:pt idx="12">
                  <c:v>1329</c:v>
                </c:pt>
                <c:pt idx="13">
                  <c:v>1842</c:v>
                </c:pt>
                <c:pt idx="14">
                  <c:v>1772</c:v>
                </c:pt>
                <c:pt idx="15">
                  <c:v>1587</c:v>
                </c:pt>
                <c:pt idx="16">
                  <c:v>1453</c:v>
                </c:pt>
                <c:pt idx="17">
                  <c:v>1609</c:v>
                </c:pt>
                <c:pt idx="18">
                  <c:v>1662</c:v>
                </c:pt>
              </c:numCache>
            </c:numRef>
          </c:val>
          <c:extLst>
            <c:ext xmlns:c16="http://schemas.microsoft.com/office/drawing/2014/chart" uri="{C3380CC4-5D6E-409C-BE32-E72D297353CC}">
              <c16:uniqueId val="{00000000-668B-4317-935C-F0B7F7AA0354}"/>
            </c:ext>
          </c:extLst>
        </c:ser>
        <c:dLbls>
          <c:showLegendKey val="0"/>
          <c:showVal val="0"/>
          <c:showCatName val="0"/>
          <c:showSerName val="0"/>
          <c:showPercent val="0"/>
          <c:showBubbleSize val="0"/>
        </c:dLbls>
        <c:gapWidth val="100"/>
        <c:overlap val="-27"/>
        <c:axId val="346438671"/>
        <c:axId val="346451983"/>
      </c:barChart>
      <c:dateAx>
        <c:axId val="346438671"/>
        <c:scaling>
          <c:orientation val="minMax"/>
        </c:scaling>
        <c:delete val="0"/>
        <c:axPos val="b"/>
        <c:numFmt formatCode="mmm\-yy" sourceLinked="1"/>
        <c:majorTickMark val="out"/>
        <c:minorTickMark val="none"/>
        <c:tickLblPos val="nextTo"/>
        <c:spPr>
          <a:noFill/>
          <a:ln w="9525" cap="flat" cmpd="sng" algn="ctr">
            <a:solidFill>
              <a:srgbClr val="4D4D4F"/>
            </a:solidFill>
            <a:prstDash val="solid"/>
            <a:round/>
          </a:ln>
          <a:effectLst/>
          <a:extLst>
            <a:ext uri="{909E8E84-426E-40DD-AFC4-6F175D3DCCD1}">
              <a14:hiddenFill xmlns:a14="http://schemas.microsoft.com/office/drawing/2010/main">
                <a:noFill/>
              </a14:hiddenFill>
            </a:ext>
          </a:extLst>
        </c:spPr>
        <c:txPr>
          <a:bodyPr rot="0" spcFirstLastPara="1" vertOverflow="ellipsis" wrap="square" anchor="ctr" anchorCtr="1"/>
          <a:lstStyle/>
          <a:p>
            <a:pPr>
              <a:defRPr sz="800" b="0" i="0" u="none" strike="noStrike" kern="1200" baseline="0">
                <a:solidFill>
                  <a:srgbClr val="4D4D4F"/>
                </a:solidFill>
                <a:latin typeface="Nunito Sans"/>
                <a:ea typeface="Nunito Sans"/>
                <a:cs typeface="Nunito Sans"/>
              </a:defRPr>
            </a:pPr>
            <a:endParaRPr lang="en-US"/>
          </a:p>
        </c:txPr>
        <c:crossAx val="346451983"/>
        <c:crosses val="autoZero"/>
        <c:auto val="1"/>
        <c:lblOffset val="100"/>
        <c:baseTimeUnit val="months"/>
      </c:dateAx>
      <c:valAx>
        <c:axId val="346451983"/>
        <c:scaling>
          <c:orientation val="minMax"/>
        </c:scaling>
        <c:delete val="0"/>
        <c:axPos val="l"/>
        <c:majorGridlines>
          <c:spPr>
            <a:ln w="9525" cap="flat" cmpd="sng" algn="ctr">
              <a:solidFill>
                <a:srgbClr val="EDEDED"/>
              </a:solidFill>
              <a:prstDash val="solid"/>
              <a:round/>
            </a:ln>
            <a:effectLst/>
          </c:spPr>
        </c:majorGridlines>
        <c:numFmt formatCode="#,##0" sourceLinked="1"/>
        <c:majorTickMark val="out"/>
        <c:minorTickMark val="none"/>
        <c:tickLblPos val="nextTo"/>
        <c:spPr>
          <a:noFill/>
          <a:ln w="9525">
            <a:solidFill>
              <a:srgbClr val="4D4D4F"/>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rgbClr val="4D4D4F"/>
                </a:solidFill>
                <a:latin typeface="Nunito Sans"/>
                <a:ea typeface="Nunito Sans"/>
                <a:cs typeface="Nunito Sans"/>
              </a:defRPr>
            </a:pPr>
            <a:endParaRPr lang="en-US"/>
          </a:p>
        </c:txPr>
        <c:crossAx val="34643867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defRPr sz="800">
          <a:latin typeface="Nunito Sans"/>
          <a:ea typeface="Nunito Sans"/>
          <a:cs typeface="Nunito Sans"/>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3!$B$20</c:f>
              <c:strCache>
                <c:ptCount val="1"/>
                <c:pt idx="0">
                  <c:v>Construction</c:v>
                </c:pt>
              </c:strCache>
            </c:strRef>
          </c:tx>
          <c:spPr>
            <a:solidFill>
              <a:srgbClr val="1448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14487F"/>
                      </a:solidFill>
                      <a:prstDash val="solid"/>
                      <a:round/>
                    </a:ln>
                    <a:effectLst/>
                  </c:spPr>
                </c15:leaderLines>
              </c:ext>
            </c:extLst>
          </c:dLbls>
          <c:cat>
            <c:strRef>
              <c:f>Sheet3!$C$19:$D$19</c:f>
              <c:strCache>
                <c:ptCount val="2"/>
                <c:pt idx="0">
                  <c:v>FY21</c:v>
                </c:pt>
                <c:pt idx="1">
                  <c:v>FY22 Pro Rata</c:v>
                </c:pt>
              </c:strCache>
            </c:strRef>
          </c:cat>
          <c:val>
            <c:numRef>
              <c:f>Sheet3!$C$20:$D$20</c:f>
              <c:numCache>
                <c:formatCode>#,##0_);\(#,##0\)</c:formatCode>
                <c:ptCount val="2"/>
                <c:pt idx="0">
                  <c:v>2582</c:v>
                </c:pt>
                <c:pt idx="1">
                  <c:v>4177.7142857142862</c:v>
                </c:pt>
              </c:numCache>
            </c:numRef>
          </c:val>
          <c:extLst>
            <c:ext xmlns:c16="http://schemas.microsoft.com/office/drawing/2014/chart" uri="{C3380CC4-5D6E-409C-BE32-E72D297353CC}">
              <c16:uniqueId val="{00000000-A174-41C8-A5D3-94F5B7D4C14E}"/>
            </c:ext>
          </c:extLst>
        </c:ser>
        <c:ser>
          <c:idx val="1"/>
          <c:order val="1"/>
          <c:tx>
            <c:strRef>
              <c:f>Sheet3!$B$21</c:f>
              <c:strCache>
                <c:ptCount val="1"/>
                <c:pt idx="0">
                  <c:v>Retail and Wholesale</c:v>
                </c:pt>
              </c:strCache>
            </c:strRef>
          </c:tx>
          <c:spPr>
            <a:solidFill>
              <a:srgbClr val="43B0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43B049"/>
                      </a:solidFill>
                      <a:prstDash val="solid"/>
                      <a:round/>
                    </a:ln>
                    <a:effectLst/>
                  </c:spPr>
                </c15:leaderLines>
              </c:ext>
            </c:extLst>
          </c:dLbls>
          <c:cat>
            <c:strRef>
              <c:f>Sheet3!$C$19:$D$19</c:f>
              <c:strCache>
                <c:ptCount val="2"/>
                <c:pt idx="0">
                  <c:v>FY21</c:v>
                </c:pt>
                <c:pt idx="1">
                  <c:v>FY22 Pro Rata</c:v>
                </c:pt>
              </c:strCache>
            </c:strRef>
          </c:cat>
          <c:val>
            <c:numRef>
              <c:f>Sheet3!$C$21:$D$21</c:f>
              <c:numCache>
                <c:formatCode>#,##0_);\(#,##0\)</c:formatCode>
                <c:ptCount val="2"/>
                <c:pt idx="0">
                  <c:v>1722</c:v>
                </c:pt>
                <c:pt idx="1">
                  <c:v>3101.1428571428573</c:v>
                </c:pt>
              </c:numCache>
            </c:numRef>
          </c:val>
          <c:extLst>
            <c:ext xmlns:c16="http://schemas.microsoft.com/office/drawing/2014/chart" uri="{C3380CC4-5D6E-409C-BE32-E72D297353CC}">
              <c16:uniqueId val="{00000001-A174-41C8-A5D3-94F5B7D4C14E}"/>
            </c:ext>
          </c:extLst>
        </c:ser>
        <c:ser>
          <c:idx val="2"/>
          <c:order val="2"/>
          <c:tx>
            <c:strRef>
              <c:f>Sheet3!$B$22</c:f>
              <c:strCache>
                <c:ptCount val="1"/>
                <c:pt idx="0">
                  <c:v>Leisure &amp; Hospitality</c:v>
                </c:pt>
              </c:strCache>
            </c:strRef>
          </c:tx>
          <c:spPr>
            <a:solidFill>
              <a:srgbClr val="4C9F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4C9FC8"/>
                      </a:solidFill>
                      <a:prstDash val="solid"/>
                      <a:round/>
                    </a:ln>
                    <a:effectLst/>
                  </c:spPr>
                </c15:leaderLines>
              </c:ext>
            </c:extLst>
          </c:dLbls>
          <c:cat>
            <c:strRef>
              <c:f>Sheet3!$C$19:$D$19</c:f>
              <c:strCache>
                <c:ptCount val="2"/>
                <c:pt idx="0">
                  <c:v>FY21</c:v>
                </c:pt>
                <c:pt idx="1">
                  <c:v>FY22 Pro Rata</c:v>
                </c:pt>
              </c:strCache>
            </c:strRef>
          </c:cat>
          <c:val>
            <c:numRef>
              <c:f>Sheet3!$C$22:$D$22</c:f>
              <c:numCache>
                <c:formatCode>#,##0_);\(#,##0\)</c:formatCode>
                <c:ptCount val="2"/>
                <c:pt idx="0">
                  <c:v>1676</c:v>
                </c:pt>
                <c:pt idx="1">
                  <c:v>2508</c:v>
                </c:pt>
              </c:numCache>
            </c:numRef>
          </c:val>
          <c:extLst>
            <c:ext xmlns:c16="http://schemas.microsoft.com/office/drawing/2014/chart" uri="{C3380CC4-5D6E-409C-BE32-E72D297353CC}">
              <c16:uniqueId val="{00000002-A174-41C8-A5D3-94F5B7D4C14E}"/>
            </c:ext>
          </c:extLst>
        </c:ser>
        <c:ser>
          <c:idx val="3"/>
          <c:order val="3"/>
          <c:tx>
            <c:strRef>
              <c:f>Sheet3!$B$23</c:f>
              <c:strCache>
                <c:ptCount val="1"/>
                <c:pt idx="0">
                  <c:v>Recruitment, Travel &amp; Support Services</c:v>
                </c:pt>
              </c:strCache>
            </c:strRef>
          </c:tx>
          <c:spPr>
            <a:solidFill>
              <a:srgbClr val="00305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003057"/>
                      </a:solidFill>
                      <a:prstDash val="solid"/>
                      <a:round/>
                    </a:ln>
                    <a:effectLst/>
                  </c:spPr>
                </c15:leaderLines>
              </c:ext>
            </c:extLst>
          </c:dLbls>
          <c:cat>
            <c:strRef>
              <c:f>Sheet3!$C$19:$D$19</c:f>
              <c:strCache>
                <c:ptCount val="2"/>
                <c:pt idx="0">
                  <c:v>FY21</c:v>
                </c:pt>
                <c:pt idx="1">
                  <c:v>FY22 Pro Rata</c:v>
                </c:pt>
              </c:strCache>
            </c:strRef>
          </c:cat>
          <c:val>
            <c:numRef>
              <c:f>Sheet3!$C$23:$D$23</c:f>
              <c:numCache>
                <c:formatCode>#,##0_);\(#,##0\)</c:formatCode>
                <c:ptCount val="2"/>
                <c:pt idx="0">
                  <c:v>1584</c:v>
                </c:pt>
                <c:pt idx="1">
                  <c:v>2199.4285714285716</c:v>
                </c:pt>
              </c:numCache>
            </c:numRef>
          </c:val>
          <c:extLst>
            <c:ext xmlns:c16="http://schemas.microsoft.com/office/drawing/2014/chart" uri="{C3380CC4-5D6E-409C-BE32-E72D297353CC}">
              <c16:uniqueId val="{00000003-A174-41C8-A5D3-94F5B7D4C14E}"/>
            </c:ext>
          </c:extLst>
        </c:ser>
        <c:ser>
          <c:idx val="4"/>
          <c:order val="4"/>
          <c:tx>
            <c:strRef>
              <c:f>Sheet3!$B$24</c:f>
              <c:strCache>
                <c:ptCount val="1"/>
                <c:pt idx="0">
                  <c:v>Professional &amp; Financial Services</c:v>
                </c:pt>
              </c:strCache>
            </c:strRef>
          </c:tx>
          <c:spPr>
            <a:solidFill>
              <a:srgbClr val="A7A8A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A7A8A9"/>
                      </a:solidFill>
                      <a:prstDash val="solid"/>
                      <a:round/>
                    </a:ln>
                    <a:effectLst/>
                  </c:spPr>
                </c15:leaderLines>
              </c:ext>
            </c:extLst>
          </c:dLbls>
          <c:cat>
            <c:strRef>
              <c:f>Sheet3!$C$19:$D$19</c:f>
              <c:strCache>
                <c:ptCount val="2"/>
                <c:pt idx="0">
                  <c:v>FY21</c:v>
                </c:pt>
                <c:pt idx="1">
                  <c:v>FY22 Pro Rata</c:v>
                </c:pt>
              </c:strCache>
            </c:strRef>
          </c:cat>
          <c:val>
            <c:numRef>
              <c:f>Sheet3!$C$24:$D$24</c:f>
              <c:numCache>
                <c:formatCode>#,##0_);\(#,##0\)</c:formatCode>
                <c:ptCount val="2"/>
                <c:pt idx="0">
                  <c:v>1676</c:v>
                </c:pt>
                <c:pt idx="1">
                  <c:v>2254.2857142857142</c:v>
                </c:pt>
              </c:numCache>
            </c:numRef>
          </c:val>
          <c:extLst>
            <c:ext xmlns:c16="http://schemas.microsoft.com/office/drawing/2014/chart" uri="{C3380CC4-5D6E-409C-BE32-E72D297353CC}">
              <c16:uniqueId val="{00000004-A174-41C8-A5D3-94F5B7D4C14E}"/>
            </c:ext>
          </c:extLst>
        </c:ser>
        <c:ser>
          <c:idx val="5"/>
          <c:order val="5"/>
          <c:tx>
            <c:strRef>
              <c:f>Sheet3!$B$25</c:f>
              <c:strCache>
                <c:ptCount val="1"/>
                <c:pt idx="0">
                  <c:v>Manufacturing</c:v>
                </c:pt>
              </c:strCache>
            </c:strRef>
          </c:tx>
          <c:spPr>
            <a:solidFill>
              <a:srgbClr val="67D2D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67D2DF"/>
                      </a:solidFill>
                      <a:prstDash val="solid"/>
                      <a:round/>
                    </a:ln>
                    <a:effectLst/>
                  </c:spPr>
                </c15:leaderLines>
              </c:ext>
            </c:extLst>
          </c:dLbls>
          <c:cat>
            <c:strRef>
              <c:f>Sheet3!$C$19:$D$19</c:f>
              <c:strCache>
                <c:ptCount val="2"/>
                <c:pt idx="0">
                  <c:v>FY21</c:v>
                </c:pt>
                <c:pt idx="1">
                  <c:v>FY22 Pro Rata</c:v>
                </c:pt>
              </c:strCache>
            </c:strRef>
          </c:cat>
          <c:val>
            <c:numRef>
              <c:f>Sheet3!$C$25:$D$25</c:f>
              <c:numCache>
                <c:formatCode>#,##0_);\(#,##0\)</c:formatCode>
                <c:ptCount val="2"/>
                <c:pt idx="0">
                  <c:v>1018</c:v>
                </c:pt>
                <c:pt idx="1">
                  <c:v>1638.8571428571431</c:v>
                </c:pt>
              </c:numCache>
            </c:numRef>
          </c:val>
          <c:extLst>
            <c:ext xmlns:c16="http://schemas.microsoft.com/office/drawing/2014/chart" uri="{C3380CC4-5D6E-409C-BE32-E72D297353CC}">
              <c16:uniqueId val="{00000005-A174-41C8-A5D3-94F5B7D4C14E}"/>
            </c:ext>
          </c:extLst>
        </c:ser>
        <c:ser>
          <c:idx val="6"/>
          <c:order val="6"/>
          <c:tx>
            <c:strRef>
              <c:f>Sheet3!$B$26</c:f>
              <c:strCache>
                <c:ptCount val="1"/>
                <c:pt idx="0">
                  <c:v>Information &amp; Communication</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455560"/>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BBDDE6"/>
                      </a:solidFill>
                      <a:prstDash val="solid"/>
                      <a:round/>
                    </a:ln>
                    <a:effectLst/>
                  </c:spPr>
                </c15:leaderLines>
              </c:ext>
            </c:extLst>
          </c:dLbls>
          <c:cat>
            <c:strRef>
              <c:f>Sheet3!$C$19:$D$19</c:f>
              <c:strCache>
                <c:ptCount val="2"/>
                <c:pt idx="0">
                  <c:v>FY21</c:v>
                </c:pt>
                <c:pt idx="1">
                  <c:v>FY22 Pro Rata</c:v>
                </c:pt>
              </c:strCache>
            </c:strRef>
          </c:cat>
          <c:val>
            <c:numRef>
              <c:f>Sheet3!$C$26:$D$26</c:f>
            </c:numRef>
          </c:val>
          <c:extLst>
            <c:ext xmlns:c16="http://schemas.microsoft.com/office/drawing/2014/chart" uri="{C3380CC4-5D6E-409C-BE32-E72D297353CC}">
              <c16:uniqueId val="{00000006-A174-41C8-A5D3-94F5B7D4C14E}"/>
            </c:ext>
          </c:extLst>
        </c:ser>
        <c:ser>
          <c:idx val="7"/>
          <c:order val="7"/>
          <c:tx>
            <c:strRef>
              <c:f>Sheet3!$B$27</c:f>
              <c:strCache>
                <c:ptCount val="1"/>
                <c:pt idx="0">
                  <c:v>Other Service Activities</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215733"/>
                      </a:solidFill>
                      <a:prstDash val="solid"/>
                      <a:round/>
                    </a:ln>
                    <a:effectLst/>
                  </c:spPr>
                </c15:leaderLines>
              </c:ext>
            </c:extLst>
          </c:dLbls>
          <c:cat>
            <c:strRef>
              <c:f>Sheet3!$C$19:$D$19</c:f>
              <c:strCache>
                <c:ptCount val="2"/>
                <c:pt idx="0">
                  <c:v>FY21</c:v>
                </c:pt>
                <c:pt idx="1">
                  <c:v>FY22 Pro Rata</c:v>
                </c:pt>
              </c:strCache>
            </c:strRef>
          </c:cat>
          <c:val>
            <c:numRef>
              <c:f>Sheet3!$C$27:$D$27</c:f>
            </c:numRef>
          </c:val>
          <c:extLst>
            <c:ext xmlns:c16="http://schemas.microsoft.com/office/drawing/2014/chart" uri="{C3380CC4-5D6E-409C-BE32-E72D297353CC}">
              <c16:uniqueId val="{00000007-A174-41C8-A5D3-94F5B7D4C14E}"/>
            </c:ext>
          </c:extLst>
        </c:ser>
        <c:ser>
          <c:idx val="8"/>
          <c:order val="8"/>
          <c:tx>
            <c:strRef>
              <c:f>Sheet3!$B$28</c:f>
              <c:strCache>
                <c:ptCount val="1"/>
                <c:pt idx="0">
                  <c:v>Transportation and Storage</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455560"/>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C4D600"/>
                      </a:solidFill>
                      <a:prstDash val="solid"/>
                      <a:round/>
                    </a:ln>
                    <a:effectLst/>
                  </c:spPr>
                </c15:leaderLines>
              </c:ext>
            </c:extLst>
          </c:dLbls>
          <c:cat>
            <c:strRef>
              <c:f>Sheet3!$C$19:$D$19</c:f>
              <c:strCache>
                <c:ptCount val="2"/>
                <c:pt idx="0">
                  <c:v>FY21</c:v>
                </c:pt>
                <c:pt idx="1">
                  <c:v>FY22 Pro Rata</c:v>
                </c:pt>
              </c:strCache>
            </c:strRef>
          </c:cat>
          <c:val>
            <c:numRef>
              <c:f>Sheet3!$C$28:$D$28</c:f>
            </c:numRef>
          </c:val>
          <c:extLst>
            <c:ext xmlns:c16="http://schemas.microsoft.com/office/drawing/2014/chart" uri="{C3380CC4-5D6E-409C-BE32-E72D297353CC}">
              <c16:uniqueId val="{00000008-A174-41C8-A5D3-94F5B7D4C14E}"/>
            </c:ext>
          </c:extLst>
        </c:ser>
        <c:ser>
          <c:idx val="9"/>
          <c:order val="9"/>
          <c:tx>
            <c:strRef>
              <c:f>Sheet3!$B$29</c:f>
              <c:strCache>
                <c:ptCount val="1"/>
                <c:pt idx="0">
                  <c:v>Real Estate</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D00070"/>
                      </a:solidFill>
                      <a:prstDash val="solid"/>
                      <a:round/>
                    </a:ln>
                    <a:effectLst/>
                  </c:spPr>
                </c15:leaderLines>
              </c:ext>
            </c:extLst>
          </c:dLbls>
          <c:cat>
            <c:strRef>
              <c:f>Sheet3!$C$19:$D$19</c:f>
              <c:strCache>
                <c:ptCount val="2"/>
                <c:pt idx="0">
                  <c:v>FY21</c:v>
                </c:pt>
                <c:pt idx="1">
                  <c:v>FY22 Pro Rata</c:v>
                </c:pt>
              </c:strCache>
            </c:strRef>
          </c:cat>
          <c:val>
            <c:numRef>
              <c:f>Sheet3!$C$29:$D$29</c:f>
            </c:numRef>
          </c:val>
          <c:extLst>
            <c:ext xmlns:c16="http://schemas.microsoft.com/office/drawing/2014/chart" uri="{C3380CC4-5D6E-409C-BE32-E72D297353CC}">
              <c16:uniqueId val="{00000009-A174-41C8-A5D3-94F5B7D4C14E}"/>
            </c:ext>
          </c:extLst>
        </c:ser>
        <c:ser>
          <c:idx val="10"/>
          <c:order val="10"/>
          <c:tx>
            <c:strRef>
              <c:f>Sheet3!$B$30</c:f>
              <c:strCache>
                <c:ptCount val="1"/>
                <c:pt idx="0">
                  <c:v>Other </c:v>
                </c:pt>
              </c:strCache>
            </c:strRef>
          </c:tx>
          <c:spPr>
            <a:solidFill>
              <a:srgbClr val="7030A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174-41C8-A5D3-94F5B7D4C14E}"/>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174-41C8-A5D3-94F5B7D4C14E}"/>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rgbClr val="14487F"/>
                      </a:solidFill>
                      <a:prstDash val="solid"/>
                      <a:round/>
                    </a:ln>
                    <a:effectLst/>
                  </c:spPr>
                </c15:leaderLines>
              </c:ext>
            </c:extLst>
          </c:dLbls>
          <c:cat>
            <c:strRef>
              <c:f>Sheet3!$C$19:$D$19</c:f>
              <c:strCache>
                <c:ptCount val="2"/>
                <c:pt idx="0">
                  <c:v>FY21</c:v>
                </c:pt>
                <c:pt idx="1">
                  <c:v>FY22 Pro Rata</c:v>
                </c:pt>
              </c:strCache>
            </c:strRef>
          </c:cat>
          <c:val>
            <c:numRef>
              <c:f>Sheet3!$C$30:$D$30</c:f>
              <c:numCache>
                <c:formatCode>#,##0_);\(#,##0\)</c:formatCode>
                <c:ptCount val="2"/>
                <c:pt idx="0">
                  <c:v>3801</c:v>
                </c:pt>
                <c:pt idx="1">
                  <c:v>5792.5714285714294</c:v>
                </c:pt>
              </c:numCache>
            </c:numRef>
          </c:val>
          <c:extLst>
            <c:ext xmlns:c16="http://schemas.microsoft.com/office/drawing/2014/chart" uri="{C3380CC4-5D6E-409C-BE32-E72D297353CC}">
              <c16:uniqueId val="{0000000C-A174-41C8-A5D3-94F5B7D4C14E}"/>
            </c:ext>
          </c:extLst>
        </c:ser>
        <c:dLbls>
          <c:showLegendKey val="0"/>
          <c:showVal val="0"/>
          <c:showCatName val="0"/>
          <c:showSerName val="0"/>
          <c:showPercent val="0"/>
          <c:showBubbleSize val="0"/>
        </c:dLbls>
        <c:gapWidth val="100"/>
        <c:overlap val="100"/>
        <c:axId val="1524048368"/>
        <c:axId val="1524054608"/>
      </c:barChart>
      <c:catAx>
        <c:axId val="1524048368"/>
        <c:scaling>
          <c:orientation val="minMax"/>
        </c:scaling>
        <c:delete val="0"/>
        <c:axPos val="b"/>
        <c:numFmt formatCode="General" sourceLinked="1"/>
        <c:majorTickMark val="out"/>
        <c:minorTickMark val="none"/>
        <c:tickLblPos val="nextTo"/>
        <c:spPr>
          <a:noFill/>
          <a:ln w="9525" cap="flat" cmpd="sng" algn="ctr">
            <a:solidFill>
              <a:srgbClr val="4D4D4F"/>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050" b="1" i="0" u="none" strike="noStrike" kern="1200" baseline="0">
                <a:solidFill>
                  <a:srgbClr val="4D4D4F"/>
                </a:solidFill>
                <a:latin typeface="Nunito Sans"/>
                <a:ea typeface="Nunito Sans"/>
                <a:cs typeface="Nunito Sans"/>
              </a:defRPr>
            </a:pPr>
            <a:endParaRPr lang="en-US"/>
          </a:p>
        </c:txPr>
        <c:crossAx val="1524054608"/>
        <c:crosses val="autoZero"/>
        <c:auto val="1"/>
        <c:lblAlgn val="ctr"/>
        <c:lblOffset val="100"/>
        <c:noMultiLvlLbl val="0"/>
      </c:catAx>
      <c:valAx>
        <c:axId val="1524054608"/>
        <c:scaling>
          <c:orientation val="minMax"/>
          <c:max val="22000"/>
        </c:scaling>
        <c:delete val="0"/>
        <c:axPos val="l"/>
        <c:majorGridlines>
          <c:spPr>
            <a:ln w="9525" cap="flat" cmpd="sng" algn="ctr">
              <a:solidFill>
                <a:srgbClr val="EDEDED"/>
              </a:solidFill>
              <a:prstDash val="solid"/>
              <a:round/>
            </a:ln>
            <a:effectLst/>
          </c:spPr>
        </c:majorGridlines>
        <c:numFmt formatCode="#,##0_);\(#,##0\)" sourceLinked="1"/>
        <c:majorTickMark val="out"/>
        <c:minorTickMark val="none"/>
        <c:tickLblPos val="nextTo"/>
        <c:spPr>
          <a:noFill/>
          <a:ln w="9525">
            <a:solidFill>
              <a:srgbClr val="4D4D4F"/>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000" b="1" i="0" u="none" strike="noStrike" kern="1200" baseline="0">
                <a:solidFill>
                  <a:srgbClr val="4D4D4F"/>
                </a:solidFill>
                <a:latin typeface="Nunito Sans"/>
                <a:ea typeface="Nunito Sans"/>
                <a:cs typeface="Nunito Sans"/>
              </a:defRPr>
            </a:pPr>
            <a:endParaRPr lang="en-US"/>
          </a:p>
        </c:txPr>
        <c:crossAx val="1524048368"/>
        <c:crosses val="autoZero"/>
        <c:crossBetween val="between"/>
        <c:majorUnit val="2000"/>
      </c:valAx>
      <c:spPr>
        <a:noFill/>
        <a:ln w="25400">
          <a:noFill/>
        </a:ln>
        <a:effectLst/>
      </c:spPr>
    </c:plotArea>
    <c:legend>
      <c:legendPos val="r"/>
      <c:layout>
        <c:manualLayout>
          <c:xMode val="edge"/>
          <c:yMode val="edge"/>
          <c:x val="0.72488736082116667"/>
          <c:y val="0.31565387685228657"/>
          <c:w val="0.26595512892079942"/>
          <c:h val="0.51172581718105148"/>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4D4D4F"/>
              </a:solidFill>
              <a:latin typeface="Nunito Sans"/>
              <a:ea typeface="Nunito Sans"/>
              <a:cs typeface="Nunito San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defRPr sz="800">
          <a:latin typeface="Nunito Sans"/>
          <a:ea typeface="Nunito Sans"/>
          <a:cs typeface="Nunito Sans"/>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735096" y="0"/>
          <a:ext cx="1827125" cy="1507856"/>
        </a:xfrm>
        <a:prstGeom prst="trapezoid">
          <a:avLst>
            <a:gd name="adj" fmla="val 60587"/>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735096" y="0"/>
        <a:ext cx="1827125" cy="1507856"/>
      </dsp:txXfrm>
    </dsp:sp>
    <dsp:sp modelId="{3B4D60DC-3880-4788-95C0-C5331C7B8E49}">
      <dsp:nvSpPr>
        <dsp:cNvPr id="0" name=""/>
        <dsp:cNvSpPr/>
      </dsp:nvSpPr>
      <dsp:spPr>
        <a:xfrm>
          <a:off x="1156730" y="1507856"/>
          <a:ext cx="2983856" cy="954605"/>
        </a:xfrm>
        <a:prstGeom prst="trapezoid">
          <a:avLst>
            <a:gd name="adj" fmla="val 60587"/>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678905" y="1507856"/>
        <a:ext cx="1939506" cy="954605"/>
      </dsp:txXfrm>
    </dsp:sp>
    <dsp:sp modelId="{58F179C7-16A8-432B-BA8B-1B820D98D9A2}">
      <dsp:nvSpPr>
        <dsp:cNvPr id="0" name=""/>
        <dsp:cNvSpPr/>
      </dsp:nvSpPr>
      <dsp:spPr>
        <a:xfrm>
          <a:off x="578365" y="2462462"/>
          <a:ext cx="4140587" cy="954605"/>
        </a:xfrm>
        <a:prstGeom prst="trapezoid">
          <a:avLst>
            <a:gd name="adj" fmla="val 60587"/>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302968" y="2462462"/>
        <a:ext cx="2691381" cy="954605"/>
      </dsp:txXfrm>
    </dsp:sp>
    <dsp:sp modelId="{4C93577F-86B3-4437-AC53-27DFCA2D946A}">
      <dsp:nvSpPr>
        <dsp:cNvPr id="0" name=""/>
        <dsp:cNvSpPr/>
      </dsp:nvSpPr>
      <dsp:spPr>
        <a:xfrm>
          <a:off x="0" y="3417067"/>
          <a:ext cx="5297318" cy="954605"/>
        </a:xfrm>
        <a:prstGeom prst="trapezoid">
          <a:avLst>
            <a:gd name="adj" fmla="val 60587"/>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927030" y="3417067"/>
        <a:ext cx="3443256" cy="95460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6B0C440-AE89-44FE-BE74-584EBD585A0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563</cdr:x>
      <cdr:y>0.01852</cdr:y>
    </cdr:from>
    <cdr:to>
      <cdr:x>0.00563</cdr:x>
      <cdr:y>0.01852</cdr:y>
    </cdr:to>
    <cdr:sp macro="" textlink="">
      <cdr:nvSpPr>
        <cdr:cNvPr id="3" name="UpSlideExportSave" descr="_EXPORT31_2_5520402588846.419259_402588846.419259_json{&quot;DestinationType&quot;:&quot;Powerpoint&quot;,&quot;PowerPointDestination&quot;:{&quot;FilePath&quot;:&quot;https://duffandphelpsgbr-my.sharepoint.com/personal/alex_houghton_duffandphelps_com/Documents/Manchester Advisory/Presentations/CFN/CFN October 2022/CFN - UK Restructuring Update.pptx&quot;,&quot;SlideId&quot;:4051}}" hidden="1">
          <a:extLst xmlns:a="http://schemas.openxmlformats.org/drawingml/2006/main">
            <a:ext uri="{FF2B5EF4-FFF2-40B4-BE49-F238E27FC236}">
              <a16:creationId xmlns:a16="http://schemas.microsoft.com/office/drawing/2014/main" id="{8EA50DC6-6C60-4BF3-AE40-32674A95C1DB}"/>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95F27354-792A-4E3D-B2E7-573F9A98A745}"/>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1111</cdr:x>
      <cdr:y>0.01852</cdr:y>
    </cdr:from>
    <cdr:to>
      <cdr:x>0.01111</cdr:x>
      <cdr:y>0.01852</cdr:y>
    </cdr:to>
    <cdr:sp macro="" textlink="">
      <cdr:nvSpPr>
        <cdr:cNvPr id="3" name="UpSlideExportSave" descr="_EXPORT31_2_2936402590531.373156_402590547.982167_json{&quot;DestinationType&quot;:&quot;Powerpoint&quot;,&quot;PowerPointDestination&quot;:{&quot;FilePath&quot;:&quot;https://duffandphelpsgbr-my.sharepoint.com/personal/alex_houghton_duffandphelps_com/Documents/Manchester Advisory/Presentations/CFN/CFN October 2022/CFN - UK Restructuring Update.pptx&quot;,&quot;SlideId&quot;:4051}}" hidden="1">
          <a:extLst xmlns:a="http://schemas.openxmlformats.org/drawingml/2006/main">
            <a:ext uri="{FF2B5EF4-FFF2-40B4-BE49-F238E27FC236}">
              <a16:creationId xmlns:a16="http://schemas.microsoft.com/office/drawing/2014/main" id="{EC674239-F462-4666-8854-1FB695639ABD}"/>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4C3C309A-FE41-4689-80F1-C4258F464EA7}"/>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1111</cdr:x>
      <cdr:y>0.01852</cdr:y>
    </cdr:from>
    <cdr:to>
      <cdr:x>0.01111</cdr:x>
      <cdr:y>0.01852</cdr:y>
    </cdr:to>
    <cdr:sp macro="" textlink="">
      <cdr:nvSpPr>
        <cdr:cNvPr id="3" name="UpSlideExportSave" hidden="1">
          <a:extLst xmlns:a="http://schemas.openxmlformats.org/drawingml/2006/main">
            <a:ext uri="{FF2B5EF4-FFF2-40B4-BE49-F238E27FC236}">
              <a16:creationId xmlns:a16="http://schemas.microsoft.com/office/drawing/2014/main" id="{F33F319E-A365-4109-A880-80AEFA8AF81B}"/>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9928B8-4231-FD40-AC9F-DBB8F6730377}"/>
              </a:ext>
            </a:extLst>
          </p:cNvPr>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r>
              <a:rPr lang="en-US">
                <a:latin typeface="Nunito Sans" pitchFamily="2" charset="77"/>
              </a:rPr>
              <a:t>Presentation Title Location</a:t>
            </a:r>
          </a:p>
        </p:txBody>
      </p:sp>
      <p:sp>
        <p:nvSpPr>
          <p:cNvPr id="3" name="Date Placeholder 2">
            <a:extLst>
              <a:ext uri="{FF2B5EF4-FFF2-40B4-BE49-F238E27FC236}">
                <a16:creationId xmlns:a16="http://schemas.microsoft.com/office/drawing/2014/main" id="{09CA7B90-1558-F849-8594-D87A3397A30D}"/>
              </a:ext>
            </a:extLst>
          </p:cNvPr>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58957181-563E-FD4C-88AF-2D8B9A459439}" type="datetimeFigureOut">
              <a:rPr lang="en-US" smtClean="0">
                <a:latin typeface="Nunito Sans" pitchFamily="2" charset="77"/>
              </a:rPr>
              <a:t>10/8/2022</a:t>
            </a:fld>
            <a:endParaRPr lang="en-US">
              <a:latin typeface="Nunito Sans" pitchFamily="2" charset="77"/>
            </a:endParaRPr>
          </a:p>
        </p:txBody>
      </p:sp>
      <p:sp>
        <p:nvSpPr>
          <p:cNvPr id="4" name="Footer Placeholder 3">
            <a:extLst>
              <a:ext uri="{FF2B5EF4-FFF2-40B4-BE49-F238E27FC236}">
                <a16:creationId xmlns:a16="http://schemas.microsoft.com/office/drawing/2014/main" id="{CB5CB853-5EA2-8846-ABE5-089180DAC985}"/>
              </a:ext>
            </a:extLst>
          </p:cNvPr>
          <p:cNvSpPr>
            <a:spLocks noGrp="1"/>
          </p:cNvSpPr>
          <p:nvPr>
            <p:ph type="ftr" sz="quarter" idx="2"/>
          </p:nvPr>
        </p:nvSpPr>
        <p:spPr>
          <a:xfrm>
            <a:off x="0" y="9377318"/>
            <a:ext cx="2945659" cy="495347"/>
          </a:xfrm>
          <a:prstGeom prst="rect">
            <a:avLst/>
          </a:prstGeom>
        </p:spPr>
        <p:txBody>
          <a:bodyPr vert="horz" lIns="91440" tIns="45720" rIns="91440" bIns="45720" rtlCol="0" anchor="b"/>
          <a:lstStyle>
            <a:lvl1pPr algn="l">
              <a:defRPr sz="1200"/>
            </a:lvl1pPr>
          </a:lstStyle>
          <a:p>
            <a:endParaRPr lang="en-US"/>
          </a:p>
        </p:txBody>
      </p:sp>
      <p:sp>
        <p:nvSpPr>
          <p:cNvPr id="6" name="Slide Number Placeholder 5">
            <a:extLst>
              <a:ext uri="{FF2B5EF4-FFF2-40B4-BE49-F238E27FC236}">
                <a16:creationId xmlns:a16="http://schemas.microsoft.com/office/drawing/2014/main" id="{09B0E5A7-AB15-450B-8BC7-04F328D4A6EB}"/>
              </a:ext>
            </a:extLst>
          </p:cNvPr>
          <p:cNvSpPr>
            <a:spLocks noGrp="1"/>
          </p:cNvSpPr>
          <p:nvPr>
            <p:ph type="sldNum" sz="quarter" idx="3"/>
          </p:nvPr>
        </p:nvSpPr>
        <p:spPr>
          <a:xfrm>
            <a:off x="3850443" y="9377318"/>
            <a:ext cx="2945659" cy="495347"/>
          </a:xfrm>
          <a:prstGeom prst="rect">
            <a:avLst/>
          </a:prstGeom>
        </p:spPr>
        <p:txBody>
          <a:bodyPr vert="horz" lIns="91440" tIns="45720" rIns="91440" bIns="45720" rtlCol="0" anchor="b"/>
          <a:lstStyle>
            <a:lvl1pPr algn="r">
              <a:defRPr sz="1200"/>
            </a:lvl1pPr>
          </a:lstStyle>
          <a:p>
            <a:fld id="{1A317455-AA70-4CB2-8E78-987EA02CD85F}" type="slidenum">
              <a:rPr lang="en-GB" smtClean="0"/>
              <a:t>‹#›</a:t>
            </a:fld>
            <a:endParaRPr lang="en-GB"/>
          </a:p>
        </p:txBody>
      </p:sp>
    </p:spTree>
    <p:extLst>
      <p:ext uri="{BB962C8B-B14F-4D97-AF65-F5344CB8AC3E}">
        <p14:creationId xmlns:p14="http://schemas.microsoft.com/office/powerpoint/2010/main" val="419197757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r>
              <a:rPr lang="en-US"/>
              <a:t>Presentation Title Location</a:t>
            </a:r>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E9B19120-71B8-406F-9BC4-1B55B480630C}" type="datetimeFigureOut">
              <a:rPr lang="en-US" smtClean="0"/>
              <a:t>10/8/2022</a:t>
            </a:fld>
            <a:endParaRPr lang="en-US"/>
          </a:p>
        </p:txBody>
      </p:sp>
      <p:sp>
        <p:nvSpPr>
          <p:cNvPr id="4" name="Slide Image Placeholder 3"/>
          <p:cNvSpPr>
            <a:spLocks noGrp="1" noRot="1" noChangeAspect="1"/>
          </p:cNvSpPr>
          <p:nvPr>
            <p:ph type="sldImg" idx="2"/>
          </p:nvPr>
        </p:nvSpPr>
        <p:spPr>
          <a:xfrm>
            <a:off x="993775" y="1235075"/>
            <a:ext cx="4810125" cy="3330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8"/>
            <a:ext cx="2945659" cy="49534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8"/>
            <a:ext cx="2945659" cy="495347"/>
          </a:xfrm>
          <a:prstGeom prst="rect">
            <a:avLst/>
          </a:prstGeom>
        </p:spPr>
        <p:txBody>
          <a:bodyPr vert="horz" lIns="91440" tIns="45720" rIns="91440" bIns="45720" rtlCol="0" anchor="b"/>
          <a:lstStyle>
            <a:lvl1pPr algn="r">
              <a:defRPr sz="1200"/>
            </a:lvl1pPr>
          </a:lstStyle>
          <a:p>
            <a:fld id="{3B0AFCB7-0146-414A-A153-40DBCFE70758}" type="slidenum">
              <a:rPr lang="en-US" smtClean="0"/>
              <a:t>‹#›</a:t>
            </a:fld>
            <a:endParaRPr lang="en-US"/>
          </a:p>
        </p:txBody>
      </p:sp>
    </p:spTree>
    <p:extLst>
      <p:ext uri="{BB962C8B-B14F-4D97-AF65-F5344CB8AC3E}">
        <p14:creationId xmlns:p14="http://schemas.microsoft.com/office/powerpoint/2010/main" val="17940259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Nunito Sans" pitchFamily="2" charset="77"/>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1235075"/>
            <a:ext cx="4810125"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0AFCB7-0146-414A-A153-40DBCFE70758}" type="slidenum">
              <a:rPr lang="en-US" smtClean="0"/>
              <a:t>1</a:t>
            </a:fld>
            <a:endParaRPr lang="en-US"/>
          </a:p>
        </p:txBody>
      </p:sp>
      <p:sp>
        <p:nvSpPr>
          <p:cNvPr id="5" name="Header Placeholder 4">
            <a:extLst>
              <a:ext uri="{FF2B5EF4-FFF2-40B4-BE49-F238E27FC236}">
                <a16:creationId xmlns:a16="http://schemas.microsoft.com/office/drawing/2014/main" id="{58D915A3-96C8-D749-87C9-64AF41860C4B}"/>
              </a:ext>
            </a:extLst>
          </p:cNvPr>
          <p:cNvSpPr>
            <a:spLocks noGrp="1"/>
          </p:cNvSpPr>
          <p:nvPr>
            <p:ph type="hdr" sz="quarter"/>
          </p:nvPr>
        </p:nvSpPr>
        <p:spPr/>
        <p:txBody>
          <a:bodyPr/>
          <a:lstStyle/>
          <a:p>
            <a:r>
              <a:rPr lang="en-US"/>
              <a:t>Presentation Title Location</a:t>
            </a:r>
          </a:p>
        </p:txBody>
      </p:sp>
    </p:spTree>
    <p:extLst>
      <p:ext uri="{BB962C8B-B14F-4D97-AF65-F5344CB8AC3E}">
        <p14:creationId xmlns:p14="http://schemas.microsoft.com/office/powerpoint/2010/main" val="3378201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7</a:t>
            </a:fld>
            <a:endParaRPr lang="en-US"/>
          </a:p>
        </p:txBody>
      </p:sp>
    </p:spTree>
    <p:extLst>
      <p:ext uri="{BB962C8B-B14F-4D97-AF65-F5344CB8AC3E}">
        <p14:creationId xmlns:p14="http://schemas.microsoft.com/office/powerpoint/2010/main" val="3543172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9</a:t>
            </a:fld>
            <a:endParaRPr lang="en-US"/>
          </a:p>
        </p:txBody>
      </p:sp>
    </p:spTree>
    <p:extLst>
      <p:ext uri="{BB962C8B-B14F-4D97-AF65-F5344CB8AC3E}">
        <p14:creationId xmlns:p14="http://schemas.microsoft.com/office/powerpoint/2010/main" val="2298226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0</a:t>
            </a:fld>
            <a:endParaRPr lang="en-US"/>
          </a:p>
        </p:txBody>
      </p:sp>
    </p:spTree>
    <p:extLst>
      <p:ext uri="{BB962C8B-B14F-4D97-AF65-F5344CB8AC3E}">
        <p14:creationId xmlns:p14="http://schemas.microsoft.com/office/powerpoint/2010/main" val="2436026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a:t>
            </a:fld>
            <a:endParaRPr lang="en-US"/>
          </a:p>
        </p:txBody>
      </p:sp>
    </p:spTree>
    <p:extLst>
      <p:ext uri="{BB962C8B-B14F-4D97-AF65-F5344CB8AC3E}">
        <p14:creationId xmlns:p14="http://schemas.microsoft.com/office/powerpoint/2010/main" val="621493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4</a:t>
            </a:fld>
            <a:endParaRPr lang="en-US"/>
          </a:p>
        </p:txBody>
      </p:sp>
    </p:spTree>
    <p:extLst>
      <p:ext uri="{BB962C8B-B14F-4D97-AF65-F5344CB8AC3E}">
        <p14:creationId xmlns:p14="http://schemas.microsoft.com/office/powerpoint/2010/main" val="1963667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5</a:t>
            </a:fld>
            <a:endParaRPr lang="en-US"/>
          </a:p>
        </p:txBody>
      </p:sp>
    </p:spTree>
    <p:extLst>
      <p:ext uri="{BB962C8B-B14F-4D97-AF65-F5344CB8AC3E}">
        <p14:creationId xmlns:p14="http://schemas.microsoft.com/office/powerpoint/2010/main" val="800228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7</a:t>
            </a:fld>
            <a:endParaRPr lang="en-US"/>
          </a:p>
        </p:txBody>
      </p:sp>
    </p:spTree>
    <p:extLst>
      <p:ext uri="{BB962C8B-B14F-4D97-AF65-F5344CB8AC3E}">
        <p14:creationId xmlns:p14="http://schemas.microsoft.com/office/powerpoint/2010/main" val="1191747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861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endParaRPr lang="en-US" dirty="0"/>
          </a:p>
        </p:txBody>
      </p:sp>
      <p:sp>
        <p:nvSpPr>
          <p:cNvPr id="5" name="Slide Number Placeholder 4"/>
          <p:cNvSpPr>
            <a:spLocks noGrp="1"/>
          </p:cNvSpPr>
          <p:nvPr>
            <p:ph type="sldNum" sz="quarter" idx="5"/>
          </p:nvPr>
        </p:nvSpPr>
        <p:spPr/>
        <p:txBody>
          <a:bodyPr/>
          <a:lstStyle/>
          <a:p>
            <a:fld id="{3B0AFCB7-0146-414A-A153-40DBCFE70758}" type="slidenum">
              <a:rPr lang="en-US" smtClean="0"/>
              <a:t>13</a:t>
            </a:fld>
            <a:endParaRPr lang="en-US" dirty="0"/>
          </a:p>
        </p:txBody>
      </p:sp>
    </p:spTree>
    <p:extLst>
      <p:ext uri="{BB962C8B-B14F-4D97-AF65-F5344CB8AC3E}">
        <p14:creationId xmlns:p14="http://schemas.microsoft.com/office/powerpoint/2010/main" val="3645747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endParaRPr lang="en-US" dirty="0"/>
          </a:p>
        </p:txBody>
      </p:sp>
      <p:sp>
        <p:nvSpPr>
          <p:cNvPr id="5" name="Slide Number Placeholder 4"/>
          <p:cNvSpPr>
            <a:spLocks noGrp="1"/>
          </p:cNvSpPr>
          <p:nvPr>
            <p:ph type="sldNum" sz="quarter" idx="5"/>
          </p:nvPr>
        </p:nvSpPr>
        <p:spPr/>
        <p:txBody>
          <a:bodyPr/>
          <a:lstStyle/>
          <a:p>
            <a:fld id="{3B0AFCB7-0146-414A-A153-40DBCFE70758}" type="slidenum">
              <a:rPr lang="en-US" smtClean="0"/>
              <a:t>14</a:t>
            </a:fld>
            <a:endParaRPr lang="en-US" dirty="0"/>
          </a:p>
        </p:txBody>
      </p:sp>
    </p:spTree>
    <p:extLst>
      <p:ext uri="{BB962C8B-B14F-4D97-AF65-F5344CB8AC3E}">
        <p14:creationId xmlns:p14="http://schemas.microsoft.com/office/powerpoint/2010/main" val="2810853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6</a:t>
            </a:fld>
            <a:endParaRPr lang="en-US"/>
          </a:p>
        </p:txBody>
      </p:sp>
    </p:spTree>
    <p:extLst>
      <p:ext uri="{BB962C8B-B14F-4D97-AF65-F5344CB8AC3E}">
        <p14:creationId xmlns:p14="http://schemas.microsoft.com/office/powerpoint/2010/main" val="32689692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kroll.com/"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65261" y="1156253"/>
            <a:ext cx="8748604" cy="1823135"/>
          </a:xfrm>
          <a:prstGeom prst="rect">
            <a:avLst/>
          </a:prstGeom>
        </p:spPr>
        <p:txBody>
          <a:bodyPr anchor="b" anchorCtr="0">
            <a:noAutofit/>
          </a:bodyPr>
          <a:lstStyle>
            <a:lvl1pPr>
              <a:defRPr sz="56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92135" y="2705109"/>
            <a:ext cx="7050286" cy="682625"/>
          </a:xfrm>
          <a:prstGeom prst="rect">
            <a:avLst/>
          </a:prstGeom>
        </p:spPr>
        <p:txBody>
          <a:bodyPr anchor="ctr" anchorCtr="0"/>
          <a:lstStyle>
            <a:lvl1pPr marL="0" marR="0" indent="0" algn="l" defTabSz="914354"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354"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88057" y="3275454"/>
            <a:ext cx="1964995" cy="290715"/>
          </a:xfrm>
          <a:prstGeom prst="rect">
            <a:avLst/>
          </a:prstGeom>
        </p:spPr>
        <p:txBody>
          <a:bodyPr/>
          <a:lstStyle>
            <a:lvl1pPr>
              <a:defRPr sz="1600" baseline="0">
                <a:solidFill>
                  <a:schemeClr val="accent1"/>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583995C9-E4EF-4AA7-AE8C-3B44721B0D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4" y="683261"/>
            <a:ext cx="1836423" cy="421697"/>
          </a:xfrm>
          <a:prstGeom prst="rect">
            <a:avLst/>
          </a:prstGeom>
        </p:spPr>
      </p:pic>
    </p:spTree>
    <p:extLst>
      <p:ext uri="{BB962C8B-B14F-4D97-AF65-F5344CB8AC3E}">
        <p14:creationId xmlns:p14="http://schemas.microsoft.com/office/powerpoint/2010/main" val="400003315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oject Timelin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41B52B9-7A1D-46EA-B8D3-A2364D3854FA}"/>
              </a:ext>
            </a:extLst>
          </p:cNvPr>
          <p:cNvSpPr/>
          <p:nvPr userDrawn="1"/>
        </p:nvSpPr>
        <p:spPr>
          <a:xfrm>
            <a:off x="4253844" y="-12780"/>
            <a:ext cx="1575261" cy="6948000"/>
          </a:xfrm>
          <a:prstGeom prst="rect">
            <a:avLst/>
          </a:prstGeom>
          <a:solidFill>
            <a:srgbClr val="439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365F"/>
              </a:solidFill>
            </a:endParaRPr>
          </a:p>
        </p:txBody>
      </p:sp>
      <p:sp>
        <p:nvSpPr>
          <p:cNvPr id="23" name="Rectangle 22">
            <a:extLst>
              <a:ext uri="{FF2B5EF4-FFF2-40B4-BE49-F238E27FC236}">
                <a16:creationId xmlns:a16="http://schemas.microsoft.com/office/drawing/2014/main" id="{64DEF51D-06C0-4F95-9336-D4E6CF0C6A1B}"/>
              </a:ext>
            </a:extLst>
          </p:cNvPr>
          <p:cNvSpPr/>
          <p:nvPr userDrawn="1"/>
        </p:nvSpPr>
        <p:spPr>
          <a:xfrm>
            <a:off x="1246287" y="-12780"/>
            <a:ext cx="2387324" cy="6948000"/>
          </a:xfrm>
          <a:prstGeom prst="rect">
            <a:avLst/>
          </a:prstGeom>
          <a:solidFill>
            <a:srgbClr val="0F3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365F"/>
              </a:solidFill>
            </a:endParaRPr>
          </a:p>
        </p:txBody>
      </p:sp>
      <p:sp>
        <p:nvSpPr>
          <p:cNvPr id="2" name="Rectangle 1">
            <a:extLst>
              <a:ext uri="{FF2B5EF4-FFF2-40B4-BE49-F238E27FC236}">
                <a16:creationId xmlns:a16="http://schemas.microsoft.com/office/drawing/2014/main" id="{08959DCA-7268-455E-8D9C-CCFBB6D39889}"/>
              </a:ext>
            </a:extLst>
          </p:cNvPr>
          <p:cNvSpPr/>
          <p:nvPr userDrawn="1"/>
        </p:nvSpPr>
        <p:spPr>
          <a:xfrm>
            <a:off x="-304825" y="-12780"/>
            <a:ext cx="1575261" cy="6948000"/>
          </a:xfrm>
          <a:prstGeom prst="rect">
            <a:avLst/>
          </a:prstGeom>
          <a:solidFill>
            <a:srgbClr val="0A24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12780"/>
            <a:ext cx="3581403" cy="694800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5316306" y="-12780"/>
            <a:ext cx="2187669"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3039502" y="-12780"/>
            <a:ext cx="1897935"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srgbClr val="0F365F"/>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1270436" y="-12780"/>
            <a:ext cx="1080432"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5"/>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3"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5"/>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5"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5"/>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5"/>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094278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20"/>
            <a:ext cx="3581403"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6" y="-1628"/>
            <a:ext cx="5419483"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6" y="-4801"/>
            <a:ext cx="4462889"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594299"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5"/>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3"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5"/>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5"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5"/>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5"/>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6">
            <a:extLst>
              <a:ext uri="{FF2B5EF4-FFF2-40B4-BE49-F238E27FC236}">
                <a16:creationId xmlns:a16="http://schemas.microsoft.com/office/drawing/2014/main" id="{785E8B76-FEB9-9A43-9381-9224BB07EFD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9829412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5590245" y="20"/>
            <a:ext cx="4315755"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7" y="0"/>
            <a:ext cx="5245360"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6" y="-4801"/>
            <a:ext cx="4312141"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480017"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34068" y="2806456"/>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109020" y="2806456"/>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651322" y="2804828"/>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8163875" y="2804828"/>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9931" y="2809526"/>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574882" y="2809526"/>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5117185" y="2807898"/>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629737" y="2807898"/>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4</a:t>
            </a:r>
          </a:p>
        </p:txBody>
      </p:sp>
      <p:sp>
        <p:nvSpPr>
          <p:cNvPr id="25" name="Footer Placeholder 6">
            <a:extLst>
              <a:ext uri="{FF2B5EF4-FFF2-40B4-BE49-F238E27FC236}">
                <a16:creationId xmlns:a16="http://schemas.microsoft.com/office/drawing/2014/main" id="{0F3D19E0-1CBC-7A43-A7C0-325887125BA6}"/>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6" name="Graphic 25">
            <a:extLst>
              <a:ext uri="{FF2B5EF4-FFF2-40B4-BE49-F238E27FC236}">
                <a16:creationId xmlns:a16="http://schemas.microsoft.com/office/drawing/2014/main" id="{ECD438A7-D31D-4490-820A-D1FC1B82C42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6660751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221224" y="2895604"/>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endParaRPr lang="en-US"/>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221224" y="4495809"/>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endParaRPr lang="en-US"/>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675313" y="1336679"/>
            <a:ext cx="4230688" cy="1298575"/>
          </a:xfrm>
          <a:prstGeom prst="rect">
            <a:avLst/>
          </a:prstGeom>
          <a:solidFill>
            <a:schemeClr val="bg2">
              <a:lumMod val="50000"/>
            </a:schemeClr>
          </a:solidFill>
        </p:spPr>
        <p:txBody>
          <a:bodyPr/>
          <a:lstStyle/>
          <a:p>
            <a:endParaRPr lang="en-US"/>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675313" y="2895604"/>
            <a:ext cx="4230688" cy="1298575"/>
          </a:xfrm>
          <a:prstGeom prst="rect">
            <a:avLst/>
          </a:prstGeom>
          <a:solidFill>
            <a:schemeClr val="bg2">
              <a:lumMod val="50000"/>
            </a:schemeClr>
          </a:solidFill>
        </p:spPr>
        <p:txBody>
          <a:bodyPr/>
          <a:lstStyle/>
          <a:p>
            <a:endParaRPr lang="en-US"/>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675313" y="4495809"/>
            <a:ext cx="4230688" cy="1298575"/>
          </a:xfrm>
          <a:prstGeom prst="rect">
            <a:avLst/>
          </a:prstGeom>
          <a:solidFill>
            <a:schemeClr val="bg1">
              <a:lumMod val="60000"/>
              <a:lumOff val="40000"/>
            </a:schemeClr>
          </a:solidFill>
        </p:spPr>
        <p:txBody>
          <a:bodyPr/>
          <a:lstStyle/>
          <a:p>
            <a:endParaRPr lang="en-US"/>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221224" y="1330327"/>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endParaRPr lang="en-US"/>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607771" y="551222"/>
            <a:ext cx="6238974" cy="361950"/>
          </a:xfrm>
          <a:prstGeom prst="rect">
            <a:avLst/>
          </a:prstGeom>
        </p:spPr>
        <p:txBody>
          <a:bodyPr/>
          <a:lstStyle>
            <a:lvl1pPr>
              <a:defRPr sz="2800"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55028" y="1331022"/>
            <a:ext cx="1082839" cy="1308993"/>
          </a:xfrm>
          <a:prstGeom prst="ellipse">
            <a:avLst/>
          </a:prstGeom>
        </p:spPr>
        <p:txBody>
          <a:body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5138738" y="1331022"/>
            <a:ext cx="1082839" cy="1308993"/>
          </a:xfrm>
          <a:prstGeom prst="ellipse">
            <a:avLst/>
          </a:prstGeom>
        </p:spPr>
        <p:txBody>
          <a:body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845693" y="1394102"/>
            <a:ext cx="3033713" cy="1185195"/>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365306" y="1394105"/>
            <a:ext cx="3033713" cy="1176569"/>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203770" y="2889165"/>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55028" y="2894646"/>
            <a:ext cx="1082839" cy="1308993"/>
          </a:xfrm>
          <a:prstGeom prst="ellipse">
            <a:avLst/>
          </a:prstGeom>
        </p:spPr>
        <p:txBody>
          <a:body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5138738" y="2894646"/>
            <a:ext cx="1082839" cy="1308993"/>
          </a:xfrm>
          <a:prstGeom prst="ellipse">
            <a:avLst/>
          </a:prstGeom>
        </p:spPr>
        <p:txBody>
          <a:body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845693" y="2957725"/>
            <a:ext cx="3033713"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365306" y="2957725"/>
            <a:ext cx="3033713"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userDrawn="1"/>
        </p:nvSpPr>
        <p:spPr>
          <a:xfrm>
            <a:off x="1203770" y="4489373"/>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55028" y="4494850"/>
            <a:ext cx="1082839" cy="1308993"/>
          </a:xfrm>
          <a:prstGeom prst="ellipse">
            <a:avLst/>
          </a:prstGeom>
        </p:spPr>
        <p:txBody>
          <a:bodyPr/>
          <a:lstStyle/>
          <a:p>
            <a:endParaRPr lang="en-US"/>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5138738" y="4494850"/>
            <a:ext cx="1082839" cy="1308993"/>
          </a:xfrm>
          <a:prstGeom prst="ellipse">
            <a:avLst/>
          </a:prstGeom>
        </p:spPr>
        <p:txBody>
          <a:bodyPr/>
          <a:lstStyle/>
          <a:p>
            <a:endParaRPr lang="en-US"/>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845693" y="4557933"/>
            <a:ext cx="3033713"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365306" y="4557933"/>
            <a:ext cx="3033713"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29" name="Graphic 28">
            <a:extLst>
              <a:ext uri="{FF2B5EF4-FFF2-40B4-BE49-F238E27FC236}">
                <a16:creationId xmlns:a16="http://schemas.microsoft.com/office/drawing/2014/main" id="{33257CED-F095-487E-8978-F0E504142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1144738214"/>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609143" y="551126"/>
            <a:ext cx="1901310"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SzPct val="100000"/>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8CD149D1-0D4A-4B7D-9060-8923BC9E16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169746413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noFill/>
          <a:ln w="28575">
            <a:solidFill>
              <a:schemeClr val="accent1">
                <a:lumMod val="5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A161B798-5717-D84E-B75A-BEA8ABFB3B10}"/>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4E25D6AC-E170-476E-B727-A84DDB1DAC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955074582"/>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noFill/>
          <a:ln w="28575">
            <a:solidFill>
              <a:schemeClr val="tx1"/>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F57273BE-9701-2343-9C12-E9C84A8C10DA}"/>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E2B1BD02-20ED-4780-84A5-BB0391ED9C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3201462128"/>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ln w="28575">
            <a:solidFill>
              <a:schemeClr val="tx1">
                <a:lumMod val="60000"/>
                <a:lumOff val="4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182AEDF7-CD55-4CC8-916D-D5CED27487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311907381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94705" y="2387469"/>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69196" y="1157757"/>
            <a:ext cx="8631801" cy="2617839"/>
          </a:xfrm>
          <a:prstGeom prst="rect">
            <a:avLst/>
          </a:prstGeom>
        </p:spPr>
        <p:txBody>
          <a:bodyPr lIns="0" tIns="0" rIns="0" bIns="0" numCol="1" anchor="b" anchorCtr="0"/>
          <a:lstStyle>
            <a:lvl1pPr>
              <a:lnSpc>
                <a:spcPct val="100000"/>
              </a:lnSpc>
              <a:defRPr sz="14000"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83009" y="3549138"/>
            <a:ext cx="8641954" cy="1150938"/>
          </a:xfrm>
          <a:prstGeom prst="rect">
            <a:avLst/>
          </a:prstGeom>
        </p:spPr>
        <p:txBody>
          <a:bodyPr numCol="1"/>
          <a:lstStyle>
            <a:lvl1pPr>
              <a:lnSpc>
                <a:spcPct val="100000"/>
              </a:lnSpc>
              <a:defRPr sz="3600">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8D70AD90-3E53-4981-8390-039EA1FEC4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108182601"/>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26" name="Straight Connector 25">
            <a:extLst>
              <a:ext uri="{FF2B5EF4-FFF2-40B4-BE49-F238E27FC236}">
                <a16:creationId xmlns:a16="http://schemas.microsoft.com/office/drawing/2014/main" id="{413F2988-5A75-EE44-ACDF-9476E81EBDA2}"/>
              </a:ext>
            </a:extLst>
          </p:cNvPr>
          <p:cNvCxnSpPr>
            <a:cxnSpLocks/>
          </p:cNvCxnSpPr>
          <p:nvPr userDrawn="1"/>
        </p:nvCxnSpPr>
        <p:spPr>
          <a:xfrm>
            <a:off x="681038" y="3987878"/>
            <a:ext cx="854392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userDrawn="1"/>
        </p:nvGrpSpPr>
        <p:grpSpPr>
          <a:xfrm>
            <a:off x="3347403" y="2159078"/>
            <a:ext cx="3211195"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35543"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86293"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687830"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838579"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677148"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827897"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35543"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86293"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687830"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838579"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677148"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827897"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2" name="Freeform 31">
            <a:extLst>
              <a:ext uri="{FF2B5EF4-FFF2-40B4-BE49-F238E27FC236}">
                <a16:creationId xmlns:a16="http://schemas.microsoft.com/office/drawing/2014/main" id="{5B03B75F-7492-D149-9998-D7946DDB8FC9}"/>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Freeform 34">
            <a:extLst>
              <a:ext uri="{FF2B5EF4-FFF2-40B4-BE49-F238E27FC236}">
                <a16:creationId xmlns:a16="http://schemas.microsoft.com/office/drawing/2014/main" id="{8797A48A-F809-F64D-976E-D6DB9D04BDD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Footer Placeholder 6">
            <a:extLst>
              <a:ext uri="{FF2B5EF4-FFF2-40B4-BE49-F238E27FC236}">
                <a16:creationId xmlns:a16="http://schemas.microsoft.com/office/drawing/2014/main" id="{04DEFB1C-D561-A645-84C5-350843463A59}"/>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D5CF1131-4854-469D-A46A-641DDF272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4" name="Rectangle 33">
            <a:extLst>
              <a:ext uri="{FF2B5EF4-FFF2-40B4-BE49-F238E27FC236}">
                <a16:creationId xmlns:a16="http://schemas.microsoft.com/office/drawing/2014/main" id="{E9C2BDFD-85D6-4F70-8AAC-49CBFD96B7D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48" name="Title 3">
            <a:extLst>
              <a:ext uri="{FF2B5EF4-FFF2-40B4-BE49-F238E27FC236}">
                <a16:creationId xmlns:a16="http://schemas.microsoft.com/office/drawing/2014/main" id="{FE5367F1-9EF1-48CA-9B9E-8570A8388DCB}"/>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49" name="Text Placeholder 2">
            <a:extLst>
              <a:ext uri="{FF2B5EF4-FFF2-40B4-BE49-F238E27FC236}">
                <a16:creationId xmlns:a16="http://schemas.microsoft.com/office/drawing/2014/main" id="{3229E482-733A-470B-9985-7A09E3739B0C}"/>
              </a:ext>
            </a:extLst>
          </p:cNvPr>
          <p:cNvSpPr>
            <a:spLocks noGrp="1"/>
          </p:cNvSpPr>
          <p:nvPr>
            <p:ph type="body" sz="quarter" idx="27"/>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361276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69609" y="1156253"/>
            <a:ext cx="8850616" cy="1823135"/>
          </a:xfrm>
          <a:prstGeom prst="rect">
            <a:avLst/>
          </a:prstGeom>
        </p:spPr>
        <p:txBody>
          <a:bodyPr anchor="b" anchorCtr="0">
            <a:noAutofit/>
          </a:bodyPr>
          <a:lstStyle>
            <a:lvl1pPr>
              <a:defRPr sz="56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8918102" y="2382398"/>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79203" y="2705100"/>
            <a:ext cx="7050286" cy="674688"/>
          </a:xfrm>
          <a:prstGeom prst="rect">
            <a:avLst/>
          </a:prstGeom>
        </p:spPr>
        <p:txBody>
          <a:bodyPr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88057" y="3275454"/>
            <a:ext cx="1964995" cy="290715"/>
          </a:xfrm>
          <a:prstGeom prst="rect">
            <a:avLst/>
          </a:prstGeom>
        </p:spPr>
        <p:txBody>
          <a:bodyPr/>
          <a:lstStyle>
            <a:lvl1pPr>
              <a:defRPr sz="1600" baseline="0">
                <a:solidFill>
                  <a:schemeClr val="bg2"/>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B427B8E7-FDEC-4F33-8972-000BED8749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4" y="678023"/>
            <a:ext cx="1836423" cy="426798"/>
          </a:xfrm>
          <a:prstGeom prst="rect">
            <a:avLst/>
          </a:prstGeom>
        </p:spPr>
      </p:pic>
    </p:spTree>
    <p:extLst>
      <p:ext uri="{BB962C8B-B14F-4D97-AF65-F5344CB8AC3E}">
        <p14:creationId xmlns:p14="http://schemas.microsoft.com/office/powerpoint/2010/main" val="265002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grpSp>
        <p:nvGrpSpPr>
          <p:cNvPr id="32" name="Group 31">
            <a:extLst>
              <a:ext uri="{FF2B5EF4-FFF2-40B4-BE49-F238E27FC236}">
                <a16:creationId xmlns:a16="http://schemas.microsoft.com/office/drawing/2014/main" id="{1D988FD6-9509-F045-84B9-82AA2FAB4C7F}"/>
              </a:ext>
            </a:extLst>
          </p:cNvPr>
          <p:cNvGrpSpPr/>
          <p:nvPr userDrawn="1"/>
        </p:nvGrpSpPr>
        <p:grpSpPr>
          <a:xfrm>
            <a:off x="3347403" y="2781635"/>
            <a:ext cx="3211195"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35543"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86293"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687830"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838579"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677148"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827897"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9">
            <a:extLst>
              <a:ext uri="{FF2B5EF4-FFF2-40B4-BE49-F238E27FC236}">
                <a16:creationId xmlns:a16="http://schemas.microsoft.com/office/drawing/2014/main" id="{3C878292-0E26-B149-A962-FFC38764C78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Footer Placeholder 6">
            <a:extLst>
              <a:ext uri="{FF2B5EF4-FFF2-40B4-BE49-F238E27FC236}">
                <a16:creationId xmlns:a16="http://schemas.microsoft.com/office/drawing/2014/main" id="{2F8891BF-6B56-AD46-9F4C-3C2E649872E3}"/>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B6564C2D-FF99-40F3-9DB5-BC7D31CA87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Rectangle 21">
            <a:extLst>
              <a:ext uri="{FF2B5EF4-FFF2-40B4-BE49-F238E27FC236}">
                <a16:creationId xmlns:a16="http://schemas.microsoft.com/office/drawing/2014/main" id="{CE48609B-75DE-4491-B2D5-68207B5D49D6}"/>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4" name="Title 3">
            <a:extLst>
              <a:ext uri="{FF2B5EF4-FFF2-40B4-BE49-F238E27FC236}">
                <a16:creationId xmlns:a16="http://schemas.microsoft.com/office/drawing/2014/main" id="{644413D4-B8E8-4579-94A8-0C2B1FDB106A}"/>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5" name="Text Placeholder 2">
            <a:extLst>
              <a:ext uri="{FF2B5EF4-FFF2-40B4-BE49-F238E27FC236}">
                <a16:creationId xmlns:a16="http://schemas.microsoft.com/office/drawing/2014/main" id="{EF78FC29-8EED-477B-8F3D-41D0DE482607}"/>
              </a:ext>
            </a:extLst>
          </p:cNvPr>
          <p:cNvSpPr>
            <a:spLocks noGrp="1"/>
          </p:cNvSpPr>
          <p:nvPr>
            <p:ph type="body" sz="quarter" idx="21"/>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678824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in Point">
    <p:bg>
      <p:bgRef idx="1001">
        <a:schemeClr val="bg2"/>
      </p:bgRef>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44138" y="0"/>
            <a:ext cx="7417725" cy="6858000"/>
          </a:xfrm>
          <a:prstGeom prst="rect">
            <a:avLst/>
          </a:prstGeom>
        </p:spPr>
        <p:txBody>
          <a:bodyPr numCol="1" anchor="ctr" anchorCtr="0"/>
          <a:lstStyle>
            <a:lvl1pPr>
              <a:lnSpc>
                <a:spcPct val="100000"/>
              </a:lnSpc>
              <a:spcAft>
                <a:spcPts val="1200"/>
              </a:spcAft>
              <a:defRPr lang="en-US" sz="5400" smtClean="0">
                <a:solidFill>
                  <a:schemeClr val="tx2"/>
                </a:solidFill>
              </a:defRPr>
            </a:lvl1pPr>
            <a:lvl2pPr>
              <a:lnSpc>
                <a:spcPct val="100000"/>
              </a:lnSpc>
              <a:defRPr lang="en-US" sz="3200" smtClean="0">
                <a:solidFill>
                  <a:schemeClr val="tx2"/>
                </a:solidFill>
              </a:defRPr>
            </a:lvl2pPr>
          </a:lstStyle>
          <a:p>
            <a:r>
              <a:rPr lang="en-US" sz="5400">
                <a:solidFill>
                  <a:schemeClr val="tx2"/>
                </a:solidFill>
                <a:latin typeface="+mj-lt"/>
              </a:rPr>
              <a:t>“This style is for important quotes. You could</a:t>
            </a:r>
            <a:r>
              <a:rPr lang="en-US" sz="5400">
                <a:solidFill>
                  <a:schemeClr val="accent1"/>
                </a:solidFill>
                <a:latin typeface="+mj-lt"/>
              </a:rPr>
              <a:t> </a:t>
            </a:r>
            <a:r>
              <a:rPr lang="en-US" sz="5400">
                <a:solidFill>
                  <a:schemeClr val="accent2"/>
                </a:solidFill>
                <a:latin typeface="+mj-lt"/>
              </a:rPr>
              <a:t>emphasize</a:t>
            </a:r>
            <a:r>
              <a:rPr lang="en-US" sz="5400">
                <a:solidFill>
                  <a:schemeClr val="accent1"/>
                </a:solidFill>
                <a:latin typeface="+mj-lt"/>
              </a:rPr>
              <a:t> </a:t>
            </a:r>
            <a:r>
              <a:rPr lang="en-US" sz="5400">
                <a:solidFill>
                  <a:schemeClr val="tx2"/>
                </a:solidFill>
                <a:latin typeface="+mj-lt"/>
              </a:rPr>
              <a:t>a word with an accent color if you wish.”</a:t>
            </a:r>
          </a:p>
          <a:p>
            <a:pPr lvl="1"/>
            <a:r>
              <a:rPr lang="en-US"/>
              <a:t>-</a:t>
            </a:r>
            <a:r>
              <a:rPr lang="en-US" sz="320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8" name="Graphic 7">
            <a:extLst>
              <a:ext uri="{FF2B5EF4-FFF2-40B4-BE49-F238E27FC236}">
                <a16:creationId xmlns:a16="http://schemas.microsoft.com/office/drawing/2014/main" id="{FEB402AE-2FB4-4182-8929-08EC2A250E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3308337800"/>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604593" y="2036304"/>
            <a:ext cx="7271959" cy="1815882"/>
          </a:xfrm>
          <a:prstGeom prst="rect">
            <a:avLst/>
          </a:prstGeom>
          <a:noFill/>
        </p:spPr>
        <p:txBody>
          <a:bodyPr wrap="square" rtlCol="0">
            <a:spAutoFit/>
          </a:bodyPr>
          <a:lstStyle/>
          <a:p>
            <a:r>
              <a:rPr lang="en-US" sz="5600" spc="-100" baseline="0">
                <a:solidFill>
                  <a:schemeClr val="tx2"/>
                </a:solidFill>
                <a:latin typeface="+mj-lt"/>
              </a:rPr>
              <a:t>Thank You – Any Questions?</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16846" y="53799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8AFF940F-7D31-EB43-A187-3871E2E75BEF}"/>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81329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601612" y="2025671"/>
            <a:ext cx="7271959" cy="954107"/>
          </a:xfrm>
          <a:prstGeom prst="rect">
            <a:avLst/>
          </a:prstGeom>
          <a:noFill/>
        </p:spPr>
        <p:txBody>
          <a:bodyPr wrap="square" rtlCol="0">
            <a:spAutoFit/>
          </a:bodyPr>
          <a:lstStyle/>
          <a:p>
            <a:r>
              <a:rPr lang="en-US" sz="5600" spc="-100"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8028005A-FDF3-4942-8FA1-1E16D267F352}"/>
              </a:ext>
            </a:extLst>
          </p:cNvPr>
          <p:cNvSpPr/>
          <p:nvPr userDrawn="1"/>
        </p:nvSpPr>
        <p:spPr>
          <a:xfrm>
            <a:off x="8918102" y="2374458"/>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62698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80" y="1227753"/>
            <a:ext cx="4470155"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061149"/>
            <a:ext cx="8386400" cy="1354217"/>
          </a:xfrm>
          <a:prstGeom prst="rect">
            <a:avLst/>
          </a:prstGeom>
          <a:noFill/>
        </p:spPr>
        <p:txBody>
          <a:bodyPr wrap="square" lIns="0" tIns="0" rIns="0" bIns="0" rtlCol="0">
            <a:spAutoFit/>
          </a:bodyPr>
          <a:lstStyle/>
          <a:p>
            <a:pPr marL="0" marR="0" lvl="0" indent="0" algn="l" defTabSz="914338" rtl="0" eaLnBrk="1" fontAlgn="auto" latinLnBrk="0" hangingPunct="1">
              <a:lnSpc>
                <a:spcPct val="100000"/>
              </a:lnSpc>
              <a:spcBef>
                <a:spcPts val="600"/>
              </a:spcBef>
              <a:spcAft>
                <a:spcPts val="0"/>
              </a:spcAft>
              <a:buClrTx/>
              <a:buSzTx/>
              <a:buFontTx/>
              <a:buNone/>
              <a:tabLst/>
              <a:defRPr/>
            </a:pPr>
            <a:r>
              <a:rPr lang="en-US" sz="900" b="1" kern="7500" spc="80" baseline="0" noProof="0">
                <a:solidFill>
                  <a:schemeClr val="tx1"/>
                </a:solidFill>
                <a:latin typeface="+mn-lt"/>
                <a:ea typeface="+mn-ea"/>
                <a:cs typeface="+mn-cs"/>
              </a:rPr>
              <a:t>About Kroll</a:t>
            </a:r>
          </a:p>
          <a:p>
            <a:pPr marL="0" marR="0" lvl="0" indent="0" algn="l" defTabSz="914338" rtl="0" eaLnBrk="1" fontAlgn="auto" latinLnBrk="0" hangingPunct="1">
              <a:lnSpc>
                <a:spcPct val="100000"/>
              </a:lnSpc>
              <a:spcBef>
                <a:spcPts val="600"/>
              </a:spcBef>
              <a:spcAft>
                <a:spcPts val="600"/>
              </a:spcAft>
              <a:buClrTx/>
              <a:buSzTx/>
              <a:buFontTx/>
              <a:buNone/>
              <a:tabLst/>
              <a:defRPr/>
            </a:pPr>
            <a:r>
              <a:rPr lang="en-US" sz="800" kern="120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800" kern="1200" noProof="0">
                <a:solidFill>
                  <a:schemeClr val="tx1"/>
                </a:solidFill>
                <a:effectLst/>
                <a:latin typeface="+mn-lt"/>
                <a:ea typeface="+mn-ea"/>
                <a:cs typeface="+mn-cs"/>
              </a:rPr>
              <a:t>For more information, visit </a:t>
            </a:r>
            <a:r>
              <a:rPr lang="en-US" sz="800" kern="1200" noProof="0">
                <a:solidFill>
                  <a:schemeClr val="tx1"/>
                </a:solidFill>
                <a:effectLst/>
                <a:latin typeface="+mn-lt"/>
                <a:ea typeface="+mn-ea"/>
                <a:cs typeface="+mn-cs"/>
                <a:hlinkClick r:id="rId2"/>
              </a:rPr>
              <a:t>www.kroll.com</a:t>
            </a:r>
            <a:r>
              <a:rPr lang="en-US" sz="800" kern="1200" noProof="0">
                <a:solidFill>
                  <a:schemeClr val="tx1"/>
                </a:solidFill>
                <a:effectLst/>
                <a:latin typeface="+mn-lt"/>
                <a:ea typeface="+mn-ea"/>
                <a:cs typeface="+mn-cs"/>
              </a:rPr>
              <a:t>.</a:t>
            </a:r>
          </a:p>
          <a:p>
            <a:pPr marL="0" marR="0" lvl="0" indent="0" algn="l" defTabSz="914338" rtl="0" eaLnBrk="1" fontAlgn="auto" latinLnBrk="0" hangingPunct="1">
              <a:lnSpc>
                <a:spcPct val="100000"/>
              </a:lnSpc>
              <a:spcBef>
                <a:spcPts val="0"/>
              </a:spcBef>
              <a:spcAft>
                <a:spcPts val="600"/>
              </a:spcAft>
              <a:buClrTx/>
              <a:buSzTx/>
              <a:buFontTx/>
              <a:buNone/>
              <a:tabLst/>
              <a:defRPr/>
            </a:pPr>
            <a:r>
              <a:rPr lang="en-US" sz="80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effectLst/>
                <a:latin typeface="+mn-lt"/>
                <a:ea typeface="+mn-ea"/>
                <a:cs typeface="+mn-cs"/>
              </a:rPr>
              <a:t>© 2022 Duff &amp; Phelps, LLC. All rights reserved. Kroll is a trade name for Duff &amp; Phelps, LLC and its affiliates.</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9067437" y="-14990"/>
            <a:ext cx="855904"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99324" y="1610246"/>
            <a:ext cx="639202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951FF1C-6563-4741-AA01-30265D982A8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475539" y="466517"/>
            <a:ext cx="1964635" cy="771132"/>
          </a:xfrm>
          <a:prstGeom prst="rect">
            <a:avLst/>
          </a:prstGeom>
        </p:spPr>
      </p:pic>
    </p:spTree>
    <p:extLst>
      <p:ext uri="{BB962C8B-B14F-4D97-AF65-F5344CB8AC3E}">
        <p14:creationId xmlns:p14="http://schemas.microsoft.com/office/powerpoint/2010/main" val="232763201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Freeform 4">
            <a:extLst>
              <a:ext uri="{FF2B5EF4-FFF2-40B4-BE49-F238E27FC236}">
                <a16:creationId xmlns:a16="http://schemas.microsoft.com/office/drawing/2014/main" id="{30EA902E-9EBA-8C40-A438-B90E5080757F}"/>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6035725E-8D1E-D340-830A-2FE96B567378}"/>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3" name="Group 22">
            <a:extLst>
              <a:ext uri="{FF2B5EF4-FFF2-40B4-BE49-F238E27FC236}">
                <a16:creationId xmlns:a16="http://schemas.microsoft.com/office/drawing/2014/main" id="{CF2F0746-F6AD-734E-AEA4-A6914780B2F3}"/>
              </a:ext>
            </a:extLst>
          </p:cNvPr>
          <p:cNvGrpSpPr/>
          <p:nvPr userDrawn="1"/>
        </p:nvGrpSpPr>
        <p:grpSpPr>
          <a:xfrm>
            <a:off x="320926" y="1544312"/>
            <a:ext cx="8564563"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9554" t="35172" r="9018" b="52175"/>
          <a:stretch/>
        </p:blipFill>
        <p:spPr>
          <a:xfrm>
            <a:off x="452298" y="1593456"/>
            <a:ext cx="576000"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85" t="35172" r="70687" b="52175"/>
          <a:stretch/>
        </p:blipFill>
        <p:spPr>
          <a:xfrm>
            <a:off x="2650187" y="1599806"/>
            <a:ext cx="576000"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7965" t="35173" r="40607" b="52174"/>
          <a:stretch/>
        </p:blipFill>
        <p:spPr>
          <a:xfrm>
            <a:off x="4755217" y="1596631"/>
            <a:ext cx="576000"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8468" t="67251" r="40104" b="20096"/>
          <a:stretch/>
        </p:blipFill>
        <p:spPr>
          <a:xfrm>
            <a:off x="6888618" y="1602981"/>
            <a:ext cx="576000"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069432" y="1555343"/>
            <a:ext cx="1320800" cy="723900"/>
          </a:xfrm>
          <a:prstGeom prst="rect">
            <a:avLst/>
          </a:prstGeom>
        </p:spPr>
        <p:txBody>
          <a:bodyPr anchor="ctr"/>
          <a:lstStyle>
            <a:lvl1pPr>
              <a:defRPr sz="160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298282" y="1555343"/>
            <a:ext cx="1320800" cy="723900"/>
          </a:xfrm>
          <a:prstGeom prst="rect">
            <a:avLst/>
          </a:prstGeom>
        </p:spPr>
        <p:txBody>
          <a:bodyPr anchor="ctr"/>
          <a:lstStyle>
            <a:lvl1pPr>
              <a:defRPr sz="160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351714" y="1555343"/>
            <a:ext cx="1320800" cy="723900"/>
          </a:xfrm>
          <a:prstGeom prst="rect">
            <a:avLst/>
          </a:prstGeom>
        </p:spPr>
        <p:txBody>
          <a:bodyPr anchor="ctr"/>
          <a:lstStyle>
            <a:lvl1pPr>
              <a:defRPr sz="160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18651" y="1555343"/>
            <a:ext cx="1320800" cy="723900"/>
          </a:xfrm>
          <a:prstGeom prst="rect">
            <a:avLst/>
          </a:prstGeom>
        </p:spPr>
        <p:txBody>
          <a:bodyPr anchor="ctr"/>
          <a:lstStyle>
            <a:lvl1pPr>
              <a:defRPr sz="160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506663" y="2279243"/>
            <a:ext cx="1919288" cy="508000"/>
          </a:xfrm>
          <a:prstGeom prst="rect">
            <a:avLst/>
          </a:prstGeom>
        </p:spPr>
        <p:txBody>
          <a:bodyPr anchor="ctr"/>
          <a:lstStyle>
            <a:lvl1pPr>
              <a:defRPr sz="1600">
                <a:solidFill>
                  <a:schemeClr val="accent1">
                    <a:lumMod val="5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618568" y="2279243"/>
            <a:ext cx="1919288" cy="508000"/>
          </a:xfrm>
          <a:prstGeom prst="rect">
            <a:avLst/>
          </a:prstGeom>
        </p:spPr>
        <p:txBody>
          <a:bodyPr anchor="ctr"/>
          <a:lstStyle>
            <a:lvl1pPr>
              <a:defRPr sz="1600">
                <a:solidFill>
                  <a:schemeClr val="accent1"/>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730473" y="2279243"/>
            <a:ext cx="1919288" cy="508000"/>
          </a:xfrm>
          <a:prstGeom prst="rect">
            <a:avLst/>
          </a:prstGeom>
        </p:spPr>
        <p:txBody>
          <a:bodyPr anchor="ctr"/>
          <a:lstStyle>
            <a:lvl1pPr>
              <a:defRPr sz="1600">
                <a:solidFill>
                  <a:schemeClr val="accent1">
                    <a:lumMod val="60000"/>
                    <a:lumOff val="4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842376" y="2279243"/>
            <a:ext cx="1919288" cy="508000"/>
          </a:xfrm>
          <a:prstGeom prst="rect">
            <a:avLst/>
          </a:prstGeom>
        </p:spPr>
        <p:txBody>
          <a:bodyPr anchor="ctr"/>
          <a:lstStyle>
            <a:lvl1pPr>
              <a:defRPr sz="1600">
                <a:solidFill>
                  <a:schemeClr val="accent2"/>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11" name="Text Placeholder 10">
            <a:extLst>
              <a:ext uri="{FF2B5EF4-FFF2-40B4-BE49-F238E27FC236}">
                <a16:creationId xmlns:a16="http://schemas.microsoft.com/office/drawing/2014/main" id="{0EF4F07C-46C2-2F41-B03E-4E694F457EBD}"/>
              </a:ext>
            </a:extLst>
          </p:cNvPr>
          <p:cNvSpPr>
            <a:spLocks noGrp="1"/>
          </p:cNvSpPr>
          <p:nvPr>
            <p:ph type="body" sz="quarter" idx="22"/>
          </p:nvPr>
        </p:nvSpPr>
        <p:spPr>
          <a:xfrm>
            <a:off x="2625448"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0" name="Text Placeholder 10">
            <a:extLst>
              <a:ext uri="{FF2B5EF4-FFF2-40B4-BE49-F238E27FC236}">
                <a16:creationId xmlns:a16="http://schemas.microsoft.com/office/drawing/2014/main" id="{1A93C2DE-3CCE-5842-880D-EC88D62AD6A7}"/>
              </a:ext>
            </a:extLst>
          </p:cNvPr>
          <p:cNvSpPr>
            <a:spLocks noGrp="1"/>
          </p:cNvSpPr>
          <p:nvPr>
            <p:ph type="body" sz="quarter" idx="23"/>
          </p:nvPr>
        </p:nvSpPr>
        <p:spPr>
          <a:xfrm>
            <a:off x="516985"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1" name="Text Placeholder 10">
            <a:extLst>
              <a:ext uri="{FF2B5EF4-FFF2-40B4-BE49-F238E27FC236}">
                <a16:creationId xmlns:a16="http://schemas.microsoft.com/office/drawing/2014/main" id="{3AB944A2-5502-F947-B860-27B233C8FF6E}"/>
              </a:ext>
            </a:extLst>
          </p:cNvPr>
          <p:cNvSpPr>
            <a:spLocks noGrp="1"/>
          </p:cNvSpPr>
          <p:nvPr>
            <p:ph type="body" sz="quarter" idx="24"/>
          </p:nvPr>
        </p:nvSpPr>
        <p:spPr>
          <a:xfrm>
            <a:off x="4733912"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2" name="Text Placeholder 10">
            <a:extLst>
              <a:ext uri="{FF2B5EF4-FFF2-40B4-BE49-F238E27FC236}">
                <a16:creationId xmlns:a16="http://schemas.microsoft.com/office/drawing/2014/main" id="{BF14BD2E-D89D-9A48-9EA7-E451786894DC}"/>
              </a:ext>
            </a:extLst>
          </p:cNvPr>
          <p:cNvSpPr>
            <a:spLocks noGrp="1"/>
          </p:cNvSpPr>
          <p:nvPr>
            <p:ph type="body" sz="quarter" idx="25"/>
          </p:nvPr>
        </p:nvSpPr>
        <p:spPr>
          <a:xfrm>
            <a:off x="6842377"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33" name="Footer Placeholder 6">
            <a:extLst>
              <a:ext uri="{FF2B5EF4-FFF2-40B4-BE49-F238E27FC236}">
                <a16:creationId xmlns:a16="http://schemas.microsoft.com/office/drawing/2014/main" id="{1BFD4B9D-6635-2747-A508-D704525A42EC}"/>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2" name="Picture 31" descr="A picture containing text, clipart&#10;&#10;Description automatically generated">
            <a:extLst>
              <a:ext uri="{FF2B5EF4-FFF2-40B4-BE49-F238E27FC236}">
                <a16:creationId xmlns:a16="http://schemas.microsoft.com/office/drawing/2014/main" id="{8A4C2EB2-15C6-46B6-931A-A6791A9F79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5" name="Title 3">
            <a:extLst>
              <a:ext uri="{FF2B5EF4-FFF2-40B4-BE49-F238E27FC236}">
                <a16:creationId xmlns:a16="http://schemas.microsoft.com/office/drawing/2014/main" id="{78147C40-B527-4533-AC28-DF7A67E35C07}"/>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6" name="Text Placeholder 2">
            <a:extLst>
              <a:ext uri="{FF2B5EF4-FFF2-40B4-BE49-F238E27FC236}">
                <a16:creationId xmlns:a16="http://schemas.microsoft.com/office/drawing/2014/main" id="{BA37ADAF-2134-48EC-9A60-23E27E9E15FC}"/>
              </a:ext>
            </a:extLst>
          </p:cNvPr>
          <p:cNvSpPr>
            <a:spLocks noGrp="1"/>
          </p:cNvSpPr>
          <p:nvPr>
            <p:ph type="body" sz="quarter" idx="26"/>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787300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userDrawn="1"/>
        </p:nvCxnSpPr>
        <p:spPr>
          <a:xfrm>
            <a:off x="2307724" y="5857059"/>
            <a:ext cx="2524799" cy="0"/>
          </a:xfrm>
          <a:prstGeom prst="line">
            <a:avLst/>
          </a:prstGeom>
          <a:noFill/>
          <a:ln w="6350" cap="flat" cmpd="sng" algn="ctr">
            <a:solidFill>
              <a:schemeClr val="tx1"/>
            </a:solidFill>
            <a:prstDash val="solid"/>
            <a:miter lim="800000"/>
          </a:ln>
          <a:effectLst/>
        </p:spPr>
      </p:cxn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userDrawn="1"/>
        </p:nvCxnSpPr>
        <p:spPr>
          <a:xfrm>
            <a:off x="1882217" y="3448149"/>
            <a:ext cx="1675106"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userDrawn="1"/>
        </p:nvCxnSpPr>
        <p:spPr>
          <a:xfrm flipV="1">
            <a:off x="4055388" y="2593890"/>
            <a:ext cx="0" cy="399244"/>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userDrawn="1"/>
        </p:nvCxnSpPr>
        <p:spPr>
          <a:xfrm flipV="1">
            <a:off x="4055388" y="1411005"/>
            <a:ext cx="0" cy="38617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userDrawn="1"/>
        </p:nvCxnSpPr>
        <p:spPr>
          <a:xfrm flipH="1" flipV="1">
            <a:off x="2106174" y="2240078"/>
            <a:ext cx="1609178"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userDrawn="1"/>
        </p:nvCxnSpPr>
        <p:spPr>
          <a:xfrm>
            <a:off x="4119140" y="1104508"/>
            <a:ext cx="2331313" cy="0"/>
          </a:xfrm>
          <a:prstGeom prst="line">
            <a:avLst/>
          </a:prstGeom>
          <a:noFill/>
          <a:ln w="6350" cap="flat" cmpd="sng" algn="ctr">
            <a:solidFill>
              <a:schemeClr val="tx1"/>
            </a:solidFill>
            <a:prstDash val="dash"/>
            <a:headEnd type="none" w="med" len="med"/>
            <a:tailEnd type="oval" w="sm" len="sm"/>
          </a:ln>
          <a:effectLst/>
        </p:spPr>
      </p:cxnSp>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4156763" y="2248059"/>
            <a:ext cx="2293695"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4156763" y="3448149"/>
            <a:ext cx="2293695"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4156763" y="4644366"/>
            <a:ext cx="2293695" cy="0"/>
          </a:xfrm>
          <a:prstGeom prst="line">
            <a:avLst/>
          </a:prstGeom>
          <a:noFill/>
          <a:ln w="6350" cap="flat" cmpd="sng" algn="ctr">
            <a:solidFill>
              <a:schemeClr val="tx1"/>
            </a:solidFill>
            <a:prstDash val="dash"/>
            <a:headEnd type="none" w="med" len="med"/>
            <a:tailEnd type="oval" w="sm" len="sm"/>
          </a:ln>
          <a:effectLst/>
        </p:spPr>
      </p:cxnSp>
      <p:cxnSp>
        <p:nvCxnSpPr>
          <p:cNvPr id="79" name="Straight Connector 78">
            <a:extLst>
              <a:ext uri="{FF2B5EF4-FFF2-40B4-BE49-F238E27FC236}">
                <a16:creationId xmlns:a16="http://schemas.microsoft.com/office/drawing/2014/main" id="{373D91A4-239D-0549-9602-AEA1C03602F2}"/>
              </a:ext>
            </a:extLst>
          </p:cNvPr>
          <p:cNvCxnSpPr>
            <a:cxnSpLocks/>
          </p:cNvCxnSpPr>
          <p:nvPr userDrawn="1"/>
        </p:nvCxnSpPr>
        <p:spPr>
          <a:xfrm>
            <a:off x="5548614" y="5857059"/>
            <a:ext cx="901836"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p:cNvSpPr>
          <p:nvPr userDrawn="1"/>
        </p:nvSpPr>
        <p:spPr>
          <a:xfrm>
            <a:off x="4894965" y="5324484"/>
            <a:ext cx="1008000" cy="100800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371508">
              <a:defRPr/>
            </a:pPr>
            <a:r>
              <a:rPr lang="en-GB" sz="1000" b="1" kern="0">
                <a:solidFill>
                  <a:prstClr val="white"/>
                </a:solidFill>
              </a:rPr>
              <a:t>Name</a:t>
            </a:r>
          </a:p>
          <a:p>
            <a:pPr algn="ctr" defTabSz="1371508">
              <a:defRPr/>
            </a:pPr>
            <a:r>
              <a:rPr lang="en-GB" sz="1000"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userDrawn="1">
            <p:ph type="title" hasCustomPrompt="1"/>
          </p:nvPr>
        </p:nvSpPr>
        <p:spPr>
          <a:xfrm>
            <a:off x="612937" y="590057"/>
            <a:ext cx="3275643" cy="351340"/>
          </a:xfrm>
          <a:prstGeom prst="rect">
            <a:avLst/>
          </a:prstGeom>
        </p:spPr>
        <p:txBody>
          <a:bodyPr>
            <a:noAutofit/>
          </a:bodyPr>
          <a:lstStyle>
            <a:lvl1pPr>
              <a:defRPr sz="2800"/>
            </a:lvl1pPr>
          </a:lstStyle>
          <a:p>
            <a:r>
              <a:rPr lang="en-US"/>
              <a:t>Click to add title</a:t>
            </a:r>
            <a:endParaRPr lang="en-US" sz="1800" spc="0"/>
          </a:p>
        </p:txBody>
      </p:sp>
      <p:sp>
        <p:nvSpPr>
          <p:cNvPr id="99" name="Text Placeholder 2">
            <a:extLst>
              <a:ext uri="{FF2B5EF4-FFF2-40B4-BE49-F238E27FC236}">
                <a16:creationId xmlns:a16="http://schemas.microsoft.com/office/drawing/2014/main" id="{12F57F91-5B83-9345-A46E-D8C879DAD753}"/>
              </a:ext>
            </a:extLst>
          </p:cNvPr>
          <p:cNvSpPr>
            <a:spLocks noGrp="1"/>
          </p:cNvSpPr>
          <p:nvPr userDrawn="1">
            <p:ph type="body" sz="quarter" idx="19" hasCustomPrompt="1"/>
          </p:nvPr>
        </p:nvSpPr>
        <p:spPr>
          <a:xfrm>
            <a:off x="1613161" y="1701378"/>
            <a:ext cx="1008000" cy="1008000"/>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7" name="Text Placeholder 2">
            <a:extLst>
              <a:ext uri="{FF2B5EF4-FFF2-40B4-BE49-F238E27FC236}">
                <a16:creationId xmlns:a16="http://schemas.microsoft.com/office/drawing/2014/main" id="{FDAA6FEE-F031-174C-B1E9-09FBDEF8F096}"/>
              </a:ext>
            </a:extLst>
          </p:cNvPr>
          <p:cNvSpPr>
            <a:spLocks noGrp="1"/>
          </p:cNvSpPr>
          <p:nvPr userDrawn="1">
            <p:ph type="body" sz="quarter" idx="18" hasCustomPrompt="1"/>
          </p:nvPr>
        </p:nvSpPr>
        <p:spPr>
          <a:xfrm>
            <a:off x="1613161" y="294400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userDrawn="1">
            <p:ph type="body" sz="quarter" idx="20" hasCustomPrompt="1"/>
          </p:nvPr>
        </p:nvSpPr>
        <p:spPr>
          <a:xfrm>
            <a:off x="1613161"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userDrawn="1"/>
        </p:nvSpPr>
        <p:spPr>
          <a:xfrm>
            <a:off x="6585239" y="789717"/>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3" name="TextBox 32">
            <a:extLst>
              <a:ext uri="{FF2B5EF4-FFF2-40B4-BE49-F238E27FC236}">
                <a16:creationId xmlns:a16="http://schemas.microsoft.com/office/drawing/2014/main" id="{E50A0D0A-640C-104C-AC9A-BFBCC9333CDA}"/>
              </a:ext>
            </a:extLst>
          </p:cNvPr>
          <p:cNvSpPr txBox="1"/>
          <p:nvPr userDrawn="1"/>
        </p:nvSpPr>
        <p:spPr>
          <a:xfrm>
            <a:off x="6585239" y="1933584"/>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4" name="TextBox 33">
            <a:extLst>
              <a:ext uri="{FF2B5EF4-FFF2-40B4-BE49-F238E27FC236}">
                <a16:creationId xmlns:a16="http://schemas.microsoft.com/office/drawing/2014/main" id="{A99E8297-B6E3-0942-BF46-11B5D7B2EEB1}"/>
              </a:ext>
            </a:extLst>
          </p:cNvPr>
          <p:cNvSpPr txBox="1"/>
          <p:nvPr userDrawn="1"/>
        </p:nvSpPr>
        <p:spPr>
          <a:xfrm>
            <a:off x="6585239" y="3107412"/>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5" name="TextBox 34">
            <a:extLst>
              <a:ext uri="{FF2B5EF4-FFF2-40B4-BE49-F238E27FC236}">
                <a16:creationId xmlns:a16="http://schemas.microsoft.com/office/drawing/2014/main" id="{F710183D-DA43-3F40-A73E-69F7EA13B6D2}"/>
              </a:ext>
            </a:extLst>
          </p:cNvPr>
          <p:cNvSpPr txBox="1"/>
          <p:nvPr userDrawn="1"/>
        </p:nvSpPr>
        <p:spPr>
          <a:xfrm>
            <a:off x="6585239" y="4312410"/>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6" name="TextBox 35">
            <a:extLst>
              <a:ext uri="{FF2B5EF4-FFF2-40B4-BE49-F238E27FC236}">
                <a16:creationId xmlns:a16="http://schemas.microsoft.com/office/drawing/2014/main" id="{C9ABC78E-E516-B24F-9A22-75966080B0A6}"/>
              </a:ext>
            </a:extLst>
          </p:cNvPr>
          <p:cNvSpPr txBox="1"/>
          <p:nvPr userDrawn="1"/>
        </p:nvSpPr>
        <p:spPr>
          <a:xfrm>
            <a:off x="6585239" y="5557932"/>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2" name="Footer Placeholder 6">
            <a:extLst>
              <a:ext uri="{FF2B5EF4-FFF2-40B4-BE49-F238E27FC236}">
                <a16:creationId xmlns:a16="http://schemas.microsoft.com/office/drawing/2014/main" id="{B73D535A-22C9-6141-8735-B4C4D443D3E9}"/>
              </a:ext>
            </a:extLst>
          </p:cNvPr>
          <p:cNvSpPr>
            <a:spLocks noGrp="1"/>
          </p:cNvSpPr>
          <p:nvPr userDrawn="1">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39" name="Graphic 38">
            <a:extLst>
              <a:ext uri="{FF2B5EF4-FFF2-40B4-BE49-F238E27FC236}">
                <a16:creationId xmlns:a16="http://schemas.microsoft.com/office/drawing/2014/main" id="{C0EAE393-C9EE-4846-9F50-6E37C64AEF3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cxnSp>
        <p:nvCxnSpPr>
          <p:cNvPr id="37" name="Straight Connector 36">
            <a:extLst>
              <a:ext uri="{FF2B5EF4-FFF2-40B4-BE49-F238E27FC236}">
                <a16:creationId xmlns:a16="http://schemas.microsoft.com/office/drawing/2014/main" id="{66026FA5-D652-2042-B9DD-D9F8CD735A49}"/>
              </a:ext>
            </a:extLst>
          </p:cNvPr>
          <p:cNvCxnSpPr>
            <a:cxnSpLocks/>
          </p:cNvCxnSpPr>
          <p:nvPr userDrawn="1"/>
        </p:nvCxnSpPr>
        <p:spPr>
          <a:xfrm>
            <a:off x="4055388" y="2947679"/>
            <a:ext cx="0" cy="2975243"/>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557323" y="563526"/>
            <a:ext cx="1008000" cy="1008000"/>
          </a:xfrm>
          <a:prstGeom prst="ellipse">
            <a:avLst/>
          </a:prstGeom>
          <a:solidFill>
            <a:schemeClr val="accent2"/>
          </a:solidFill>
        </p:spPr>
        <p:txBody>
          <a:bodyPr lIns="0" tIns="0" rIns="0" bIns="0" numCol="1" anchor="ctr" anchorCtr="0"/>
          <a:lstStyle>
            <a:lvl1pPr algn="ctr">
              <a:defRPr sz="1000">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557323" y="1753766"/>
            <a:ext cx="1008000" cy="1008000"/>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557323" y="413424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Directo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557323" y="2944006"/>
            <a:ext cx="1008000" cy="1008000"/>
          </a:xfrm>
          <a:prstGeom prst="ellipse">
            <a:avLst/>
          </a:prstGeom>
          <a:solidFill>
            <a:schemeClr val="bg1">
              <a:lumMod val="75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557323"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Tree>
    <p:extLst>
      <p:ext uri="{BB962C8B-B14F-4D97-AF65-F5344CB8AC3E}">
        <p14:creationId xmlns:p14="http://schemas.microsoft.com/office/powerpoint/2010/main" val="3979046749"/>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12" name="Group 11">
            <a:extLst>
              <a:ext uri="{FF2B5EF4-FFF2-40B4-BE49-F238E27FC236}">
                <a16:creationId xmlns:a16="http://schemas.microsoft.com/office/drawing/2014/main" id="{6D74156A-1243-E74B-98C0-39C4641CCB4E}"/>
              </a:ext>
            </a:extLst>
          </p:cNvPr>
          <p:cNvGrpSpPr/>
          <p:nvPr userDrawn="1"/>
        </p:nvGrpSpPr>
        <p:grpSpPr>
          <a:xfrm>
            <a:off x="863794" y="2038641"/>
            <a:ext cx="7909497" cy="3315863"/>
            <a:chOff x="4840883" y="4083873"/>
            <a:chExt cx="15057560" cy="5128918"/>
          </a:xfrm>
        </p:grpSpPr>
        <p:sp>
          <p:nvSpPr>
            <p:cNvPr id="13" name="Freeform 12">
              <a:extLst>
                <a:ext uri="{FF2B5EF4-FFF2-40B4-BE49-F238E27FC236}">
                  <a16:creationId xmlns:a16="http://schemas.microsoft.com/office/drawing/2014/main" id="{5578D583-3293-BC48-AB87-3456547CD0E1}"/>
                </a:ext>
              </a:extLst>
            </p:cNvPr>
            <p:cNvSpPr/>
            <p:nvPr/>
          </p:nvSpPr>
          <p:spPr>
            <a:xfrm>
              <a:off x="14904224" y="4337211"/>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4" y="8048729"/>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5" name="Freeform 14">
              <a:extLst>
                <a:ext uri="{FF2B5EF4-FFF2-40B4-BE49-F238E27FC236}">
                  <a16:creationId xmlns:a16="http://schemas.microsoft.com/office/drawing/2014/main" id="{3D94F1FF-0468-5748-B851-E26F8196F092}"/>
                </a:ext>
              </a:extLst>
            </p:cNvPr>
            <p:cNvSpPr/>
            <p:nvPr/>
          </p:nvSpPr>
          <p:spPr>
            <a:xfrm flipH="1">
              <a:off x="4840883" y="4337211"/>
              <a:ext cx="5273124" cy="581254"/>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048729"/>
              <a:ext cx="4761180"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7" name="Oval 16">
              <a:extLst>
                <a:ext uri="{FF2B5EF4-FFF2-40B4-BE49-F238E27FC236}">
                  <a16:creationId xmlns:a16="http://schemas.microsoft.com/office/drawing/2014/main" id="{A7CA0A4A-A66E-5F47-9D58-C31A303D9E3C}"/>
                </a:ext>
              </a:extLst>
            </p:cNvPr>
            <p:cNvSpPr/>
            <p:nvPr/>
          </p:nvSpPr>
          <p:spPr>
            <a:xfrm>
              <a:off x="9929626" y="4558208"/>
              <a:ext cx="5140076" cy="4176312"/>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18" name="Freeform 17">
              <a:extLst>
                <a:ext uri="{FF2B5EF4-FFF2-40B4-BE49-F238E27FC236}">
                  <a16:creationId xmlns:a16="http://schemas.microsoft.com/office/drawing/2014/main" id="{B05D046F-06CD-784A-B0C3-4E8E630CAC01}"/>
                </a:ext>
              </a:extLst>
            </p:cNvPr>
            <p:cNvSpPr/>
            <p:nvPr/>
          </p:nvSpPr>
          <p:spPr>
            <a:xfrm>
              <a:off x="9834952"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09"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687057"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04483"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491065" y="1872202"/>
            <a:ext cx="1485900" cy="433387"/>
          </a:xfrm>
          <a:prstGeom prst="rect">
            <a:avLst/>
          </a:prstGeom>
        </p:spPr>
        <p:txBody>
          <a:bodyPr numCol="1"/>
          <a:lstStyle>
            <a:lvl1pPr algn="r">
              <a:defRPr sz="160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491065" y="4567102"/>
            <a:ext cx="1485900" cy="433387"/>
          </a:xfrm>
          <a:prstGeom prst="rect">
            <a:avLst/>
          </a:prstGeom>
        </p:spPr>
        <p:txBody>
          <a:bodyPr numCol="1"/>
          <a:lstStyle>
            <a:lvl1pPr algn="r">
              <a:defRPr sz="160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891536" y="1869299"/>
            <a:ext cx="1485900" cy="433387"/>
          </a:xfrm>
          <a:prstGeom prst="rect">
            <a:avLst/>
          </a:prstGeom>
        </p:spPr>
        <p:txBody>
          <a:bodyPr numCol="1"/>
          <a:lstStyle>
            <a:lvl1pPr algn="l">
              <a:defRPr sz="160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891536" y="4567102"/>
            <a:ext cx="1485900" cy="433387"/>
          </a:xfrm>
          <a:prstGeom prst="rect">
            <a:avLst/>
          </a:prstGeom>
        </p:spPr>
        <p:txBody>
          <a:bodyPr numCol="1"/>
          <a:lstStyle>
            <a:lvl1pPr algn="l">
              <a:defRPr sz="160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505703" y="1933709"/>
            <a:ext cx="1191985" cy="1467060"/>
          </a:xfrm>
          <a:prstGeom prst="rect">
            <a:avLst/>
          </a:prstGeom>
        </p:spPr>
        <p:txBody>
          <a:bodyPr numCol="1" anchor="ctr"/>
          <a:lstStyle>
            <a:lvl1pPr algn="ctr">
              <a:defRPr sz="140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5150429" y="1933709"/>
            <a:ext cx="1191985" cy="1467060"/>
          </a:xfrm>
          <a:prstGeom prst="rect">
            <a:avLst/>
          </a:prstGeom>
        </p:spPr>
        <p:txBody>
          <a:bodyPr numCol="1" anchor="ctr"/>
          <a:lstStyle>
            <a:lvl1pPr algn="ctr">
              <a:defRPr sz="140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418056" y="3990975"/>
            <a:ext cx="1214906" cy="1467060"/>
          </a:xfrm>
          <a:prstGeom prst="rect">
            <a:avLst/>
          </a:prstGeom>
        </p:spPr>
        <p:txBody>
          <a:bodyPr numCol="1" anchor="ctr"/>
          <a:lstStyle>
            <a:lvl1pPr algn="ctr">
              <a:defRPr sz="140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5130575" y="3990975"/>
            <a:ext cx="1191985" cy="1467060"/>
          </a:xfrm>
          <a:prstGeom prst="rect">
            <a:avLst/>
          </a:prstGeom>
        </p:spPr>
        <p:txBody>
          <a:bodyPr numCol="1" anchor="ctr"/>
          <a:lstStyle>
            <a:lvl1pPr algn="ctr">
              <a:defRPr sz="140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750775" y="3595688"/>
            <a:ext cx="751979"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527782" y="1891602"/>
            <a:ext cx="751979" cy="241300"/>
          </a:xfrm>
          <a:prstGeom prst="rect">
            <a:avLst/>
          </a:prstGeom>
        </p:spPr>
        <p:txBody>
          <a:bodyPr numCol="1"/>
          <a:lstStyle>
            <a:lvl1pPr algn="ctr">
              <a:defRPr/>
            </a:lvl1pPr>
          </a:lstStyle>
          <a:p>
            <a:pPr lvl="0"/>
            <a:r>
              <a:rPr lang="en-US"/>
              <a:t>Y axis</a:t>
            </a:r>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863794" y="2264927"/>
            <a:ext cx="2117723" cy="973137"/>
          </a:xfrm>
          <a:prstGeom prst="rect">
            <a:avLst/>
          </a:prstGeom>
        </p:spPr>
        <p:txBody>
          <a:bodyPr/>
          <a:lstStyle>
            <a:lvl1pPr algn="r">
              <a:defRPr sz="1400"/>
            </a:lvl1pPr>
            <a:lvl2pPr marL="287323" indent="-171442"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863794" y="4948821"/>
            <a:ext cx="2117723" cy="973137"/>
          </a:xfrm>
          <a:prstGeom prst="rect">
            <a:avLst/>
          </a:prstGeom>
        </p:spPr>
        <p:txBody>
          <a:bodyPr/>
          <a:lstStyle>
            <a:lvl1pPr algn="r">
              <a:defRPr sz="1400"/>
            </a:lvl1pPr>
            <a:lvl2pPr marL="287323" indent="-171442"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887357" y="2262024"/>
            <a:ext cx="2084819" cy="973137"/>
          </a:xfrm>
          <a:prstGeom prst="rect">
            <a:avLst/>
          </a:prstGeom>
        </p:spPr>
        <p:txBody>
          <a:bodyPr/>
          <a:lstStyle>
            <a:lvl1pPr algn="l">
              <a:defRPr sz="1400"/>
            </a:lvl1pPr>
            <a:lvl2pPr marL="287323" indent="-171442"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887357" y="4948821"/>
            <a:ext cx="2084819" cy="973137"/>
          </a:xfrm>
          <a:prstGeom prst="rect">
            <a:avLst/>
          </a:prstGeom>
        </p:spPr>
        <p:txBody>
          <a:bodyPr/>
          <a:lstStyle>
            <a:lvl1pPr algn="l">
              <a:defRPr sz="1400"/>
            </a:lvl1pPr>
            <a:lvl2pPr marL="287323" indent="-171442"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6BF7FB78-5951-634A-86A7-F503E3FA53D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7" name="Picture 36" descr="A picture containing text, clipart&#10;&#10;Description automatically generated">
            <a:extLst>
              <a:ext uri="{FF2B5EF4-FFF2-40B4-BE49-F238E27FC236}">
                <a16:creationId xmlns:a16="http://schemas.microsoft.com/office/drawing/2014/main" id="{FCCBAC04-4C7C-457F-B93E-0F33CC605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8" name="Title 3">
            <a:extLst>
              <a:ext uri="{FF2B5EF4-FFF2-40B4-BE49-F238E27FC236}">
                <a16:creationId xmlns:a16="http://schemas.microsoft.com/office/drawing/2014/main" id="{BE4A2825-AC42-44CC-A6B9-6A3FE9D420D9}"/>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9" name="Text Placeholder 2">
            <a:extLst>
              <a:ext uri="{FF2B5EF4-FFF2-40B4-BE49-F238E27FC236}">
                <a16:creationId xmlns:a16="http://schemas.microsoft.com/office/drawing/2014/main" id="{AD8E2314-9DA0-4BBC-9870-3F54DD32F54D}"/>
              </a:ext>
            </a:extLst>
          </p:cNvPr>
          <p:cNvSpPr>
            <a:spLocks noGrp="1"/>
          </p:cNvSpPr>
          <p:nvPr>
            <p:ph type="body" sz="quarter" idx="32"/>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049706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ight Arrow 16">
            <a:extLst>
              <a:ext uri="{FF2B5EF4-FFF2-40B4-BE49-F238E27FC236}">
                <a16:creationId xmlns:a16="http://schemas.microsoft.com/office/drawing/2014/main" id="{243BBCA5-7521-4341-8DE3-3D98661E0BF0}"/>
              </a:ext>
            </a:extLst>
          </p:cNvPr>
          <p:cNvSpPr/>
          <p:nvPr/>
        </p:nvSpPr>
        <p:spPr>
          <a:xfrm>
            <a:off x="681042" y="2005092"/>
            <a:ext cx="8543924"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745821" y="2914817"/>
            <a:ext cx="6479142"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810603" y="3824542"/>
            <a:ext cx="4414360"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875385" y="4734268"/>
            <a:ext cx="2349579"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77168" y="2220127"/>
            <a:ext cx="1976041" cy="463550"/>
          </a:xfrm>
          <a:prstGeom prst="rect">
            <a:avLst/>
          </a:prstGeom>
        </p:spPr>
        <p:txBody>
          <a:bodyPr numCol="1" anchor="ctr" anchorCtr="0"/>
          <a:lstStyle>
            <a:lvl1pPr>
              <a:defRPr sz="240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748643" y="3124200"/>
            <a:ext cx="1976041" cy="463550"/>
          </a:xfrm>
          <a:prstGeom prst="rect">
            <a:avLst/>
          </a:prstGeom>
        </p:spPr>
        <p:txBody>
          <a:bodyPr numCol="1" anchor="ctr" anchorCtr="0"/>
          <a:lstStyle>
            <a:lvl1pPr>
              <a:defRPr sz="240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812848" y="4038600"/>
            <a:ext cx="1976041" cy="463550"/>
          </a:xfrm>
          <a:prstGeom prst="rect">
            <a:avLst/>
          </a:prstGeom>
        </p:spPr>
        <p:txBody>
          <a:bodyPr numCol="1" anchor="ctr" anchorCtr="0"/>
          <a:lstStyle>
            <a:lvl1pPr>
              <a:defRPr sz="240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872289" y="4953000"/>
            <a:ext cx="1976041" cy="463550"/>
          </a:xfrm>
          <a:prstGeom prst="rect">
            <a:avLst/>
          </a:prstGeom>
        </p:spPr>
        <p:txBody>
          <a:bodyPr numCol="1" anchor="ctr" anchorCtr="0"/>
          <a:lstStyle>
            <a:lvl1pPr>
              <a:defRPr sz="2400">
                <a:solidFill>
                  <a:schemeClr val="bg1"/>
                </a:solidFill>
                <a:latin typeface="+mj-lt"/>
              </a:defRPr>
            </a:lvl1pPr>
          </a:lstStyle>
          <a:p>
            <a:pPr lvl="0"/>
            <a:r>
              <a:rPr lang="en-US"/>
              <a:t>04</a:t>
            </a:r>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81650" y="2818187"/>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1" name="Text Placeholder 2">
            <a:extLst>
              <a:ext uri="{FF2B5EF4-FFF2-40B4-BE49-F238E27FC236}">
                <a16:creationId xmlns:a16="http://schemas.microsoft.com/office/drawing/2014/main" id="{45F0A8FB-257E-F84E-9980-C5E7C4779F52}"/>
              </a:ext>
            </a:extLst>
          </p:cNvPr>
          <p:cNvSpPr>
            <a:spLocks noGrp="1"/>
          </p:cNvSpPr>
          <p:nvPr>
            <p:ph type="body" sz="quarter" idx="23"/>
          </p:nvPr>
        </p:nvSpPr>
        <p:spPr>
          <a:xfrm>
            <a:off x="2759047" y="3733800"/>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2" name="Text Placeholder 2">
            <a:extLst>
              <a:ext uri="{FF2B5EF4-FFF2-40B4-BE49-F238E27FC236}">
                <a16:creationId xmlns:a16="http://schemas.microsoft.com/office/drawing/2014/main" id="{2928FB57-0A02-F84D-965C-191B46009337}"/>
              </a:ext>
            </a:extLst>
          </p:cNvPr>
          <p:cNvSpPr>
            <a:spLocks noGrp="1"/>
          </p:cNvSpPr>
          <p:nvPr>
            <p:ph type="body" sz="quarter" idx="24"/>
          </p:nvPr>
        </p:nvSpPr>
        <p:spPr>
          <a:xfrm>
            <a:off x="4822422" y="4648200"/>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10F7A754-F8FC-8D4D-A9A3-FBA1044D8ACC}"/>
              </a:ext>
            </a:extLst>
          </p:cNvPr>
          <p:cNvSpPr>
            <a:spLocks noGrp="1"/>
          </p:cNvSpPr>
          <p:nvPr>
            <p:ph type="body" sz="quarter" idx="25"/>
          </p:nvPr>
        </p:nvSpPr>
        <p:spPr>
          <a:xfrm>
            <a:off x="6872289" y="5562600"/>
            <a:ext cx="1925432" cy="1154084"/>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3" name="Footer Placeholder 6">
            <a:extLst>
              <a:ext uri="{FF2B5EF4-FFF2-40B4-BE49-F238E27FC236}">
                <a16:creationId xmlns:a16="http://schemas.microsoft.com/office/drawing/2014/main" id="{2389959F-678A-0B49-A30A-E8AF637329E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7178409B-07AD-4206-9882-2BCD9B6EF5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Title 3">
            <a:extLst>
              <a:ext uri="{FF2B5EF4-FFF2-40B4-BE49-F238E27FC236}">
                <a16:creationId xmlns:a16="http://schemas.microsoft.com/office/drawing/2014/main" id="{063DDC32-EA8B-459C-87F4-5133F69564A0}"/>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6" name="Text Placeholder 2">
            <a:extLst>
              <a:ext uri="{FF2B5EF4-FFF2-40B4-BE49-F238E27FC236}">
                <a16:creationId xmlns:a16="http://schemas.microsoft.com/office/drawing/2014/main" id="{3868216D-71A8-4883-991E-8D3134352CF8}"/>
              </a:ext>
            </a:extLst>
          </p:cNvPr>
          <p:cNvSpPr>
            <a:spLocks noGrp="1"/>
          </p:cNvSpPr>
          <p:nvPr>
            <p:ph type="body" sz="quarter" idx="26"/>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2292196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F2A611B8-70D7-D542-8C91-D50C2273B594}"/>
              </a:ext>
            </a:extLst>
          </p:cNvPr>
          <p:cNvSpPr/>
          <p:nvPr/>
        </p:nvSpPr>
        <p:spPr>
          <a:xfrm>
            <a:off x="5570054" y="1891105"/>
            <a:ext cx="3042722" cy="338554"/>
          </a:xfrm>
          <a:prstGeom prst="rect">
            <a:avLst/>
          </a:prstGeom>
        </p:spPr>
        <p:txBody>
          <a:bodyPr wrap="square">
            <a:spAutoFit/>
          </a:bodyPr>
          <a:lstStyle/>
          <a:p>
            <a:r>
              <a:rPr lang="en-US" sz="160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912305" y="2141479"/>
            <a:ext cx="3855024"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66682" y="3761832"/>
            <a:ext cx="3536746" cy="296048"/>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2" name="Right Arrow 39">
            <a:extLst>
              <a:ext uri="{FF2B5EF4-FFF2-40B4-BE49-F238E27FC236}">
                <a16:creationId xmlns:a16="http://schemas.microsoft.com/office/drawing/2014/main" id="{BDAD0CD1-9521-CC4A-8671-C94D4BF18FAA}"/>
              </a:ext>
            </a:extLst>
          </p:cNvPr>
          <p:cNvSpPr/>
          <p:nvPr/>
        </p:nvSpPr>
        <p:spPr>
          <a:xfrm>
            <a:off x="863193" y="5453835"/>
            <a:ext cx="3904140"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4" name="TextBox 33">
            <a:extLst>
              <a:ext uri="{FF2B5EF4-FFF2-40B4-BE49-F238E27FC236}">
                <a16:creationId xmlns:a16="http://schemas.microsoft.com/office/drawing/2014/main" id="{3B5F0DCE-530D-CE44-BCBD-C2E1BD3E47EA}"/>
              </a:ext>
            </a:extLst>
          </p:cNvPr>
          <p:cNvSpPr txBox="1"/>
          <p:nvPr/>
        </p:nvSpPr>
        <p:spPr>
          <a:xfrm>
            <a:off x="2194426" y="4650813"/>
            <a:ext cx="65" cy="261610"/>
          </a:xfrm>
          <a:prstGeom prst="rect">
            <a:avLst/>
          </a:prstGeom>
          <a:noFill/>
        </p:spPr>
        <p:txBody>
          <a:bodyPr wrap="none" lIns="0" rIns="0" rtlCol="0">
            <a:spAutoFit/>
          </a:bodyPr>
          <a:lstStyle/>
          <a:p>
            <a:endParaRPr lang="en-US" sz="1100"/>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922498" y="1879042"/>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847980" y="1879042"/>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4008619" y="2912360"/>
            <a:ext cx="1728126"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4008619" y="4648018"/>
            <a:ext cx="1728126"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922498" y="5684856"/>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32457" y="4672117"/>
            <a:ext cx="1771301"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543054" y="2502442"/>
            <a:ext cx="392113" cy="482600"/>
          </a:xfrm>
          <a:prstGeom prst="ellipse">
            <a:avLst/>
          </a:prstGeom>
          <a:solidFill>
            <a:schemeClr val="accent1">
              <a:lumMod val="75000"/>
            </a:schemeClr>
          </a:solidFill>
        </p:spPr>
        <p:txBody>
          <a:bodyPr lIns="0" tIns="0" rIns="0" bIns="0" numCol="1" anchor="ctr" anchorCtr="0"/>
          <a:lstStyle>
            <a:lvl1pPr algn="ctr">
              <a:defRPr sz="1400">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543054" y="3726168"/>
            <a:ext cx="392113" cy="482600"/>
          </a:xfrm>
          <a:prstGeom prst="ellipse">
            <a:avLst/>
          </a:prstGeom>
          <a:solidFill>
            <a:schemeClr val="accent6"/>
          </a:solidFill>
        </p:spPr>
        <p:txBody>
          <a:bodyPr lIns="0" tIns="0" rIns="0" bIns="0" numCol="1" anchor="ctr" anchorCtr="0"/>
          <a:lstStyle>
            <a:lvl1pPr algn="ctr">
              <a:defRPr sz="1400">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543054" y="4949893"/>
            <a:ext cx="392113" cy="482600"/>
          </a:xfrm>
          <a:prstGeom prst="ellipse">
            <a:avLst/>
          </a:prstGeom>
          <a:solidFill>
            <a:schemeClr val="accent1">
              <a:lumMod val="60000"/>
              <a:lumOff val="40000"/>
            </a:schemeClr>
          </a:solidFill>
        </p:spPr>
        <p:txBody>
          <a:bodyPr lIns="0" tIns="0" rIns="0" bIns="0" numCol="1" anchor="ctr" anchorCtr="0"/>
          <a:lstStyle>
            <a:lvl1pPr algn="ctr">
              <a:defRPr sz="1400">
                <a:solidFill>
                  <a:schemeClr val="bg2"/>
                </a:solidFill>
                <a:latin typeface="+mj-lt"/>
              </a:defRPr>
            </a:lvl1pPr>
          </a:lstStyle>
          <a:p>
            <a:pPr lvl="0"/>
            <a:r>
              <a:rPr lang="en-US"/>
              <a:t>20</a:t>
            </a:r>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6057905" y="2502442"/>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6057905" y="3726168"/>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6057905" y="4949893"/>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48" name="Picture 47" descr="A picture containing text, clipart&#10;&#10;Description automatically generated">
            <a:extLst>
              <a:ext uri="{FF2B5EF4-FFF2-40B4-BE49-F238E27FC236}">
                <a16:creationId xmlns:a16="http://schemas.microsoft.com/office/drawing/2014/main" id="{D85B832C-7BC0-4D0A-AD4D-7A5FC1AAD5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49" name="Title 3">
            <a:extLst>
              <a:ext uri="{FF2B5EF4-FFF2-40B4-BE49-F238E27FC236}">
                <a16:creationId xmlns:a16="http://schemas.microsoft.com/office/drawing/2014/main" id="{D89FC77E-8953-452B-8006-23E87E55EC93}"/>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50" name="Text Placeholder 2">
            <a:extLst>
              <a:ext uri="{FF2B5EF4-FFF2-40B4-BE49-F238E27FC236}">
                <a16:creationId xmlns:a16="http://schemas.microsoft.com/office/drawing/2014/main" id="{4F923A56-BEF8-49C8-9929-3713BD63BE5F}"/>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028025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9" y="-24575"/>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7">
            <a:extLst>
              <a:ext uri="{FF2B5EF4-FFF2-40B4-BE49-F238E27FC236}">
                <a16:creationId xmlns:a16="http://schemas.microsoft.com/office/drawing/2014/main" id="{B88EB595-6250-9E40-A22F-DAF9C8FC3001}"/>
              </a:ext>
            </a:extLst>
          </p:cNvPr>
          <p:cNvSpPr/>
          <p:nvPr userDrawn="1"/>
        </p:nvSpPr>
        <p:spPr>
          <a:xfrm>
            <a:off x="8636258" y="-19050"/>
            <a:ext cx="128732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872042" y="952500"/>
            <a:ext cx="4071929" cy="5219700"/>
          </a:xfrm>
          <a:prstGeom prst="rect">
            <a:avLst/>
          </a:prstGeom>
        </p:spPr>
        <p:txBody>
          <a:bodyPr lIns="91440" spcCol="457200" anchor="ctr" anchorCtr="0"/>
          <a:lstStyle>
            <a:lvl1pPr marL="342882" indent="-342882">
              <a:lnSpc>
                <a:spcPct val="100000"/>
              </a:lnSpc>
              <a:buClr>
                <a:schemeClr val="accent1"/>
              </a:buClr>
              <a:buFont typeface="+mj-lt"/>
              <a:buAutoNum type="arabicPeriod"/>
              <a:defRPr sz="1600" b="1" i="0">
                <a:latin typeface="Nunito Sans" pitchFamily="2" charset="77"/>
              </a:defRPr>
            </a:lvl1pPr>
            <a:lvl2pPr marL="466703" indent="-122233">
              <a:lnSpc>
                <a:spcPct val="100000"/>
              </a:lnSpc>
              <a:buClr>
                <a:schemeClr val="accent2"/>
              </a:buClr>
              <a:buFont typeface="Arial" panose="020B0604020202020204" pitchFamily="34" charset="0"/>
              <a:buChar char="•"/>
              <a:tabLst/>
              <a:defRPr sz="1200"/>
            </a:lvl2pPr>
            <a:lvl3pPr marL="466703" indent="-122233">
              <a:lnSpc>
                <a:spcPct val="100000"/>
              </a:lnSpc>
              <a:buClr>
                <a:schemeClr val="accent2"/>
              </a:buClr>
              <a:buFont typeface="Arial" panose="020B0604020202020204" pitchFamily="34" charset="0"/>
              <a:buChar char="•"/>
              <a:tabLst/>
              <a:defRPr sz="1100"/>
            </a:lvl3pPr>
            <a:lvl4pPr marL="466703" indent="-122233">
              <a:lnSpc>
                <a:spcPct val="100000"/>
              </a:lnSpc>
              <a:buClr>
                <a:schemeClr val="accent2"/>
              </a:buClr>
              <a:buFont typeface="Arial" panose="020B0604020202020204" pitchFamily="34" charset="0"/>
              <a:buChar char="•"/>
              <a:tabLst/>
              <a:defRPr sz="1100"/>
            </a:lvl4pPr>
            <a:lvl5pPr marL="466703" indent="-122233">
              <a:lnSpc>
                <a:spcPct val="100000"/>
              </a:lnSpc>
              <a:buClr>
                <a:schemeClr val="accent2"/>
              </a:buClr>
              <a:buFont typeface="Arial" panose="020B0604020202020204" pitchFamily="34" charset="0"/>
              <a:buChar char="•"/>
              <a:tabLst/>
              <a:defRPr sz="1100"/>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2"/>
                </a:solidFill>
              </a:defRPr>
            </a:lvl1pPr>
          </a:lstStyle>
          <a:p>
            <a:endParaRPr lang="en-US"/>
          </a:p>
        </p:txBody>
      </p:sp>
      <p:sp>
        <p:nvSpPr>
          <p:cNvPr id="10" name="TextBox 9">
            <a:extLst>
              <a:ext uri="{FF2B5EF4-FFF2-40B4-BE49-F238E27FC236}">
                <a16:creationId xmlns:a16="http://schemas.microsoft.com/office/drawing/2014/main" id="{C843ED4E-7064-419A-A4D3-97EE43DB0278}"/>
              </a:ext>
            </a:extLst>
          </p:cNvPr>
          <p:cNvSpPr txBox="1"/>
          <p:nvPr userDrawn="1"/>
        </p:nvSpPr>
        <p:spPr>
          <a:xfrm>
            <a:off x="844683" y="2542325"/>
            <a:ext cx="3170185" cy="1815882"/>
          </a:xfrm>
          <a:prstGeom prst="rect">
            <a:avLst/>
          </a:prstGeom>
          <a:noFill/>
        </p:spPr>
        <p:txBody>
          <a:bodyPr wrap="square" rtlCol="0">
            <a:spAutoFit/>
          </a:bodyPr>
          <a:lstStyle/>
          <a:p>
            <a:pPr algn="l"/>
            <a:r>
              <a:rPr lang="en-US" sz="5600" spc="-151">
                <a:solidFill>
                  <a:schemeClr val="accent1"/>
                </a:solidFill>
                <a:latin typeface="+mj-lt"/>
              </a:rPr>
              <a:t>Table of Contents</a:t>
            </a:r>
          </a:p>
        </p:txBody>
      </p:sp>
      <p:pic>
        <p:nvPicPr>
          <p:cNvPr id="11" name="Picture 10" descr="A picture containing text, clipart&#10;&#10;Description automatically generated">
            <a:extLst>
              <a:ext uri="{FF2B5EF4-FFF2-40B4-BE49-F238E27FC236}">
                <a16:creationId xmlns:a16="http://schemas.microsoft.com/office/drawing/2014/main" id="{8264F3E1-1604-4B2D-BA90-0902190608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595518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293606" y="3079013"/>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293606" y="4017518"/>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293606" y="4977925"/>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1478151900"/>
              </p:ext>
            </p:extLst>
          </p:nvPr>
        </p:nvGraphicFramePr>
        <p:xfrm>
          <a:off x="512160" y="1559071"/>
          <a:ext cx="5297318" cy="43716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93658" y="269793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693406" y="2225661"/>
            <a:ext cx="736071" cy="463550"/>
          </a:xfrm>
          <a:prstGeom prst="rect">
            <a:avLst/>
          </a:prstGeom>
        </p:spPr>
        <p:txBody>
          <a:bodyPr numCol="1" anchor="ctr" anchorCtr="0"/>
          <a:lstStyle>
            <a:lvl1pPr algn="ctr">
              <a:defRPr sz="240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693406" y="3118275"/>
            <a:ext cx="736071" cy="463550"/>
          </a:xfrm>
          <a:prstGeom prst="rect">
            <a:avLst/>
          </a:prstGeom>
        </p:spPr>
        <p:txBody>
          <a:bodyPr numCol="1" anchor="ctr" anchorCtr="0"/>
          <a:lstStyle>
            <a:lvl1pPr algn="ctr">
              <a:defRPr sz="240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693406" y="4088388"/>
            <a:ext cx="736071" cy="463550"/>
          </a:xfrm>
          <a:prstGeom prst="rect">
            <a:avLst/>
          </a:prstGeom>
        </p:spPr>
        <p:txBody>
          <a:bodyPr numCol="1" anchor="ctr" anchorCtr="0"/>
          <a:lstStyle>
            <a:lvl1pPr algn="ctr">
              <a:defRPr sz="240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693406" y="5024179"/>
            <a:ext cx="736071" cy="463550"/>
          </a:xfrm>
          <a:prstGeom prst="rect">
            <a:avLst/>
          </a:prstGeom>
        </p:spPr>
        <p:txBody>
          <a:bodyPr numCol="1" anchor="ctr" anchorCtr="0"/>
          <a:lstStyle>
            <a:lvl1pPr algn="ctr">
              <a:defRPr sz="240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93658" y="3592409"/>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93658" y="4562522"/>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93658" y="549831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6057905" y="225471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6057905" y="318064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6057905" y="412562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6057905" y="5080125"/>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8" name="Footer Placeholder 6">
            <a:extLst>
              <a:ext uri="{FF2B5EF4-FFF2-40B4-BE49-F238E27FC236}">
                <a16:creationId xmlns:a16="http://schemas.microsoft.com/office/drawing/2014/main" id="{7D33DDBC-F1B4-594D-AB03-BDF5D2758CE0}"/>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0" name="Picture 29" descr="A picture containing text, clipart&#10;&#10;Description automatically generated">
            <a:extLst>
              <a:ext uri="{FF2B5EF4-FFF2-40B4-BE49-F238E27FC236}">
                <a16:creationId xmlns:a16="http://schemas.microsoft.com/office/drawing/2014/main" id="{37DF611A-57C2-4EDA-A640-BA3BFEF3892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1" name="Title 3">
            <a:extLst>
              <a:ext uri="{FF2B5EF4-FFF2-40B4-BE49-F238E27FC236}">
                <a16:creationId xmlns:a16="http://schemas.microsoft.com/office/drawing/2014/main" id="{6D0AA118-B25A-48F8-9AD0-EBA72F869363}"/>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4" name="Text Placeholder 2">
            <a:extLst>
              <a:ext uri="{FF2B5EF4-FFF2-40B4-BE49-F238E27FC236}">
                <a16:creationId xmlns:a16="http://schemas.microsoft.com/office/drawing/2014/main" id="{EF4449D8-ED35-4E3A-BDD7-6990F95B22F3}"/>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851651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288E84-60FE-4B4E-A4CD-75C16886AA89}"/>
              </a:ext>
            </a:extLst>
          </p:cNvPr>
          <p:cNvGraphicFramePr>
            <a:graphicFrameLocks noChangeAspect="1"/>
          </p:cNvGraphicFramePr>
          <p:nvPr userDrawn="1">
            <p:custDataLst>
              <p:tags r:id="rId1"/>
            </p:custDataLst>
            <p:extLst>
              <p:ext uri="{D42A27DB-BD31-4B8C-83A1-F6EECF244321}">
                <p14:modId xmlns:p14="http://schemas.microsoft.com/office/powerpoint/2010/main" val="1052247318"/>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E288E84-60FE-4B4E-A4CD-75C16886AA89}"/>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658226" y="6448270"/>
            <a:ext cx="345679" cy="174625"/>
          </a:xfrm>
          <a:prstGeom prst="rect">
            <a:avLst/>
          </a:prstGeom>
        </p:spPr>
        <p:txBody>
          <a:bodyPr lIns="0" tIns="0" rIns="0" bIns="0" anchor="b" anchorCtr="0"/>
          <a:lstStyle>
            <a:lvl1pPr algn="l">
              <a:defRPr sz="775">
                <a:solidFill>
                  <a:schemeClr val="tx1"/>
                </a:solidFill>
              </a:defRPr>
            </a:lvl1pPr>
          </a:lstStyle>
          <a:p>
            <a:fld id="{CB7FE98A-78B1-495F-8A5C-53E48422F91F}" type="slidenum">
              <a:rPr lang="en-US" smtClean="0"/>
              <a:pPr/>
              <a:t>‹#›</a:t>
            </a:fld>
            <a:endParaRPr lang="en-US"/>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80000"/>
            <a:ext cx="1684113" cy="177453"/>
          </a:xfrm>
          <a:prstGeom prst="rect">
            <a:avLst/>
          </a:prstGeom>
        </p:spPr>
        <p:txBody>
          <a:bodyPr vert="horz" lIns="91440" tIns="45720" rIns="91440" bIns="45720" rtlCol="0" anchor="ctr"/>
          <a:lstStyle>
            <a:lvl1pPr algn="l">
              <a:defRPr sz="678">
                <a:solidFill>
                  <a:schemeClr val="accent1"/>
                </a:solidFill>
              </a:defRPr>
            </a:lvl1pPr>
          </a:lstStyle>
          <a:p>
            <a:endParaRPr lang="en-US"/>
          </a:p>
        </p:txBody>
      </p:sp>
      <p:sp>
        <p:nvSpPr>
          <p:cNvPr id="21" name="Freeform 15">
            <a:extLst>
              <a:ext uri="{FF2B5EF4-FFF2-40B4-BE49-F238E27FC236}">
                <a16:creationId xmlns:a16="http://schemas.microsoft.com/office/drawing/2014/main" id="{F1DF828B-67C4-4FF0-8BA6-5281F2E69E11}"/>
              </a:ext>
            </a:extLst>
          </p:cNvPr>
          <p:cNvSpPr/>
          <p:nvPr userDrawn="1"/>
        </p:nvSpPr>
        <p:spPr>
          <a:xfrm rot="10800000" flipH="1" flipV="1">
            <a:off x="5269822"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28" name="Freeform 16">
            <a:extLst>
              <a:ext uri="{FF2B5EF4-FFF2-40B4-BE49-F238E27FC236}">
                <a16:creationId xmlns:a16="http://schemas.microsoft.com/office/drawing/2014/main" id="{B4787EFD-9E24-4773-ADFE-B266BCCB31AA}"/>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pic>
        <p:nvPicPr>
          <p:cNvPr id="13" name="Picture 12" descr="A picture containing text, clipart&#10;&#10;Description automatically generated">
            <a:extLst>
              <a:ext uri="{FF2B5EF4-FFF2-40B4-BE49-F238E27FC236}">
                <a16:creationId xmlns:a16="http://schemas.microsoft.com/office/drawing/2014/main" id="{592B78A9-2D16-4181-BCCA-C428AD514C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3" y="6487570"/>
            <a:ext cx="590424" cy="135324"/>
          </a:xfrm>
          <a:prstGeom prst="rect">
            <a:avLst/>
          </a:prstGeom>
        </p:spPr>
      </p:pic>
      <p:sp>
        <p:nvSpPr>
          <p:cNvPr id="14" name="Text Placeholder 3">
            <a:extLst>
              <a:ext uri="{FF2B5EF4-FFF2-40B4-BE49-F238E27FC236}">
                <a16:creationId xmlns:a16="http://schemas.microsoft.com/office/drawing/2014/main" id="{1477523A-F006-427A-BBD3-C50D3A84C655}"/>
              </a:ext>
            </a:extLst>
          </p:cNvPr>
          <p:cNvSpPr>
            <a:spLocks noGrp="1"/>
          </p:cNvSpPr>
          <p:nvPr>
            <p:ph type="body" sz="quarter" idx="13" hasCustomPrompt="1"/>
          </p:nvPr>
        </p:nvSpPr>
        <p:spPr>
          <a:xfrm>
            <a:off x="680218" y="1062602"/>
            <a:ext cx="8544745" cy="274431"/>
          </a:xfrm>
          <a:prstGeom prst="rect">
            <a:avLst/>
          </a:prstGeom>
        </p:spPr>
        <p:txBody>
          <a:bodyPr lIns="0" tIns="0" rIns="0" bIns="0">
            <a:noAutofit/>
          </a:bodyPr>
          <a:lstStyle>
            <a:lvl1pPr>
              <a:defRPr sz="1745"/>
            </a:lvl1pPr>
          </a:lstStyle>
          <a:p>
            <a:r>
              <a:rPr lang="en-US"/>
              <a:t>Subhead location</a:t>
            </a:r>
          </a:p>
        </p:txBody>
      </p:sp>
      <p:sp>
        <p:nvSpPr>
          <p:cNvPr id="15" name="Title 2">
            <a:extLst>
              <a:ext uri="{FF2B5EF4-FFF2-40B4-BE49-F238E27FC236}">
                <a16:creationId xmlns:a16="http://schemas.microsoft.com/office/drawing/2014/main" id="{5AABF8F2-FCE8-43A8-86A5-C7831B77477A}"/>
              </a:ext>
            </a:extLst>
          </p:cNvPr>
          <p:cNvSpPr>
            <a:spLocks noGrp="1"/>
          </p:cNvSpPr>
          <p:nvPr>
            <p:ph type="title" hasCustomPrompt="1"/>
          </p:nvPr>
        </p:nvSpPr>
        <p:spPr>
          <a:xfrm>
            <a:off x="681039" y="590053"/>
            <a:ext cx="6958833" cy="373839"/>
          </a:xfrm>
          <a:prstGeom prst="rect">
            <a:avLst/>
          </a:prstGeom>
        </p:spPr>
        <p:txBody>
          <a:bodyPr vert="horz" lIns="0" tIns="0" rIns="0" bIns="0">
            <a:noAutofit/>
          </a:bodyPr>
          <a:lstStyle>
            <a:lvl1pPr>
              <a:defRPr sz="2520"/>
            </a:lvl1pPr>
          </a:lstStyle>
          <a:p>
            <a:r>
              <a:rPr lang="en-US"/>
              <a:t>Click to add title</a:t>
            </a:r>
            <a:endParaRPr lang="en-US" sz="1308" spc="0"/>
          </a:p>
        </p:txBody>
      </p:sp>
      <p:sp>
        <p:nvSpPr>
          <p:cNvPr id="16" name="Text Placeholder 2">
            <a:extLst>
              <a:ext uri="{FF2B5EF4-FFF2-40B4-BE49-F238E27FC236}">
                <a16:creationId xmlns:a16="http://schemas.microsoft.com/office/drawing/2014/main" id="{A15C2658-0ECA-41DF-97E1-4123E6BD4F43}"/>
              </a:ext>
            </a:extLst>
          </p:cNvPr>
          <p:cNvSpPr>
            <a:spLocks noGrp="1"/>
          </p:cNvSpPr>
          <p:nvPr>
            <p:ph type="body" sz="quarter" idx="20"/>
          </p:nvPr>
        </p:nvSpPr>
        <p:spPr>
          <a:xfrm>
            <a:off x="701548" y="1609252"/>
            <a:ext cx="8523413" cy="4562948"/>
          </a:xfrm>
          <a:prstGeom prst="rect">
            <a:avLst/>
          </a:prstGeom>
        </p:spPr>
        <p:txBody>
          <a:bodyPr lIns="0" numCol="1">
            <a:noAutofit/>
          </a:bodyPr>
          <a:lstStyle>
            <a:lvl1pPr marL="177247" indent="-177247">
              <a:lnSpc>
                <a:spcPct val="150000"/>
              </a:lnSpc>
              <a:spcBef>
                <a:spcPts val="388"/>
              </a:spcBef>
              <a:buClr>
                <a:schemeClr val="accent2"/>
              </a:buClr>
              <a:buFont typeface="Arial" panose="020B0604020202020204" pitchFamily="34" charset="0"/>
              <a:buChar char="•"/>
              <a:defRPr sz="1163"/>
            </a:lvl1pPr>
            <a:lvl2pPr marL="354495" indent="-177247">
              <a:buClr>
                <a:schemeClr val="accent2"/>
              </a:buClr>
              <a:buSzPct val="100000"/>
              <a:buFont typeface="System Font Regular"/>
              <a:buChar char="–"/>
              <a:defRPr sz="1163"/>
            </a:lvl2pPr>
            <a:lvl3pPr marL="531742" indent="-177247">
              <a:buClr>
                <a:schemeClr val="accent2"/>
              </a:buClr>
              <a:buSzPct val="75000"/>
              <a:buFont typeface="Courier New" panose="02070309020205020404" pitchFamily="49" charset="0"/>
              <a:buChar char="o"/>
              <a:defRPr sz="1163"/>
            </a:lvl3pPr>
            <a:lvl4pPr marL="708989" indent="-177247">
              <a:buClr>
                <a:schemeClr val="accent2"/>
              </a:buClr>
              <a:buFont typeface="System Font Regular"/>
              <a:buChar char="–"/>
              <a:defRPr sz="1163"/>
            </a:lvl4pPr>
            <a:lvl5pPr marL="886236" indent="-177247">
              <a:buClr>
                <a:schemeClr val="accent2"/>
              </a:buClr>
              <a:buFont typeface="System Font Regular"/>
              <a:buChar char="-"/>
              <a:defRPr sz="11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960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4240016563"/>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dirty="0"/>
          </a:p>
        </p:txBody>
      </p:sp>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dirty="0"/>
              <a:t>Subhead location</a:t>
            </a:r>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dirty="0"/>
              <a:t>Click to add title</a:t>
            </a:r>
            <a:endParaRPr lang="en-US" sz="1350" spc="0" dirty="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dirty="0"/>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2" name="Picture 21" descr="A picture containing text, clipart&#10;&#10;Description automatically generated">
            <a:extLst>
              <a:ext uri="{FF2B5EF4-FFF2-40B4-BE49-F238E27FC236}">
                <a16:creationId xmlns:a16="http://schemas.microsoft.com/office/drawing/2014/main" id="{10EDC911-33BE-46B8-93FC-608999FB8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Tree>
    <p:extLst>
      <p:ext uri="{BB962C8B-B14F-4D97-AF65-F5344CB8AC3E}">
        <p14:creationId xmlns:p14="http://schemas.microsoft.com/office/powerpoint/2010/main" val="1967550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B4897EC7-AC6F-C945-9F7D-33A6E9E9F46C}"/>
              </a:ext>
            </a:extLst>
          </p:cNvPr>
          <p:cNvSpPr>
            <a:spLocks noGrp="1"/>
          </p:cNvSpPr>
          <p:nvPr>
            <p:ph type="body" sz="quarter" idx="14" hasCustomPrompt="1"/>
          </p:nvPr>
        </p:nvSpPr>
        <p:spPr>
          <a:xfrm>
            <a:off x="329827" y="4185174"/>
            <a:ext cx="4142979" cy="1752600"/>
          </a:xfrm>
          <a:prstGeom prst="rect">
            <a:avLst/>
          </a:prstGeom>
        </p:spPr>
        <p:txBody>
          <a:bodyPr numCol="1"/>
          <a:lstStyle>
            <a:lvl1pPr>
              <a:defRPr sz="1600"/>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32" name="Text Placeholder 2">
            <a:extLst>
              <a:ext uri="{FF2B5EF4-FFF2-40B4-BE49-F238E27FC236}">
                <a16:creationId xmlns:a16="http://schemas.microsoft.com/office/drawing/2014/main" id="{9050AF2A-F561-6842-B4BD-722D3B9D40C9}"/>
              </a:ext>
            </a:extLst>
          </p:cNvPr>
          <p:cNvSpPr>
            <a:spLocks noGrp="1"/>
          </p:cNvSpPr>
          <p:nvPr>
            <p:ph type="body" sz="quarter" idx="15" hasCustomPrompt="1"/>
          </p:nvPr>
        </p:nvSpPr>
        <p:spPr>
          <a:xfrm>
            <a:off x="4785505" y="1576266"/>
            <a:ext cx="4165263" cy="1752600"/>
          </a:xfrm>
          <a:prstGeom prst="rect">
            <a:avLst/>
          </a:prstGeom>
        </p:spPr>
        <p:txBody>
          <a:bodyPr numCol="1"/>
          <a:lstStyle>
            <a:lvl1pPr>
              <a:defRPr sz="1600"/>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319137" y="3753374"/>
            <a:ext cx="4153670" cy="431800"/>
          </a:xfrm>
          <a:prstGeom prst="rect">
            <a:avLst/>
          </a:prstGeom>
        </p:spPr>
        <p:txBody>
          <a:bodyPr/>
          <a:lstStyle>
            <a:lvl1pPr>
              <a:defRPr sz="160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786826" y="1171983"/>
            <a:ext cx="4163941" cy="404283"/>
          </a:xfrm>
          <a:prstGeom prst="rect">
            <a:avLst/>
          </a:prstGeom>
        </p:spPr>
        <p:txBody>
          <a:bodyPr/>
          <a:lstStyle>
            <a:lvl1pPr>
              <a:defRPr sz="160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327805" y="1475598"/>
            <a:ext cx="4165263" cy="1752600"/>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vl3pPr marL="403205" indent="-171442">
              <a:buClr>
                <a:schemeClr val="accent2"/>
              </a:buClr>
              <a:buSzPct val="75000"/>
              <a:buFont typeface="Courier New" panose="02070309020205020404" pitchFamily="49" charset="0"/>
              <a:buChar char="o"/>
              <a:defRPr/>
            </a:lvl3pPr>
            <a:lvl4pPr marL="520674" indent="-171442">
              <a:buClr>
                <a:schemeClr val="accent2"/>
              </a:buClr>
              <a:buFont typeface="System Font Regular"/>
              <a:buChar char="–"/>
              <a:defRPr/>
            </a:lvl4pPr>
            <a:lvl5pPr marL="636556" indent="-17144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327805" y="1171983"/>
            <a:ext cx="4163941" cy="303615"/>
          </a:xfrm>
          <a:prstGeom prst="rect">
            <a:avLst/>
          </a:prstGeom>
        </p:spPr>
        <p:txBody>
          <a:bodyPr/>
          <a:lstStyle>
            <a:lvl1pPr>
              <a:defRPr sz="160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864542" y="3753374"/>
            <a:ext cx="4086225" cy="431800"/>
          </a:xfrm>
          <a:prstGeom prst="rect">
            <a:avLst/>
          </a:prstGeom>
        </p:spPr>
        <p:txBody>
          <a:bodyPr numCol="1"/>
          <a:lstStyle>
            <a:lvl1pPr algn="ctr">
              <a:defRPr sz="160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864542" y="4185174"/>
            <a:ext cx="4086225" cy="1752600"/>
          </a:xfrm>
          <a:prstGeom prst="rect">
            <a:avLst/>
          </a:prstGeom>
        </p:spPr>
        <p:txBody>
          <a:bodyPr/>
          <a:lstStyle/>
          <a:p>
            <a:endParaRPr lang="en-US"/>
          </a:p>
        </p:txBody>
      </p:sp>
      <p:sp>
        <p:nvSpPr>
          <p:cNvPr id="16" name="Freeform 15">
            <a:extLst>
              <a:ext uri="{FF2B5EF4-FFF2-40B4-BE49-F238E27FC236}">
                <a16:creationId xmlns:a16="http://schemas.microsoft.com/office/drawing/2014/main" id="{A8A8E2D3-9490-7D4A-B423-4A0A94FAE32C}"/>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reeform 16">
            <a:extLst>
              <a:ext uri="{FF2B5EF4-FFF2-40B4-BE49-F238E27FC236}">
                <a16:creationId xmlns:a16="http://schemas.microsoft.com/office/drawing/2014/main" id="{09BE8E7F-EDB9-1949-B59A-0433C281265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0" name="Picture 19" descr="A picture containing text, clipart&#10;&#10;Description automatically generated">
            <a:extLst>
              <a:ext uri="{FF2B5EF4-FFF2-40B4-BE49-F238E27FC236}">
                <a16:creationId xmlns:a16="http://schemas.microsoft.com/office/drawing/2014/main" id="{4D6FC4E6-B8C6-4F55-B68C-4ACB82977E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3" name="Title 3">
            <a:extLst>
              <a:ext uri="{FF2B5EF4-FFF2-40B4-BE49-F238E27FC236}">
                <a16:creationId xmlns:a16="http://schemas.microsoft.com/office/drawing/2014/main" id="{A737AF04-3B58-47C8-98C5-F200F52918AC}"/>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Tree>
    <p:extLst>
      <p:ext uri="{BB962C8B-B14F-4D97-AF65-F5344CB8AC3E}">
        <p14:creationId xmlns:p14="http://schemas.microsoft.com/office/powerpoint/2010/main" val="1711426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0"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0" name="Title 3">
            <a:extLst>
              <a:ext uri="{FF2B5EF4-FFF2-40B4-BE49-F238E27FC236}">
                <a16:creationId xmlns:a16="http://schemas.microsoft.com/office/drawing/2014/main" id="{50D2CACD-05E6-4037-A65C-2F396CB5A2A1}"/>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 name="Text Placeholder 2">
            <a:extLst>
              <a:ext uri="{FF2B5EF4-FFF2-40B4-BE49-F238E27FC236}">
                <a16:creationId xmlns:a16="http://schemas.microsoft.com/office/drawing/2014/main" id="{53510F45-72C4-4A05-B71D-0D81FFB6F125}"/>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157542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0"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949950" y="-14991"/>
            <a:ext cx="3973392"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0" name="Title 3">
            <a:extLst>
              <a:ext uri="{FF2B5EF4-FFF2-40B4-BE49-F238E27FC236}">
                <a16:creationId xmlns:a16="http://schemas.microsoft.com/office/drawing/2014/main" id="{6E9A5A23-C727-4097-8B5A-F500591FBE85}"/>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2" name="Text Placeholder 2">
            <a:extLst>
              <a:ext uri="{FF2B5EF4-FFF2-40B4-BE49-F238E27FC236}">
                <a16:creationId xmlns:a16="http://schemas.microsoft.com/office/drawing/2014/main" id="{B849661B-5E9D-4764-AD3B-4CD7355DF993}"/>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9952064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490657"/>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90499" marR="0" indent="-174617" algn="l" defTabSz="914354" rtl="0" eaLnBrk="1" fontAlgn="base" latinLnBrk="0" hangingPunct="1">
              <a:lnSpc>
                <a:spcPct val="100000"/>
              </a:lnSpc>
              <a:spcBef>
                <a:spcPts val="500"/>
              </a:spcBef>
              <a:spcAft>
                <a:spcPts val="0"/>
              </a:spcAft>
              <a:buClr>
                <a:schemeClr val="accent2"/>
              </a:buClr>
              <a:buSzPct val="100000"/>
              <a:buFont typeface="System Font Regular"/>
              <a:buChar char="–"/>
              <a:tabLst/>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4" name="Picture 13" descr="A picture containing text, clipart&#10;&#10;Description automatically generated">
            <a:extLst>
              <a:ext uri="{FF2B5EF4-FFF2-40B4-BE49-F238E27FC236}">
                <a16:creationId xmlns:a16="http://schemas.microsoft.com/office/drawing/2014/main" id="{3B9FFA35-F147-46BA-837F-D8F2E93203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8" name="Title 3">
            <a:extLst>
              <a:ext uri="{FF2B5EF4-FFF2-40B4-BE49-F238E27FC236}">
                <a16:creationId xmlns:a16="http://schemas.microsoft.com/office/drawing/2014/main" id="{FEBD668F-C116-4DFB-ABCF-9EA45DC1CB51}"/>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19" name="Text Placeholder 2">
            <a:extLst>
              <a:ext uri="{FF2B5EF4-FFF2-40B4-BE49-F238E27FC236}">
                <a16:creationId xmlns:a16="http://schemas.microsoft.com/office/drawing/2014/main" id="{3F2BC1CB-3D0D-434F-8C12-5C4EA5126CEE}"/>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882796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3" name="Text Placeholder 3">
            <a:extLst>
              <a:ext uri="{FF2B5EF4-FFF2-40B4-BE49-F238E27FC236}">
                <a16:creationId xmlns:a16="http://schemas.microsoft.com/office/drawing/2014/main" id="{B8171727-ED1F-8345-A404-3F846E34A954}"/>
              </a:ext>
            </a:extLst>
          </p:cNvPr>
          <p:cNvSpPr>
            <a:spLocks noGrp="1"/>
          </p:cNvSpPr>
          <p:nvPr>
            <p:ph type="body" sz="quarter" idx="14" hasCustomPrompt="1"/>
          </p:nvPr>
        </p:nvSpPr>
        <p:spPr>
          <a:xfrm>
            <a:off x="324333" y="1882276"/>
            <a:ext cx="4160537" cy="4083958"/>
          </a:xfrm>
          <a:prstGeom prst="rect">
            <a:avLst/>
          </a:prstGeom>
        </p:spPr>
        <p:txBody>
          <a:bodyPr numCol="1"/>
          <a:lstStyle>
            <a:lvl1pPr marL="171442" marR="0" indent="-171442" algn="l" defTabSz="914354" rtl="0" eaLnBrk="1" fontAlgn="base" latinLnBrk="0" hangingPunct="1">
              <a:lnSpc>
                <a:spcPct val="150000"/>
              </a:lnSpc>
              <a:spcBef>
                <a:spcPts val="400"/>
              </a:spcBef>
              <a:spcAft>
                <a:spcPts val="0"/>
              </a:spcAft>
              <a:buClr>
                <a:schemeClr val="accent2"/>
              </a:buClr>
              <a:buSzTx/>
              <a:buFont typeface="Arial" panose="020B0604020202020204" pitchFamily="34" charset="0"/>
              <a:buChar char="•"/>
              <a:tabLst/>
              <a:defRPr sz="1600" b="0" i="0">
                <a:latin typeface="Nunito Sans" pitchFamily="2" charset="77"/>
              </a:defRPr>
            </a:lvl1pPr>
            <a:lvl2pPr marL="347646" indent="-231764">
              <a:lnSpc>
                <a:spcPct val="100000"/>
              </a:lnSpc>
              <a:buClr>
                <a:schemeClr val="accent2"/>
              </a:buClr>
              <a:buSzPct val="100000"/>
              <a:buFont typeface="System Font Regular"/>
              <a:buChar char="–"/>
              <a:tabLst/>
              <a:defRPr sz="1600" b="0" i="0">
                <a:latin typeface="Nunito Sans" pitchFamily="2" charset="77"/>
              </a:defRPr>
            </a:lvl2pPr>
            <a:lvl3pPr>
              <a:lnSpc>
                <a:spcPct val="100000"/>
              </a:lnSpc>
              <a:defRPr sz="1100" b="0" i="0">
                <a:latin typeface="Nunito Sans" pitchFamily="2" charset="77"/>
              </a:defRPr>
            </a:lvl3pPr>
            <a:lvl4pPr>
              <a:lnSpc>
                <a:spcPct val="100000"/>
              </a:lnSpc>
              <a:defRPr sz="1100" b="0" i="0">
                <a:latin typeface="Nunito Sans" pitchFamily="2" charset="77"/>
              </a:defRPr>
            </a:lvl4pPr>
            <a:lvl5pPr>
              <a:lnSpc>
                <a:spcPct val="100000"/>
              </a:lnSpc>
              <a:defRPr sz="1100" b="0" i="0">
                <a:latin typeface="Nunito Sans" pitchFamily="2" charset="77"/>
              </a:defRPr>
            </a:lvl5pPr>
          </a:lstStyle>
          <a:p>
            <a:pPr fontAlgn="base"/>
            <a:r>
              <a:rPr lang="en-US"/>
              <a:t>Lorem ipsum dolor sit </a:t>
            </a:r>
            <a:r>
              <a:rPr lang="en-US" err="1"/>
              <a:t>amet</a:t>
            </a:r>
            <a:endParaRPr lang="en-US"/>
          </a:p>
          <a:p>
            <a:pPr lvl="1" fontAlgn="base"/>
            <a:r>
              <a:rPr lang="en-US" sz="1600"/>
              <a:t>Sub bullet</a:t>
            </a:r>
            <a:endParaRPr lang="en-US"/>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p:txBody>
      </p:sp>
      <p:sp>
        <p:nvSpPr>
          <p:cNvPr id="14" name="Text Placeholder 4">
            <a:extLst>
              <a:ext uri="{FF2B5EF4-FFF2-40B4-BE49-F238E27FC236}">
                <a16:creationId xmlns:a16="http://schemas.microsoft.com/office/drawing/2014/main" id="{3CD466E9-7001-0D4C-ACBF-1BCECAEDF1A7}"/>
              </a:ext>
            </a:extLst>
          </p:cNvPr>
          <p:cNvSpPr>
            <a:spLocks noGrp="1"/>
          </p:cNvSpPr>
          <p:nvPr>
            <p:ph type="body" sz="quarter" idx="19" hasCustomPrompt="1"/>
          </p:nvPr>
        </p:nvSpPr>
        <p:spPr>
          <a:xfrm>
            <a:off x="320926" y="1294147"/>
            <a:ext cx="4173935" cy="406008"/>
          </a:xfrm>
          <a:prstGeom prst="rect">
            <a:avLst/>
          </a:prstGeom>
        </p:spPr>
        <p:txBody>
          <a:bodyPr/>
          <a:lstStyle>
            <a:lvl1pPr>
              <a:defRPr sz="1600" b="1" i="0">
                <a:latin typeface="Nunito Sans" pitchFamily="2" charset="77"/>
              </a:defRPr>
            </a:lvl1pPr>
          </a:lstStyle>
          <a:p>
            <a:pPr lvl="0"/>
            <a:r>
              <a:rPr lang="en-US"/>
              <a:t>Paragraph header</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850192" y="1493421"/>
            <a:ext cx="4086225" cy="4298903"/>
          </a:xfrm>
          <a:prstGeom prst="rect">
            <a:avLst/>
          </a:prstGeom>
        </p:spPr>
        <p:txBody>
          <a:bodyPr/>
          <a:lstStyle/>
          <a:p>
            <a:endParaRPr lang="en-US"/>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Freeform 15">
            <a:extLst>
              <a:ext uri="{FF2B5EF4-FFF2-40B4-BE49-F238E27FC236}">
                <a16:creationId xmlns:a16="http://schemas.microsoft.com/office/drawing/2014/main" id="{F9303D9F-578B-3E4E-BD1F-867F08DAF06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DB155A6D-32A4-4EAC-8DA1-95A3BFAFD0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0" name="Title 3">
            <a:extLst>
              <a:ext uri="{FF2B5EF4-FFF2-40B4-BE49-F238E27FC236}">
                <a16:creationId xmlns:a16="http://schemas.microsoft.com/office/drawing/2014/main" id="{D8DC090E-10F8-48D5-B424-537AAADC72F8}"/>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1" name="Text Placeholder 2">
            <a:extLst>
              <a:ext uri="{FF2B5EF4-FFF2-40B4-BE49-F238E27FC236}">
                <a16:creationId xmlns:a16="http://schemas.microsoft.com/office/drawing/2014/main" id="{42991481-A0DB-40CF-AA60-916A4CC96B57}"/>
              </a:ext>
            </a:extLst>
          </p:cNvPr>
          <p:cNvSpPr>
            <a:spLocks noGrp="1"/>
          </p:cNvSpPr>
          <p:nvPr>
            <p:ph type="body" sz="quarter" idx="21"/>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031261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73191" y="2390338"/>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00644" y="2021370"/>
            <a:ext cx="7271959" cy="846522"/>
          </a:xfrm>
          <a:prstGeom prst="rect">
            <a:avLst/>
          </a:prstGeom>
        </p:spPr>
        <p:txBody>
          <a:bodyPr anchor="t" anchorCtr="0">
            <a:noAutofit/>
          </a:bodyPr>
          <a:lstStyle>
            <a:lvl1pPr>
              <a:lnSpc>
                <a:spcPct val="100000"/>
              </a:lnSpc>
              <a:defRPr sz="56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9" name="Picture 8" descr="A picture containing text, clipart&#10;&#10;Description automatically generated">
            <a:extLst>
              <a:ext uri="{FF2B5EF4-FFF2-40B4-BE49-F238E27FC236}">
                <a16:creationId xmlns:a16="http://schemas.microsoft.com/office/drawing/2014/main" id="{6889E78B-DBAF-4A4E-B27F-605A4412A7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53517552"/>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81038" y="365129"/>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Tree>
    <p:extLst>
      <p:ext uri="{BB962C8B-B14F-4D97-AF65-F5344CB8AC3E}">
        <p14:creationId xmlns:p14="http://schemas.microsoft.com/office/powerpoint/2010/main" val="1615898890"/>
      </p:ext>
    </p:extLst>
  </p:cSld>
  <p:clrMap bg1="lt1" tx1="dk1" bg2="lt2" tx2="dk2" accent1="accent1" accent2="accent2" accent3="accent3" accent4="accent4" accent5="accent5" accent6="accent6" hlink="hlink" folHlink="folHlink"/>
  <p:sldLayoutIdLst>
    <p:sldLayoutId id="2147483649" r:id="rId1"/>
    <p:sldLayoutId id="2147483714" r:id="rId2"/>
    <p:sldLayoutId id="2147483703" r:id="rId3"/>
    <p:sldLayoutId id="2147483741" r:id="rId4"/>
    <p:sldLayoutId id="2147483683" r:id="rId5"/>
    <p:sldLayoutId id="2147483762" r:id="rId6"/>
    <p:sldLayoutId id="2147483745" r:id="rId7"/>
    <p:sldLayoutId id="2147483721" r:id="rId8"/>
    <p:sldLayoutId id="2147483704" r:id="rId9"/>
    <p:sldLayoutId id="2147483737" r:id="rId10"/>
    <p:sldLayoutId id="2147483763" r:id="rId11"/>
    <p:sldLayoutId id="2147483746" r:id="rId12"/>
    <p:sldLayoutId id="2147483740" r:id="rId13"/>
    <p:sldLayoutId id="2147483709" r:id="rId14"/>
    <p:sldLayoutId id="2147483748" r:id="rId15"/>
    <p:sldLayoutId id="2147483749" r:id="rId16"/>
    <p:sldLayoutId id="2147483750" r:id="rId17"/>
    <p:sldLayoutId id="2147483738" r:id="rId18"/>
    <p:sldLayoutId id="2147483759" r:id="rId19"/>
    <p:sldLayoutId id="2147483760" r:id="rId20"/>
    <p:sldLayoutId id="2147483707" r:id="rId21"/>
    <p:sldLayoutId id="2147483695" r:id="rId22"/>
    <p:sldLayoutId id="2147483716" r:id="rId23"/>
    <p:sldLayoutId id="2147483736" r:id="rId24"/>
    <p:sldLayoutId id="2147483761" r:id="rId25"/>
    <p:sldLayoutId id="2147483758" r:id="rId26"/>
    <p:sldLayoutId id="2147483752" r:id="rId27"/>
    <p:sldLayoutId id="2147483753" r:id="rId28"/>
    <p:sldLayoutId id="2147483754" r:id="rId29"/>
    <p:sldLayoutId id="2147483755" r:id="rId30"/>
    <p:sldLayoutId id="2147483764" r:id="rId31"/>
    <p:sldLayoutId id="2147483765" r:id="rId32"/>
  </p:sldLayoutIdLst>
  <p:hf hdr="0" ftr="0" dt="0"/>
  <p:txStyles>
    <p:titleStyle>
      <a:lvl1pPr algn="l" defTabSz="914354" rtl="0" eaLnBrk="1" latinLnBrk="0" hangingPunct="1">
        <a:lnSpc>
          <a:spcPct val="113000"/>
        </a:lnSpc>
        <a:spcBef>
          <a:spcPct val="0"/>
        </a:spcBef>
        <a:buNone/>
        <a:defRPr sz="2000" kern="2400" spc="-60" baseline="0">
          <a:solidFill>
            <a:schemeClr val="tx2"/>
          </a:solidFill>
          <a:latin typeface="+mj-lt"/>
          <a:ea typeface="+mj-ea"/>
          <a:cs typeface="+mj-cs"/>
        </a:defRPr>
      </a:lvl1pPr>
    </p:titleStyle>
    <p:body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429" userDrawn="1">
          <p15:clr>
            <a:srgbClr val="F26B43"/>
          </p15:clr>
        </p15:guide>
        <p15:guide id="3" pos="5811" userDrawn="1">
          <p15:clr>
            <a:srgbClr val="F26B43"/>
          </p15:clr>
        </p15:guide>
        <p15:guide id="4" orient="horz" pos="792" userDrawn="1">
          <p15:clr>
            <a:srgbClr val="F26B43"/>
          </p15:clr>
        </p15:guide>
        <p15:guide id="5" orient="horz" pos="432" userDrawn="1">
          <p15:clr>
            <a:srgbClr val="F26B43"/>
          </p15:clr>
        </p15:guide>
        <p15:guide id="6" orient="horz" pos="600" userDrawn="1">
          <p15:clr>
            <a:srgbClr val="F26B43"/>
          </p15:clr>
        </p15:guide>
        <p15:guide id="7" orient="horz" pos="4224" userDrawn="1">
          <p15:clr>
            <a:srgbClr val="F26B43"/>
          </p15:clr>
        </p15:guide>
        <p15:guide id="8" orient="horz" pos="4176" userDrawn="1">
          <p15:clr>
            <a:srgbClr val="F26B43"/>
          </p15:clr>
        </p15:guide>
        <p15:guide id="9" pos="3003" userDrawn="1">
          <p15:clr>
            <a:srgbClr val="F26B43"/>
          </p15:clr>
        </p15:guide>
        <p15:guide id="10" pos="3237" userDrawn="1">
          <p15:clr>
            <a:srgbClr val="F26B43"/>
          </p15:clr>
        </p15:guide>
        <p15:guide id="11" orient="horz" pos="2784" userDrawn="1">
          <p15:clr>
            <a:srgbClr val="F26B43"/>
          </p15:clr>
        </p15:guide>
        <p15:guide id="12" orient="horz" pos="1704" userDrawn="1">
          <p15:clr>
            <a:srgbClr val="F26B43"/>
          </p15:clr>
        </p15:guide>
        <p15:guide id="13" pos="1755" userDrawn="1">
          <p15:clr>
            <a:srgbClr val="F26B43"/>
          </p15:clr>
        </p15:guide>
        <p15:guide id="14" pos="4446" userDrawn="1">
          <p15:clr>
            <a:srgbClr val="F26B43"/>
          </p15:clr>
        </p15:guide>
        <p15:guide id="15" pos="3120" userDrawn="1">
          <p15:clr>
            <a:srgbClr val="F26B43"/>
          </p15:clr>
        </p15:guide>
        <p15:guide id="16" pos="1092" userDrawn="1">
          <p15:clr>
            <a:srgbClr val="F26B43"/>
          </p15:clr>
        </p15:guide>
        <p15:guide id="17" pos="2457" userDrawn="1">
          <p15:clr>
            <a:srgbClr val="F26B43"/>
          </p15:clr>
        </p15:guide>
        <p15:guide id="18" pos="3783" userDrawn="1">
          <p15:clr>
            <a:srgbClr val="F26B43"/>
          </p15:clr>
        </p15:guide>
        <p15:guide id="19" pos="5148" userDrawn="1">
          <p15:clr>
            <a:srgbClr val="F26B43"/>
          </p15:clr>
        </p15:guide>
        <p15:guide id="20"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31.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12.xml"/><Relationship Id="rId5" Type="http://schemas.openxmlformats.org/officeDocument/2006/relationships/image" Target="../media/image8.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3.emf"/></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5.emf"/><Relationship Id="rId5" Type="http://schemas.openxmlformats.org/officeDocument/2006/relationships/package" Target="../embeddings/Microsoft_Excel_Worksheet4.xlsx"/><Relationship Id="rId4" Type="http://schemas.openxmlformats.org/officeDocument/2006/relationships/image" Target="../media/image24.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hyperlink" Target="https://vimeo.com/756739790/e4b05f99ab"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mailto:Jimmy.Saunders@kroll.com" TargetMode="External"/><Relationship Id="rId1" Type="http://schemas.openxmlformats.org/officeDocument/2006/relationships/slideLayout" Target="../slideLayouts/slideLayout24.xml"/><Relationship Id="rId5" Type="http://schemas.openxmlformats.org/officeDocument/2006/relationships/image" Target="../media/image29.jpeg"/><Relationship Id="rId4" Type="http://schemas.openxmlformats.org/officeDocument/2006/relationships/image" Target="../media/image28.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11.sv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4.xml"/><Relationship Id="rId5" Type="http://schemas.openxmlformats.org/officeDocument/2006/relationships/slideLayout" Target="../slideLayouts/slideLayout7.xml"/><Relationship Id="rId4" Type="http://schemas.openxmlformats.org/officeDocument/2006/relationships/tags" Target="../tags/tag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6.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31.xml"/><Relationship Id="rId1" Type="http://schemas.openxmlformats.org/officeDocument/2006/relationships/tags" Target="../tags/tag9.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8.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3.bin"/><Relationship Id="rId9" Type="http://schemas.openxmlformats.org/officeDocument/2006/relationships/image" Target="../media/image16.svg"/><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3BC3F5-776D-4943-90E0-DF56908886DE}"/>
              </a:ext>
            </a:extLst>
          </p:cNvPr>
          <p:cNvSpPr>
            <a:spLocks noGrp="1"/>
          </p:cNvSpPr>
          <p:nvPr>
            <p:ph type="title"/>
          </p:nvPr>
        </p:nvSpPr>
        <p:spPr>
          <a:xfrm>
            <a:off x="565261" y="2066925"/>
            <a:ext cx="8748604" cy="760063"/>
          </a:xfrm>
        </p:spPr>
        <p:txBody>
          <a:bodyPr/>
          <a:lstStyle/>
          <a:p>
            <a:r>
              <a:rPr lang="en-GB" sz="4000"/>
              <a:t>UK Restructuring Update</a:t>
            </a:r>
            <a:endParaRPr lang="en-US" sz="4000"/>
          </a:p>
        </p:txBody>
      </p:sp>
      <p:sp>
        <p:nvSpPr>
          <p:cNvPr id="4" name="Text Placeholder 3">
            <a:extLst>
              <a:ext uri="{FF2B5EF4-FFF2-40B4-BE49-F238E27FC236}">
                <a16:creationId xmlns:a16="http://schemas.microsoft.com/office/drawing/2014/main" id="{A870717F-E551-CC42-8B87-AE3F197E83C1}"/>
              </a:ext>
            </a:extLst>
          </p:cNvPr>
          <p:cNvSpPr>
            <a:spLocks noGrp="1"/>
          </p:cNvSpPr>
          <p:nvPr>
            <p:ph type="body" sz="quarter" idx="10"/>
          </p:nvPr>
        </p:nvSpPr>
        <p:spPr>
          <a:xfrm>
            <a:off x="565261" y="2787301"/>
            <a:ext cx="7050286" cy="682625"/>
          </a:xfrm>
        </p:spPr>
        <p:txBody>
          <a:bodyPr anchor="t" anchorCtr="0"/>
          <a:lstStyle/>
          <a:p>
            <a:r>
              <a:rPr lang="en-US">
                <a:solidFill>
                  <a:schemeClr val="accent1"/>
                </a:solidFill>
              </a:rPr>
              <a:t>Overview</a:t>
            </a:r>
          </a:p>
        </p:txBody>
      </p:sp>
      <p:sp>
        <p:nvSpPr>
          <p:cNvPr id="8" name="Subtitle 7">
            <a:extLst>
              <a:ext uri="{FF2B5EF4-FFF2-40B4-BE49-F238E27FC236}">
                <a16:creationId xmlns:a16="http://schemas.microsoft.com/office/drawing/2014/main" id="{9196346C-429D-1D43-AC88-9B2F37BD151B}"/>
              </a:ext>
            </a:extLst>
          </p:cNvPr>
          <p:cNvSpPr>
            <a:spLocks noGrp="1"/>
          </p:cNvSpPr>
          <p:nvPr>
            <p:ph type="body" sz="quarter" idx="12"/>
          </p:nvPr>
        </p:nvSpPr>
        <p:spPr>
          <a:xfrm>
            <a:off x="565261" y="4791232"/>
            <a:ext cx="2489372" cy="290715"/>
          </a:xfrm>
          <a:prstGeom prst="rect">
            <a:avLst/>
          </a:prstGeom>
        </p:spPr>
        <p:txBody>
          <a:bodyPr/>
          <a:lstStyle/>
          <a:p>
            <a:r>
              <a:rPr lang="en-US" dirty="0"/>
              <a:t>October 2022</a:t>
            </a:r>
          </a:p>
        </p:txBody>
      </p:sp>
      <p:sp>
        <p:nvSpPr>
          <p:cNvPr id="5" name="Subtitle 7">
            <a:extLst>
              <a:ext uri="{FF2B5EF4-FFF2-40B4-BE49-F238E27FC236}">
                <a16:creationId xmlns:a16="http://schemas.microsoft.com/office/drawing/2014/main" id="{E86E6E34-6207-47D9-AF9C-A022ACEF7A69}"/>
              </a:ext>
            </a:extLst>
          </p:cNvPr>
          <p:cNvSpPr txBox="1">
            <a:spLocks/>
          </p:cNvSpPr>
          <p:nvPr/>
        </p:nvSpPr>
        <p:spPr>
          <a:xfrm>
            <a:off x="565261" y="4044944"/>
            <a:ext cx="2907282" cy="29071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600" kern="1200" baseline="0">
                <a:solidFill>
                  <a:schemeClr val="accent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14487F"/>
                </a:solidFill>
              </a:rPr>
              <a:t>David Fleming, Mike Parsons and Sushil Patel</a:t>
            </a:r>
          </a:p>
        </p:txBody>
      </p:sp>
      <p:pic>
        <p:nvPicPr>
          <p:cNvPr id="7" name="Picture 6">
            <a:extLst>
              <a:ext uri="{FF2B5EF4-FFF2-40B4-BE49-F238E27FC236}">
                <a16:creationId xmlns:a16="http://schemas.microsoft.com/office/drawing/2014/main" id="{41737700-AF94-4817-99CB-A6A0E0807813}"/>
              </a:ext>
            </a:extLst>
          </p:cNvPr>
          <p:cNvPicPr>
            <a:picLocks noChangeAspect="1"/>
          </p:cNvPicPr>
          <p:nvPr/>
        </p:nvPicPr>
        <p:blipFill>
          <a:blip r:embed="rId3"/>
          <a:stretch>
            <a:fillRect/>
          </a:stretch>
        </p:blipFill>
        <p:spPr>
          <a:xfrm>
            <a:off x="6970224" y="5535038"/>
            <a:ext cx="2784679" cy="1090665"/>
          </a:xfrm>
          <a:prstGeom prst="rect">
            <a:avLst/>
          </a:prstGeom>
        </p:spPr>
      </p:pic>
    </p:spTree>
    <p:extLst>
      <p:ext uri="{BB962C8B-B14F-4D97-AF65-F5344CB8AC3E}">
        <p14:creationId xmlns:p14="http://schemas.microsoft.com/office/powerpoint/2010/main" val="4250867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Chart 40">
            <a:extLst>
              <a:ext uri="{FF2B5EF4-FFF2-40B4-BE49-F238E27FC236}">
                <a16:creationId xmlns:a16="http://schemas.microsoft.com/office/drawing/2014/main" id="{9655D0A5-6E4D-41B2-BCDF-719D160FD1EE}"/>
              </a:ext>
            </a:extLst>
          </p:cNvPr>
          <p:cNvGraphicFramePr>
            <a:graphicFrameLocks/>
          </p:cNvGraphicFramePr>
          <p:nvPr>
            <p:extLst>
              <p:ext uri="{D42A27DB-BD31-4B8C-83A1-F6EECF244321}">
                <p14:modId xmlns:p14="http://schemas.microsoft.com/office/powerpoint/2010/main" val="2841722758"/>
              </p:ext>
            </p:extLst>
          </p:nvPr>
        </p:nvGraphicFramePr>
        <p:xfrm>
          <a:off x="320267" y="2132766"/>
          <a:ext cx="9337954" cy="3426706"/>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08DC6A1D-0B5C-40F4-9C0B-27097F8EEA71}"/>
              </a:ext>
            </a:extLst>
          </p:cNvPr>
          <p:cNvSpPr>
            <a:spLocks noGrp="1"/>
          </p:cNvSpPr>
          <p:nvPr>
            <p:ph type="sldNum" sz="quarter" idx="12"/>
          </p:nvPr>
        </p:nvSpPr>
        <p:spPr/>
        <p:txBody>
          <a:bodyPr/>
          <a:lstStyle/>
          <a:p>
            <a:fld id="{CB7FE98A-78B1-495F-8A5C-53E48422F91F}" type="slidenum">
              <a:rPr lang="en-US" smtClean="0"/>
              <a:pPr/>
              <a:t>10</a:t>
            </a:fld>
            <a:endParaRPr lang="en-US"/>
          </a:p>
        </p:txBody>
      </p:sp>
      <p:sp>
        <p:nvSpPr>
          <p:cNvPr id="3" name="Text Placeholder 2">
            <a:extLst>
              <a:ext uri="{FF2B5EF4-FFF2-40B4-BE49-F238E27FC236}">
                <a16:creationId xmlns:a16="http://schemas.microsoft.com/office/drawing/2014/main" id="{F214E867-DB48-4AE3-8488-1F36E166DA41}"/>
              </a:ext>
            </a:extLst>
          </p:cNvPr>
          <p:cNvSpPr>
            <a:spLocks noGrp="1"/>
          </p:cNvSpPr>
          <p:nvPr>
            <p:ph type="body" sz="quarter" idx="13"/>
          </p:nvPr>
        </p:nvSpPr>
        <p:spPr>
          <a:xfrm>
            <a:off x="320267" y="1226692"/>
            <a:ext cx="8823729" cy="608517"/>
          </a:xfrm>
        </p:spPr>
        <p:txBody>
          <a:bodyPr/>
          <a:lstStyle/>
          <a:p>
            <a:r>
              <a:rPr lang="en-US" dirty="0"/>
              <a:t>In line with the phasing out of Government support measures, the number of CVL’s has increased significantly since mid 2021 and are now 65% higher than pre-COVID levels  </a:t>
            </a:r>
          </a:p>
        </p:txBody>
      </p:sp>
      <p:sp>
        <p:nvSpPr>
          <p:cNvPr id="4" name="Title 3">
            <a:extLst>
              <a:ext uri="{FF2B5EF4-FFF2-40B4-BE49-F238E27FC236}">
                <a16:creationId xmlns:a16="http://schemas.microsoft.com/office/drawing/2014/main" id="{8B45D434-4EDA-4EAB-A7C8-B695D3FD78FB}"/>
              </a:ext>
            </a:extLst>
          </p:cNvPr>
          <p:cNvSpPr>
            <a:spLocks noGrp="1"/>
          </p:cNvSpPr>
          <p:nvPr>
            <p:ph type="title"/>
          </p:nvPr>
        </p:nvSpPr>
        <p:spPr>
          <a:xfrm>
            <a:off x="321747" y="376501"/>
            <a:ext cx="7172164" cy="712997"/>
          </a:xfrm>
        </p:spPr>
        <p:txBody>
          <a:bodyPr/>
          <a:lstStyle/>
          <a:p>
            <a:r>
              <a:rPr lang="en-GB" sz="2200" dirty="0"/>
              <a:t>MARKET UPDATE AND HISTORIC UK CREDITORS’ VOLUNTARY LIQUIDATIONS (CVLs)</a:t>
            </a:r>
            <a:endParaRPr lang="en-US" sz="2200" dirty="0"/>
          </a:p>
        </p:txBody>
      </p:sp>
      <p:sp>
        <p:nvSpPr>
          <p:cNvPr id="22" name="TextBox 1">
            <a:extLst>
              <a:ext uri="{FF2B5EF4-FFF2-40B4-BE49-F238E27FC236}">
                <a16:creationId xmlns:a16="http://schemas.microsoft.com/office/drawing/2014/main" id="{C9C6849F-6BC7-4B07-9670-E1BA915B5609}"/>
              </a:ext>
            </a:extLst>
          </p:cNvPr>
          <p:cNvSpPr txBox="1"/>
          <p:nvPr/>
        </p:nvSpPr>
        <p:spPr>
          <a:xfrm>
            <a:off x="3355906" y="1858183"/>
            <a:ext cx="489187" cy="19851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10000"/>
              </a:lnSpc>
              <a:spcBef>
                <a:spcPts val="300"/>
              </a:spcBef>
              <a:spcAft>
                <a:spcPts val="300"/>
              </a:spcAft>
              <a:buClrTx/>
              <a:buSzTx/>
              <a:buFontTx/>
              <a:buNone/>
              <a:tabLst/>
              <a:defRPr/>
            </a:pPr>
            <a:r>
              <a:rPr kumimoji="0" lang="en-GB" sz="1200" b="1" i="0" u="none" strike="noStrike" kern="0" cap="none" spc="0" normalizeH="0" baseline="0" noProof="0" dirty="0">
                <a:ln>
                  <a:noFill/>
                </a:ln>
                <a:solidFill>
                  <a:srgbClr val="43B049"/>
                </a:solidFill>
                <a:effectLst/>
                <a:uLnTx/>
                <a:uFillTx/>
                <a:ea typeface="MS PGothic"/>
                <a:cs typeface="+mn-cs"/>
              </a:rPr>
              <a:t>FY21</a:t>
            </a:r>
            <a:endParaRPr kumimoji="0" lang="en-GB" sz="1000" b="1" i="0" u="none" strike="noStrike" kern="0" cap="none" spc="0" normalizeH="0" baseline="0" noProof="0" dirty="0">
              <a:ln>
                <a:noFill/>
              </a:ln>
              <a:solidFill>
                <a:srgbClr val="43B049"/>
              </a:solidFill>
              <a:effectLst/>
              <a:uLnTx/>
              <a:uFillTx/>
              <a:ea typeface="MS PGothic"/>
              <a:cs typeface="+mn-cs"/>
            </a:endParaRPr>
          </a:p>
        </p:txBody>
      </p:sp>
      <p:sp>
        <p:nvSpPr>
          <p:cNvPr id="23" name="Arrow: Right 22">
            <a:extLst>
              <a:ext uri="{FF2B5EF4-FFF2-40B4-BE49-F238E27FC236}">
                <a16:creationId xmlns:a16="http://schemas.microsoft.com/office/drawing/2014/main" id="{29BDC0D0-9F65-4A27-8B70-E90A604769EF}"/>
              </a:ext>
            </a:extLst>
          </p:cNvPr>
          <p:cNvSpPr>
            <a:spLocks/>
          </p:cNvSpPr>
          <p:nvPr/>
        </p:nvSpPr>
        <p:spPr>
          <a:xfrm>
            <a:off x="906620" y="2023981"/>
            <a:ext cx="4908623" cy="205172"/>
          </a:xfrm>
          <a:prstGeom prst="rightArrow">
            <a:avLst/>
          </a:prstGeom>
          <a:solidFill>
            <a:srgbClr val="43B049"/>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a typeface="MS PGothic"/>
              <a:cs typeface="+mn-cs"/>
            </a:endParaRPr>
          </a:p>
        </p:txBody>
      </p:sp>
      <p:sp>
        <p:nvSpPr>
          <p:cNvPr id="26" name="TextBox 25">
            <a:extLst>
              <a:ext uri="{FF2B5EF4-FFF2-40B4-BE49-F238E27FC236}">
                <a16:creationId xmlns:a16="http://schemas.microsoft.com/office/drawing/2014/main" id="{E0F9A92D-8A58-4B18-8591-60AD93393ED1}"/>
              </a:ext>
            </a:extLst>
          </p:cNvPr>
          <p:cNvSpPr txBox="1"/>
          <p:nvPr/>
        </p:nvSpPr>
        <p:spPr>
          <a:xfrm>
            <a:off x="5245823" y="1826098"/>
            <a:ext cx="694440" cy="249812"/>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GB" sz="1600" dirty="0">
                <a:solidFill>
                  <a:srgbClr val="43B049"/>
                </a:solidFill>
                <a:latin typeface="Arial"/>
                <a:ea typeface="MS PGothic"/>
              </a:rPr>
              <a:t>33%</a:t>
            </a:r>
          </a:p>
        </p:txBody>
      </p:sp>
      <p:cxnSp>
        <p:nvCxnSpPr>
          <p:cNvPr id="31" name="Straight Arrow Connector 30">
            <a:extLst>
              <a:ext uri="{FF2B5EF4-FFF2-40B4-BE49-F238E27FC236}">
                <a16:creationId xmlns:a16="http://schemas.microsoft.com/office/drawing/2014/main" id="{8F8BDBCB-BBF5-41DC-83D4-EC887EA00C48}"/>
              </a:ext>
            </a:extLst>
          </p:cNvPr>
          <p:cNvCxnSpPr>
            <a:cxnSpLocks/>
          </p:cNvCxnSpPr>
          <p:nvPr/>
        </p:nvCxnSpPr>
        <p:spPr>
          <a:xfrm flipV="1">
            <a:off x="3343887" y="5500027"/>
            <a:ext cx="0" cy="505689"/>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7C4AB58-6695-492A-B5C3-8FFFD921F5B0}"/>
              </a:ext>
            </a:extLst>
          </p:cNvPr>
          <p:cNvSpPr txBox="1"/>
          <p:nvPr/>
        </p:nvSpPr>
        <p:spPr>
          <a:xfrm>
            <a:off x="2655206" y="5998750"/>
            <a:ext cx="849045" cy="334707"/>
          </a:xfrm>
          <a:prstGeom prst="rect">
            <a:avLst/>
          </a:prstGeom>
          <a:noFill/>
          <a:ln>
            <a:solidFill>
              <a:srgbClr val="14487F"/>
            </a:solidFill>
          </a:ln>
        </p:spPr>
        <p:txBody>
          <a:bodyPr wrap="square" lIns="0" tIns="0" rIns="0" bIns="0" rtlCol="0">
            <a:spAutoFit/>
          </a:bodyPr>
          <a:lstStyle/>
          <a:p>
            <a:pPr algn="ctr">
              <a:lnSpc>
                <a:spcPct val="110000"/>
              </a:lnSpc>
              <a:spcBef>
                <a:spcPts val="300"/>
              </a:spcBef>
              <a:spcAft>
                <a:spcPts val="300"/>
              </a:spcAft>
            </a:pPr>
            <a:r>
              <a:rPr lang="en-GB" sz="1000" dirty="0">
                <a:solidFill>
                  <a:srgbClr val="14487F"/>
                </a:solidFill>
              </a:rPr>
              <a:t>Furlough phased out</a:t>
            </a:r>
          </a:p>
        </p:txBody>
      </p:sp>
      <p:sp>
        <p:nvSpPr>
          <p:cNvPr id="33" name="TextBox 32">
            <a:extLst>
              <a:ext uri="{FF2B5EF4-FFF2-40B4-BE49-F238E27FC236}">
                <a16:creationId xmlns:a16="http://schemas.microsoft.com/office/drawing/2014/main" id="{32BF13B9-98BA-4E22-9BB2-5D5C5F3CA97D}"/>
              </a:ext>
            </a:extLst>
          </p:cNvPr>
          <p:cNvSpPr txBox="1"/>
          <p:nvPr/>
        </p:nvSpPr>
        <p:spPr>
          <a:xfrm>
            <a:off x="3772319" y="5998750"/>
            <a:ext cx="861047" cy="325410"/>
          </a:xfrm>
          <a:prstGeom prst="rect">
            <a:avLst/>
          </a:prstGeom>
          <a:noFill/>
          <a:ln>
            <a:solidFill>
              <a:srgbClr val="14487F"/>
            </a:solidFill>
          </a:ln>
        </p:spPr>
        <p:txBody>
          <a:bodyPr wrap="square" lIns="0" tIns="0" rIns="0" bIns="0" rtlCol="0">
            <a:spAutoFit/>
          </a:bodyPr>
          <a:lstStyle/>
          <a:p>
            <a:pPr algn="ctr">
              <a:lnSpc>
                <a:spcPct val="110000"/>
              </a:lnSpc>
              <a:spcBef>
                <a:spcPts val="300"/>
              </a:spcBef>
              <a:spcAft>
                <a:spcPts val="300"/>
              </a:spcAft>
            </a:pPr>
            <a:r>
              <a:rPr lang="en-GB" sz="1000" dirty="0">
                <a:solidFill>
                  <a:srgbClr val="14487F"/>
                </a:solidFill>
              </a:rPr>
              <a:t>Furlough </a:t>
            </a:r>
            <a:br>
              <a:rPr lang="en-GB" sz="1000" dirty="0">
                <a:solidFill>
                  <a:srgbClr val="14487F"/>
                </a:solidFill>
              </a:rPr>
            </a:br>
            <a:r>
              <a:rPr lang="en-GB" sz="1000" dirty="0">
                <a:solidFill>
                  <a:srgbClr val="14487F"/>
                </a:solidFill>
              </a:rPr>
              <a:t>Ends</a:t>
            </a:r>
          </a:p>
        </p:txBody>
      </p:sp>
      <p:cxnSp>
        <p:nvCxnSpPr>
          <p:cNvPr id="34" name="Straight Arrow Connector 33">
            <a:extLst>
              <a:ext uri="{FF2B5EF4-FFF2-40B4-BE49-F238E27FC236}">
                <a16:creationId xmlns:a16="http://schemas.microsoft.com/office/drawing/2014/main" id="{B645E1CA-14E0-4031-BD1A-13941F958559}"/>
              </a:ext>
            </a:extLst>
          </p:cNvPr>
          <p:cNvCxnSpPr>
            <a:cxnSpLocks/>
          </p:cNvCxnSpPr>
          <p:nvPr/>
        </p:nvCxnSpPr>
        <p:spPr>
          <a:xfrm flipV="1">
            <a:off x="4202843" y="5500027"/>
            <a:ext cx="0" cy="486427"/>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5" name="Arrow: Right 34">
            <a:extLst>
              <a:ext uri="{FF2B5EF4-FFF2-40B4-BE49-F238E27FC236}">
                <a16:creationId xmlns:a16="http://schemas.microsoft.com/office/drawing/2014/main" id="{FAAB4261-7CBF-44C8-B43C-88D8A2824F92}"/>
              </a:ext>
            </a:extLst>
          </p:cNvPr>
          <p:cNvSpPr>
            <a:spLocks/>
          </p:cNvSpPr>
          <p:nvPr/>
        </p:nvSpPr>
        <p:spPr>
          <a:xfrm>
            <a:off x="5911120" y="2026244"/>
            <a:ext cx="3476586" cy="189837"/>
          </a:xfrm>
          <a:prstGeom prst="rightArrow">
            <a:avLst/>
          </a:prstGeom>
          <a:solidFill>
            <a:srgbClr val="43B049"/>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a typeface="MS PGothic"/>
              <a:cs typeface="+mn-cs"/>
            </a:endParaRPr>
          </a:p>
        </p:txBody>
      </p:sp>
      <p:sp>
        <p:nvSpPr>
          <p:cNvPr id="36" name="TextBox 35">
            <a:extLst>
              <a:ext uri="{FF2B5EF4-FFF2-40B4-BE49-F238E27FC236}">
                <a16:creationId xmlns:a16="http://schemas.microsoft.com/office/drawing/2014/main" id="{43DF8DF1-21BB-46E7-869F-0600BC48F1B3}"/>
              </a:ext>
            </a:extLst>
          </p:cNvPr>
          <p:cNvSpPr txBox="1"/>
          <p:nvPr/>
        </p:nvSpPr>
        <p:spPr>
          <a:xfrm>
            <a:off x="8913943" y="1774145"/>
            <a:ext cx="460106" cy="249812"/>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GB" sz="1600" dirty="0">
                <a:solidFill>
                  <a:srgbClr val="43B049"/>
                </a:solidFill>
                <a:latin typeface="Arial"/>
                <a:ea typeface="MS PGothic"/>
              </a:rPr>
              <a:t>49%</a:t>
            </a:r>
          </a:p>
        </p:txBody>
      </p:sp>
      <p:sp>
        <p:nvSpPr>
          <p:cNvPr id="37" name="TextBox 1">
            <a:extLst>
              <a:ext uri="{FF2B5EF4-FFF2-40B4-BE49-F238E27FC236}">
                <a16:creationId xmlns:a16="http://schemas.microsoft.com/office/drawing/2014/main" id="{DC939899-63E8-46F2-A709-F5F36D96AA70}"/>
              </a:ext>
            </a:extLst>
          </p:cNvPr>
          <p:cNvSpPr txBox="1"/>
          <p:nvPr/>
        </p:nvSpPr>
        <p:spPr>
          <a:xfrm>
            <a:off x="7574601" y="1853169"/>
            <a:ext cx="489187" cy="19851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10000"/>
              </a:lnSpc>
              <a:spcBef>
                <a:spcPts val="300"/>
              </a:spcBef>
              <a:spcAft>
                <a:spcPts val="300"/>
              </a:spcAft>
              <a:buClrTx/>
              <a:buSzTx/>
              <a:buFontTx/>
              <a:buNone/>
              <a:tabLst/>
              <a:defRPr/>
            </a:pPr>
            <a:r>
              <a:rPr kumimoji="0" lang="en-GB" sz="1200" b="1" i="0" u="none" strike="noStrike" kern="0" cap="none" spc="0" normalizeH="0" baseline="0" noProof="0" dirty="0">
                <a:ln>
                  <a:noFill/>
                </a:ln>
                <a:solidFill>
                  <a:srgbClr val="43B049"/>
                </a:solidFill>
                <a:effectLst/>
                <a:uLnTx/>
                <a:uFillTx/>
                <a:ea typeface="MS PGothic"/>
                <a:cs typeface="+mn-cs"/>
              </a:rPr>
              <a:t>FY22</a:t>
            </a:r>
          </a:p>
        </p:txBody>
      </p:sp>
      <p:sp>
        <p:nvSpPr>
          <p:cNvPr id="38" name="TextBox 37">
            <a:extLst>
              <a:ext uri="{FF2B5EF4-FFF2-40B4-BE49-F238E27FC236}">
                <a16:creationId xmlns:a16="http://schemas.microsoft.com/office/drawing/2014/main" id="{568D6010-4A97-47A9-8C21-EDFEB487FEDA}"/>
              </a:ext>
            </a:extLst>
          </p:cNvPr>
          <p:cNvSpPr txBox="1"/>
          <p:nvPr/>
        </p:nvSpPr>
        <p:spPr>
          <a:xfrm>
            <a:off x="6367508" y="6005716"/>
            <a:ext cx="1290171" cy="503984"/>
          </a:xfrm>
          <a:prstGeom prst="rect">
            <a:avLst/>
          </a:prstGeom>
          <a:noFill/>
          <a:ln>
            <a:solidFill>
              <a:srgbClr val="14487F"/>
            </a:solidFill>
          </a:ln>
        </p:spPr>
        <p:txBody>
          <a:bodyPr wrap="square" lIns="0" tIns="0" rIns="0" bIns="0" rtlCol="0">
            <a:spAutoFit/>
          </a:bodyPr>
          <a:lstStyle/>
          <a:p>
            <a:pPr algn="ctr">
              <a:lnSpc>
                <a:spcPct val="110000"/>
              </a:lnSpc>
              <a:spcBef>
                <a:spcPts val="300"/>
              </a:spcBef>
              <a:spcAft>
                <a:spcPts val="300"/>
              </a:spcAft>
            </a:pPr>
            <a:r>
              <a:rPr lang="en-GB" sz="1000" dirty="0">
                <a:solidFill>
                  <a:srgbClr val="14487F"/>
                </a:solidFill>
              </a:rPr>
              <a:t>Winding Up Petition / Landlord Restrictions Lifted</a:t>
            </a:r>
          </a:p>
        </p:txBody>
      </p:sp>
      <p:cxnSp>
        <p:nvCxnSpPr>
          <p:cNvPr id="39" name="Straight Arrow Connector 38">
            <a:extLst>
              <a:ext uri="{FF2B5EF4-FFF2-40B4-BE49-F238E27FC236}">
                <a16:creationId xmlns:a16="http://schemas.microsoft.com/office/drawing/2014/main" id="{E8F19306-F529-4FF7-AB05-722ADCC4FF2E}"/>
              </a:ext>
            </a:extLst>
          </p:cNvPr>
          <p:cNvCxnSpPr>
            <a:cxnSpLocks/>
          </p:cNvCxnSpPr>
          <p:nvPr/>
        </p:nvCxnSpPr>
        <p:spPr>
          <a:xfrm flipV="1">
            <a:off x="7009441" y="5517002"/>
            <a:ext cx="0" cy="486427"/>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A718E3-107E-4493-ACEF-7E96911BE076}"/>
              </a:ext>
            </a:extLst>
          </p:cNvPr>
          <p:cNvCxnSpPr>
            <a:cxnSpLocks/>
          </p:cNvCxnSpPr>
          <p:nvPr/>
        </p:nvCxnSpPr>
        <p:spPr>
          <a:xfrm>
            <a:off x="7331654" y="2508801"/>
            <a:ext cx="0" cy="2760199"/>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64F9E0EA-8924-41D4-BD02-41C3629621AF}"/>
              </a:ext>
            </a:extLst>
          </p:cNvPr>
          <p:cNvCxnSpPr>
            <a:cxnSpLocks/>
          </p:cNvCxnSpPr>
          <p:nvPr/>
        </p:nvCxnSpPr>
        <p:spPr>
          <a:xfrm flipV="1">
            <a:off x="1025718" y="2822713"/>
            <a:ext cx="8277308" cy="1572936"/>
          </a:xfrm>
          <a:prstGeom prst="line">
            <a:avLst/>
          </a:prstGeom>
          <a:ln w="38100">
            <a:solidFill>
              <a:srgbClr val="FDC006"/>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6796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a:extLst>
              <a:ext uri="{FF2B5EF4-FFF2-40B4-BE49-F238E27FC236}">
                <a16:creationId xmlns:a16="http://schemas.microsoft.com/office/drawing/2014/main" id="{14499A7D-7303-4C3F-A792-F5A6D52AC05C}"/>
              </a:ext>
            </a:extLst>
          </p:cNvPr>
          <p:cNvGraphicFramePr>
            <a:graphicFrameLocks/>
          </p:cNvGraphicFramePr>
          <p:nvPr>
            <p:extLst>
              <p:ext uri="{D42A27DB-BD31-4B8C-83A1-F6EECF244321}">
                <p14:modId xmlns:p14="http://schemas.microsoft.com/office/powerpoint/2010/main" val="3311327973"/>
              </p:ext>
            </p:extLst>
          </p:nvPr>
        </p:nvGraphicFramePr>
        <p:xfrm>
          <a:off x="813816" y="1322916"/>
          <a:ext cx="8321039" cy="5416211"/>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01A83FA1-D215-4984-9532-EBE76B428DBB}"/>
              </a:ext>
            </a:extLst>
          </p:cNvPr>
          <p:cNvSpPr>
            <a:spLocks noGrp="1"/>
          </p:cNvSpPr>
          <p:nvPr>
            <p:ph type="sldNum" sz="quarter" idx="12"/>
          </p:nvPr>
        </p:nvSpPr>
        <p:spPr>
          <a:xfrm>
            <a:off x="9423176" y="6445101"/>
            <a:ext cx="335043" cy="174625"/>
          </a:xfrm>
        </p:spPr>
        <p:txBody>
          <a:bodyPr/>
          <a:lstStyle/>
          <a:p>
            <a:fld id="{52077610-26DF-472D-B24E-7EE9EE6D6E6A}" type="slidenum">
              <a:rPr lang="en-GB" smtClean="0"/>
              <a:pPr/>
              <a:t>11</a:t>
            </a:fld>
            <a:endParaRPr lang="en-GB"/>
          </a:p>
        </p:txBody>
      </p:sp>
      <p:sp>
        <p:nvSpPr>
          <p:cNvPr id="15" name="Text Placeholder 4">
            <a:extLst>
              <a:ext uri="{FF2B5EF4-FFF2-40B4-BE49-F238E27FC236}">
                <a16:creationId xmlns:a16="http://schemas.microsoft.com/office/drawing/2014/main" id="{90AC5793-0EB5-4F34-9080-EDB23B7123F4}"/>
              </a:ext>
            </a:extLst>
          </p:cNvPr>
          <p:cNvSpPr>
            <a:spLocks noGrp="1"/>
          </p:cNvSpPr>
          <p:nvPr>
            <p:ph type="body" sz="quarter" idx="13"/>
          </p:nvPr>
        </p:nvSpPr>
        <p:spPr>
          <a:xfrm>
            <a:off x="681039" y="816966"/>
            <a:ext cx="8544745" cy="274431"/>
          </a:xfrm>
        </p:spPr>
        <p:txBody>
          <a:bodyPr/>
          <a:lstStyle/>
          <a:p>
            <a:r>
              <a:rPr lang="en-US" sz="1600" dirty="0"/>
              <a:t>Sector focus: Total Number of Insolvencies Per Sector</a:t>
            </a:r>
          </a:p>
        </p:txBody>
      </p:sp>
      <p:sp>
        <p:nvSpPr>
          <p:cNvPr id="12" name="Title 2">
            <a:extLst>
              <a:ext uri="{FF2B5EF4-FFF2-40B4-BE49-F238E27FC236}">
                <a16:creationId xmlns:a16="http://schemas.microsoft.com/office/drawing/2014/main" id="{82F04117-B964-47D0-AF37-518CC39BDADD}"/>
              </a:ext>
            </a:extLst>
          </p:cNvPr>
          <p:cNvSpPr>
            <a:spLocks noGrp="1"/>
          </p:cNvSpPr>
          <p:nvPr>
            <p:ph type="title"/>
          </p:nvPr>
        </p:nvSpPr>
        <p:spPr>
          <a:xfrm>
            <a:off x="681039" y="442277"/>
            <a:ext cx="6958833" cy="373839"/>
          </a:xfrm>
        </p:spPr>
        <p:txBody>
          <a:bodyPr/>
          <a:lstStyle/>
          <a:p>
            <a:r>
              <a:rPr lang="en-GB" dirty="0"/>
              <a:t>SECTOR ANALYSIS – TOTAL INSOLVENCIES</a:t>
            </a:r>
            <a:endParaRPr lang="en-US" dirty="0"/>
          </a:p>
        </p:txBody>
      </p:sp>
      <p:sp>
        <p:nvSpPr>
          <p:cNvPr id="8" name="TextBox 9">
            <a:extLst>
              <a:ext uri="{FF2B5EF4-FFF2-40B4-BE49-F238E27FC236}">
                <a16:creationId xmlns:a16="http://schemas.microsoft.com/office/drawing/2014/main" id="{991033C5-AAA4-4E22-A0CB-AEE006E8705E}"/>
              </a:ext>
            </a:extLst>
          </p:cNvPr>
          <p:cNvSpPr txBox="1">
            <a:spLocks/>
          </p:cNvSpPr>
          <p:nvPr>
            <p:custDataLst>
              <p:tags r:id="rId1"/>
            </p:custDataLst>
          </p:nvPr>
        </p:nvSpPr>
        <p:spPr>
          <a:xfrm>
            <a:off x="560785" y="359388"/>
            <a:ext cx="8783241" cy="55853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938" b="1">
              <a:solidFill>
                <a:schemeClr val="accent1"/>
              </a:solidFill>
            </a:endParaRPr>
          </a:p>
        </p:txBody>
      </p:sp>
      <p:sp>
        <p:nvSpPr>
          <p:cNvPr id="3" name="TextBox 2">
            <a:extLst>
              <a:ext uri="{FF2B5EF4-FFF2-40B4-BE49-F238E27FC236}">
                <a16:creationId xmlns:a16="http://schemas.microsoft.com/office/drawing/2014/main" id="{22DCDA0A-FD82-40F2-8B46-C524CF583249}"/>
              </a:ext>
            </a:extLst>
          </p:cNvPr>
          <p:cNvSpPr txBox="1"/>
          <p:nvPr/>
        </p:nvSpPr>
        <p:spPr>
          <a:xfrm>
            <a:off x="3344433" y="6137142"/>
            <a:ext cx="600890" cy="261610"/>
          </a:xfrm>
          <a:prstGeom prst="rect">
            <a:avLst/>
          </a:prstGeom>
          <a:noFill/>
        </p:spPr>
        <p:txBody>
          <a:bodyPr wrap="square" rtlCol="0">
            <a:spAutoFit/>
          </a:bodyPr>
          <a:lstStyle/>
          <a:p>
            <a:r>
              <a:rPr lang="en-GB" sz="1100" b="1" dirty="0"/>
              <a:t>18%</a:t>
            </a:r>
          </a:p>
        </p:txBody>
      </p:sp>
      <p:sp>
        <p:nvSpPr>
          <p:cNvPr id="13" name="TextBox 12">
            <a:extLst>
              <a:ext uri="{FF2B5EF4-FFF2-40B4-BE49-F238E27FC236}">
                <a16:creationId xmlns:a16="http://schemas.microsoft.com/office/drawing/2014/main" id="{72CE8E7D-3FEC-46FF-A994-E5AA718FED52}"/>
              </a:ext>
            </a:extLst>
          </p:cNvPr>
          <p:cNvSpPr txBox="1"/>
          <p:nvPr/>
        </p:nvSpPr>
        <p:spPr>
          <a:xfrm>
            <a:off x="3358418" y="5165125"/>
            <a:ext cx="600890" cy="261610"/>
          </a:xfrm>
          <a:prstGeom prst="rect">
            <a:avLst/>
          </a:prstGeom>
          <a:noFill/>
        </p:spPr>
        <p:txBody>
          <a:bodyPr wrap="square" rtlCol="0">
            <a:spAutoFit/>
          </a:bodyPr>
          <a:lstStyle/>
          <a:p>
            <a:r>
              <a:rPr lang="en-GB" sz="1100" b="1" dirty="0"/>
              <a:t>12%</a:t>
            </a:r>
          </a:p>
        </p:txBody>
      </p:sp>
      <p:sp>
        <p:nvSpPr>
          <p:cNvPr id="14" name="TextBox 13">
            <a:extLst>
              <a:ext uri="{FF2B5EF4-FFF2-40B4-BE49-F238E27FC236}">
                <a16:creationId xmlns:a16="http://schemas.microsoft.com/office/drawing/2014/main" id="{189DD1AD-21DE-454D-A0CD-FBA20363BC89}"/>
              </a:ext>
            </a:extLst>
          </p:cNvPr>
          <p:cNvSpPr txBox="1"/>
          <p:nvPr/>
        </p:nvSpPr>
        <p:spPr>
          <a:xfrm>
            <a:off x="3418579" y="4394908"/>
            <a:ext cx="600890" cy="261610"/>
          </a:xfrm>
          <a:prstGeom prst="rect">
            <a:avLst/>
          </a:prstGeom>
          <a:noFill/>
        </p:spPr>
        <p:txBody>
          <a:bodyPr wrap="square" rtlCol="0">
            <a:spAutoFit/>
          </a:bodyPr>
          <a:lstStyle/>
          <a:p>
            <a:r>
              <a:rPr lang="en-GB" sz="1100" b="1" dirty="0"/>
              <a:t>7%</a:t>
            </a:r>
          </a:p>
        </p:txBody>
      </p:sp>
      <p:sp>
        <p:nvSpPr>
          <p:cNvPr id="16" name="TextBox 15">
            <a:extLst>
              <a:ext uri="{FF2B5EF4-FFF2-40B4-BE49-F238E27FC236}">
                <a16:creationId xmlns:a16="http://schemas.microsoft.com/office/drawing/2014/main" id="{82CA7A53-BFDE-47F4-96E8-7F1FB4D6CCD4}"/>
              </a:ext>
            </a:extLst>
          </p:cNvPr>
          <p:cNvSpPr txBox="1"/>
          <p:nvPr/>
        </p:nvSpPr>
        <p:spPr>
          <a:xfrm>
            <a:off x="3409085" y="4089784"/>
            <a:ext cx="600890" cy="261610"/>
          </a:xfrm>
          <a:prstGeom prst="rect">
            <a:avLst/>
          </a:prstGeom>
          <a:noFill/>
        </p:spPr>
        <p:txBody>
          <a:bodyPr wrap="square" rtlCol="0">
            <a:spAutoFit/>
          </a:bodyPr>
          <a:lstStyle/>
          <a:p>
            <a:r>
              <a:rPr lang="en-GB" sz="1100" b="1" dirty="0"/>
              <a:t>6%</a:t>
            </a:r>
          </a:p>
        </p:txBody>
      </p:sp>
      <p:sp>
        <p:nvSpPr>
          <p:cNvPr id="17" name="TextBox 16">
            <a:extLst>
              <a:ext uri="{FF2B5EF4-FFF2-40B4-BE49-F238E27FC236}">
                <a16:creationId xmlns:a16="http://schemas.microsoft.com/office/drawing/2014/main" id="{C51FA6DC-3DB9-49CC-9A84-D7518EA20340}"/>
              </a:ext>
            </a:extLst>
          </p:cNvPr>
          <p:cNvSpPr txBox="1"/>
          <p:nvPr/>
        </p:nvSpPr>
        <p:spPr>
          <a:xfrm>
            <a:off x="3344433" y="5547759"/>
            <a:ext cx="600890" cy="261610"/>
          </a:xfrm>
          <a:prstGeom prst="rect">
            <a:avLst/>
          </a:prstGeom>
          <a:noFill/>
        </p:spPr>
        <p:txBody>
          <a:bodyPr wrap="square" rtlCol="0">
            <a:spAutoFit/>
          </a:bodyPr>
          <a:lstStyle/>
          <a:p>
            <a:r>
              <a:rPr lang="en-GB" sz="1100" b="1" dirty="0"/>
              <a:t>12%</a:t>
            </a:r>
          </a:p>
        </p:txBody>
      </p:sp>
      <p:sp>
        <p:nvSpPr>
          <p:cNvPr id="18" name="TextBox 17">
            <a:extLst>
              <a:ext uri="{FF2B5EF4-FFF2-40B4-BE49-F238E27FC236}">
                <a16:creationId xmlns:a16="http://schemas.microsoft.com/office/drawing/2014/main" id="{0A3EAE45-40DB-4929-BD37-A57E79B15DAA}"/>
              </a:ext>
            </a:extLst>
          </p:cNvPr>
          <p:cNvSpPr txBox="1"/>
          <p:nvPr/>
        </p:nvSpPr>
        <p:spPr>
          <a:xfrm>
            <a:off x="3367293" y="4773271"/>
            <a:ext cx="600890" cy="261610"/>
          </a:xfrm>
          <a:prstGeom prst="rect">
            <a:avLst/>
          </a:prstGeom>
          <a:noFill/>
        </p:spPr>
        <p:txBody>
          <a:bodyPr wrap="square" rtlCol="0">
            <a:spAutoFit/>
          </a:bodyPr>
          <a:lstStyle/>
          <a:p>
            <a:r>
              <a:rPr lang="en-GB" sz="1100" b="1" dirty="0"/>
              <a:t>11%</a:t>
            </a:r>
          </a:p>
        </p:txBody>
      </p:sp>
      <p:sp>
        <p:nvSpPr>
          <p:cNvPr id="20" name="TextBox 19">
            <a:extLst>
              <a:ext uri="{FF2B5EF4-FFF2-40B4-BE49-F238E27FC236}">
                <a16:creationId xmlns:a16="http://schemas.microsoft.com/office/drawing/2014/main" id="{A4A4ABB4-50B8-47B0-B146-459AC658F7EC}"/>
              </a:ext>
            </a:extLst>
          </p:cNvPr>
          <p:cNvSpPr txBox="1"/>
          <p:nvPr/>
        </p:nvSpPr>
        <p:spPr>
          <a:xfrm>
            <a:off x="3409085" y="3592105"/>
            <a:ext cx="600890" cy="261610"/>
          </a:xfrm>
          <a:prstGeom prst="rect">
            <a:avLst/>
          </a:prstGeom>
          <a:noFill/>
        </p:spPr>
        <p:txBody>
          <a:bodyPr wrap="square" rtlCol="0">
            <a:spAutoFit/>
          </a:bodyPr>
          <a:lstStyle/>
          <a:p>
            <a:r>
              <a:rPr lang="en-GB" sz="1100" b="1" dirty="0"/>
              <a:t>21%</a:t>
            </a:r>
          </a:p>
        </p:txBody>
      </p:sp>
      <p:sp>
        <p:nvSpPr>
          <p:cNvPr id="21" name="TextBox 20">
            <a:extLst>
              <a:ext uri="{FF2B5EF4-FFF2-40B4-BE49-F238E27FC236}">
                <a16:creationId xmlns:a16="http://schemas.microsoft.com/office/drawing/2014/main" id="{3706393B-E8C1-4469-811A-39457EEF9D62}"/>
              </a:ext>
            </a:extLst>
          </p:cNvPr>
          <p:cNvSpPr txBox="1"/>
          <p:nvPr/>
        </p:nvSpPr>
        <p:spPr>
          <a:xfrm>
            <a:off x="5756174" y="5877230"/>
            <a:ext cx="600890" cy="261610"/>
          </a:xfrm>
          <a:prstGeom prst="rect">
            <a:avLst/>
          </a:prstGeom>
          <a:noFill/>
        </p:spPr>
        <p:txBody>
          <a:bodyPr wrap="square" rtlCol="0">
            <a:spAutoFit/>
          </a:bodyPr>
          <a:lstStyle/>
          <a:p>
            <a:r>
              <a:rPr lang="en-GB" sz="1100" b="1" dirty="0"/>
              <a:t>19%</a:t>
            </a:r>
          </a:p>
        </p:txBody>
      </p:sp>
      <p:sp>
        <p:nvSpPr>
          <p:cNvPr id="22" name="TextBox 21">
            <a:extLst>
              <a:ext uri="{FF2B5EF4-FFF2-40B4-BE49-F238E27FC236}">
                <a16:creationId xmlns:a16="http://schemas.microsoft.com/office/drawing/2014/main" id="{1CC6CCA6-9A86-44EB-B258-AEAE150FE414}"/>
              </a:ext>
            </a:extLst>
          </p:cNvPr>
          <p:cNvSpPr txBox="1"/>
          <p:nvPr/>
        </p:nvSpPr>
        <p:spPr>
          <a:xfrm>
            <a:off x="5743274" y="4402434"/>
            <a:ext cx="600890" cy="261610"/>
          </a:xfrm>
          <a:prstGeom prst="rect">
            <a:avLst/>
          </a:prstGeom>
          <a:noFill/>
        </p:spPr>
        <p:txBody>
          <a:bodyPr wrap="square" rtlCol="0">
            <a:spAutoFit/>
          </a:bodyPr>
          <a:lstStyle/>
          <a:p>
            <a:r>
              <a:rPr lang="en-GB" sz="1100" b="1" dirty="0"/>
              <a:t>12%</a:t>
            </a:r>
          </a:p>
        </p:txBody>
      </p:sp>
      <p:sp>
        <p:nvSpPr>
          <p:cNvPr id="23" name="TextBox 22">
            <a:extLst>
              <a:ext uri="{FF2B5EF4-FFF2-40B4-BE49-F238E27FC236}">
                <a16:creationId xmlns:a16="http://schemas.microsoft.com/office/drawing/2014/main" id="{1180003D-E3E9-42D9-8BE3-07BC171775D7}"/>
              </a:ext>
            </a:extLst>
          </p:cNvPr>
          <p:cNvSpPr txBox="1"/>
          <p:nvPr/>
        </p:nvSpPr>
        <p:spPr>
          <a:xfrm>
            <a:off x="5743274" y="3383851"/>
            <a:ext cx="600890" cy="261610"/>
          </a:xfrm>
          <a:prstGeom prst="rect">
            <a:avLst/>
          </a:prstGeom>
          <a:noFill/>
        </p:spPr>
        <p:txBody>
          <a:bodyPr wrap="square" rtlCol="0">
            <a:spAutoFit/>
          </a:bodyPr>
          <a:lstStyle/>
          <a:p>
            <a:r>
              <a:rPr lang="en-GB" sz="1100" b="1" dirty="0"/>
              <a:t>10%</a:t>
            </a:r>
          </a:p>
        </p:txBody>
      </p:sp>
      <p:sp>
        <p:nvSpPr>
          <p:cNvPr id="24" name="TextBox 23">
            <a:extLst>
              <a:ext uri="{FF2B5EF4-FFF2-40B4-BE49-F238E27FC236}">
                <a16:creationId xmlns:a16="http://schemas.microsoft.com/office/drawing/2014/main" id="{E4F7ADD2-CE35-474F-8009-398A174A0BB6}"/>
              </a:ext>
            </a:extLst>
          </p:cNvPr>
          <p:cNvSpPr txBox="1"/>
          <p:nvPr/>
        </p:nvSpPr>
        <p:spPr>
          <a:xfrm>
            <a:off x="5756174" y="2960778"/>
            <a:ext cx="600890" cy="261610"/>
          </a:xfrm>
          <a:prstGeom prst="rect">
            <a:avLst/>
          </a:prstGeom>
          <a:noFill/>
        </p:spPr>
        <p:txBody>
          <a:bodyPr wrap="square" rtlCol="0">
            <a:spAutoFit/>
          </a:bodyPr>
          <a:lstStyle/>
          <a:p>
            <a:r>
              <a:rPr lang="en-GB" sz="1100" b="1" dirty="0"/>
              <a:t>8%</a:t>
            </a:r>
          </a:p>
        </p:txBody>
      </p:sp>
      <p:sp>
        <p:nvSpPr>
          <p:cNvPr id="25" name="TextBox 24">
            <a:extLst>
              <a:ext uri="{FF2B5EF4-FFF2-40B4-BE49-F238E27FC236}">
                <a16:creationId xmlns:a16="http://schemas.microsoft.com/office/drawing/2014/main" id="{BC848665-894D-41A2-8A62-36F0C4B59260}"/>
              </a:ext>
            </a:extLst>
          </p:cNvPr>
          <p:cNvSpPr txBox="1"/>
          <p:nvPr/>
        </p:nvSpPr>
        <p:spPr>
          <a:xfrm>
            <a:off x="5743274" y="5001405"/>
            <a:ext cx="600890" cy="261610"/>
          </a:xfrm>
          <a:prstGeom prst="rect">
            <a:avLst/>
          </a:prstGeom>
          <a:noFill/>
        </p:spPr>
        <p:txBody>
          <a:bodyPr wrap="square" rtlCol="0">
            <a:spAutoFit/>
          </a:bodyPr>
          <a:lstStyle/>
          <a:p>
            <a:r>
              <a:rPr lang="en-GB" sz="1100" b="1" dirty="0"/>
              <a:t>14%</a:t>
            </a:r>
          </a:p>
        </p:txBody>
      </p:sp>
      <p:sp>
        <p:nvSpPr>
          <p:cNvPr id="26" name="TextBox 25">
            <a:extLst>
              <a:ext uri="{FF2B5EF4-FFF2-40B4-BE49-F238E27FC236}">
                <a16:creationId xmlns:a16="http://schemas.microsoft.com/office/drawing/2014/main" id="{8BA4846D-F3A3-4F79-BE87-8F2D02A3948F}"/>
              </a:ext>
            </a:extLst>
          </p:cNvPr>
          <p:cNvSpPr txBox="1"/>
          <p:nvPr/>
        </p:nvSpPr>
        <p:spPr>
          <a:xfrm>
            <a:off x="5743274" y="3830670"/>
            <a:ext cx="600890" cy="261610"/>
          </a:xfrm>
          <a:prstGeom prst="rect">
            <a:avLst/>
          </a:prstGeom>
          <a:noFill/>
        </p:spPr>
        <p:txBody>
          <a:bodyPr wrap="square" rtlCol="0">
            <a:spAutoFit/>
          </a:bodyPr>
          <a:lstStyle/>
          <a:p>
            <a:r>
              <a:rPr lang="en-GB" sz="1100" b="1" dirty="0"/>
              <a:t>10%</a:t>
            </a:r>
          </a:p>
        </p:txBody>
      </p:sp>
      <p:sp>
        <p:nvSpPr>
          <p:cNvPr id="31" name="TextBox 30">
            <a:extLst>
              <a:ext uri="{FF2B5EF4-FFF2-40B4-BE49-F238E27FC236}">
                <a16:creationId xmlns:a16="http://schemas.microsoft.com/office/drawing/2014/main" id="{3C7B62B3-4F74-49BF-815C-02A5EB06BE52}"/>
              </a:ext>
            </a:extLst>
          </p:cNvPr>
          <p:cNvSpPr txBox="1"/>
          <p:nvPr/>
        </p:nvSpPr>
        <p:spPr>
          <a:xfrm>
            <a:off x="5782230" y="2187029"/>
            <a:ext cx="600890" cy="261610"/>
          </a:xfrm>
          <a:prstGeom prst="rect">
            <a:avLst/>
          </a:prstGeom>
          <a:noFill/>
        </p:spPr>
        <p:txBody>
          <a:bodyPr wrap="square" rtlCol="0">
            <a:spAutoFit/>
          </a:bodyPr>
          <a:lstStyle/>
          <a:p>
            <a:r>
              <a:rPr lang="en-GB" sz="1100" b="1" dirty="0"/>
              <a:t>27%</a:t>
            </a:r>
          </a:p>
        </p:txBody>
      </p:sp>
      <p:sp>
        <p:nvSpPr>
          <p:cNvPr id="11" name="Right Brace 10">
            <a:extLst>
              <a:ext uri="{FF2B5EF4-FFF2-40B4-BE49-F238E27FC236}">
                <a16:creationId xmlns:a16="http://schemas.microsoft.com/office/drawing/2014/main" id="{CA82C2D0-E825-4425-861C-1A573B899F87}"/>
              </a:ext>
            </a:extLst>
          </p:cNvPr>
          <p:cNvSpPr/>
          <p:nvPr/>
        </p:nvSpPr>
        <p:spPr>
          <a:xfrm>
            <a:off x="3780476" y="4156776"/>
            <a:ext cx="182949" cy="2141392"/>
          </a:xfrm>
          <a:prstGeom prst="rightBrace">
            <a:avLst/>
          </a:prstGeom>
          <a:ln>
            <a:solidFill>
              <a:srgbClr val="4555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3" name="TextBox 32">
            <a:extLst>
              <a:ext uri="{FF2B5EF4-FFF2-40B4-BE49-F238E27FC236}">
                <a16:creationId xmlns:a16="http://schemas.microsoft.com/office/drawing/2014/main" id="{C67F4834-45F6-4FCB-8D67-F4C0971BC205}"/>
              </a:ext>
            </a:extLst>
          </p:cNvPr>
          <p:cNvSpPr txBox="1"/>
          <p:nvPr/>
        </p:nvSpPr>
        <p:spPr>
          <a:xfrm>
            <a:off x="3952258" y="5096667"/>
            <a:ext cx="600890" cy="261610"/>
          </a:xfrm>
          <a:prstGeom prst="rect">
            <a:avLst/>
          </a:prstGeom>
          <a:noFill/>
        </p:spPr>
        <p:txBody>
          <a:bodyPr wrap="square" rtlCol="0">
            <a:spAutoFit/>
          </a:bodyPr>
          <a:lstStyle/>
          <a:p>
            <a:r>
              <a:rPr lang="en-GB" sz="1100" b="1" dirty="0"/>
              <a:t>72%</a:t>
            </a:r>
          </a:p>
        </p:txBody>
      </p:sp>
      <p:sp>
        <p:nvSpPr>
          <p:cNvPr id="34" name="Right Brace 33">
            <a:extLst>
              <a:ext uri="{FF2B5EF4-FFF2-40B4-BE49-F238E27FC236}">
                <a16:creationId xmlns:a16="http://schemas.microsoft.com/office/drawing/2014/main" id="{79BF7BD4-88BF-411C-A3A7-1AD8EFB5CE25}"/>
              </a:ext>
            </a:extLst>
          </p:cNvPr>
          <p:cNvSpPr/>
          <p:nvPr/>
        </p:nvSpPr>
        <p:spPr>
          <a:xfrm>
            <a:off x="6082675" y="2856499"/>
            <a:ext cx="182949" cy="3441669"/>
          </a:xfrm>
          <a:prstGeom prst="rightBrace">
            <a:avLst>
              <a:gd name="adj1" fmla="val 0"/>
              <a:gd name="adj2" fmla="val 50000"/>
            </a:avLst>
          </a:prstGeom>
          <a:ln>
            <a:solidFill>
              <a:srgbClr val="4555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TextBox 34">
            <a:extLst>
              <a:ext uri="{FF2B5EF4-FFF2-40B4-BE49-F238E27FC236}">
                <a16:creationId xmlns:a16="http://schemas.microsoft.com/office/drawing/2014/main" id="{2AD4F7DA-DECA-44CC-ACE5-24477C77634A}"/>
              </a:ext>
            </a:extLst>
          </p:cNvPr>
          <p:cNvSpPr txBox="1"/>
          <p:nvPr/>
        </p:nvSpPr>
        <p:spPr>
          <a:xfrm>
            <a:off x="6251523" y="4508276"/>
            <a:ext cx="600890" cy="261610"/>
          </a:xfrm>
          <a:prstGeom prst="rect">
            <a:avLst/>
          </a:prstGeom>
          <a:noFill/>
        </p:spPr>
        <p:txBody>
          <a:bodyPr wrap="square" rtlCol="0">
            <a:spAutoFit/>
          </a:bodyPr>
          <a:lstStyle/>
          <a:p>
            <a:r>
              <a:rPr lang="en-GB" sz="1100" b="1" dirty="0"/>
              <a:t>73%</a:t>
            </a:r>
          </a:p>
        </p:txBody>
      </p:sp>
    </p:spTree>
    <p:extLst>
      <p:ext uri="{BB962C8B-B14F-4D97-AF65-F5344CB8AC3E}">
        <p14:creationId xmlns:p14="http://schemas.microsoft.com/office/powerpoint/2010/main" val="209998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565079" y="2021370"/>
            <a:ext cx="8640566" cy="846523"/>
          </a:xfrm>
        </p:spPr>
        <p:txBody>
          <a:bodyPr/>
          <a:lstStyle/>
          <a:p>
            <a:r>
              <a:rPr lang="en-US" dirty="0"/>
              <a:t>03. HMRC Update</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prstGeom prst="rect">
            <a:avLst/>
          </a:prstGeom>
        </p:spPr>
        <p:txBody>
          <a:bodyPr/>
          <a:lstStyle/>
          <a:p>
            <a:fld id="{CB7FE98A-78B1-495F-8A5C-53E48422F91F}" type="slidenum">
              <a:rPr lang="en-US" smtClean="0"/>
              <a:pPr/>
              <a:t>12</a:t>
            </a:fld>
            <a:endParaRPr lang="en-US"/>
          </a:p>
        </p:txBody>
      </p:sp>
    </p:spTree>
    <p:extLst>
      <p:ext uri="{BB962C8B-B14F-4D97-AF65-F5344CB8AC3E}">
        <p14:creationId xmlns:p14="http://schemas.microsoft.com/office/powerpoint/2010/main" val="2748471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D10FD884-AFD3-4A37-A3EC-9114B59404A6}"/>
              </a:ext>
            </a:extLst>
          </p:cNvPr>
          <p:cNvCxnSpPr>
            <a:cxnSpLocks/>
          </p:cNvCxnSpPr>
          <p:nvPr/>
        </p:nvCxnSpPr>
        <p:spPr>
          <a:xfrm flipV="1">
            <a:off x="7125516" y="2758702"/>
            <a:ext cx="1990433" cy="2122553"/>
          </a:xfrm>
          <a:prstGeom prst="line">
            <a:avLst/>
          </a:prstGeom>
          <a:ln w="38100">
            <a:solidFill>
              <a:srgbClr val="43B049"/>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E508BE8-3EEB-495C-A878-E627A8B0206F}"/>
              </a:ext>
            </a:extLst>
          </p:cNvPr>
          <p:cNvCxnSpPr>
            <a:cxnSpLocks/>
          </p:cNvCxnSpPr>
          <p:nvPr/>
        </p:nvCxnSpPr>
        <p:spPr>
          <a:xfrm flipH="1" flipV="1">
            <a:off x="7091039" y="2758702"/>
            <a:ext cx="2024910" cy="2159080"/>
          </a:xfrm>
          <a:prstGeom prst="line">
            <a:avLst/>
          </a:prstGeom>
          <a:ln w="38100">
            <a:solidFill>
              <a:srgbClr val="43B049"/>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6509031-ADD4-48A6-8840-BE222CDD98FB}"/>
              </a:ext>
            </a:extLst>
          </p:cNvPr>
          <p:cNvCxnSpPr>
            <a:cxnSpLocks/>
          </p:cNvCxnSpPr>
          <p:nvPr/>
        </p:nvCxnSpPr>
        <p:spPr>
          <a:xfrm flipV="1">
            <a:off x="3957783" y="2758702"/>
            <a:ext cx="1990433" cy="2122553"/>
          </a:xfrm>
          <a:prstGeom prst="line">
            <a:avLst/>
          </a:prstGeom>
          <a:ln w="38100">
            <a:solidFill>
              <a:srgbClr val="13B5E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6C9F9D-3A3D-4C38-B010-A3B85A8DC462}"/>
              </a:ext>
            </a:extLst>
          </p:cNvPr>
          <p:cNvCxnSpPr>
            <a:cxnSpLocks/>
          </p:cNvCxnSpPr>
          <p:nvPr/>
        </p:nvCxnSpPr>
        <p:spPr>
          <a:xfrm flipH="1" flipV="1">
            <a:off x="3923306" y="2758702"/>
            <a:ext cx="2024910" cy="2159080"/>
          </a:xfrm>
          <a:prstGeom prst="line">
            <a:avLst/>
          </a:prstGeom>
          <a:ln w="38100">
            <a:solidFill>
              <a:srgbClr val="13B5E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CB32AB2-074D-40D8-9CA4-5DA3245DBEBB}"/>
              </a:ext>
            </a:extLst>
          </p:cNvPr>
          <p:cNvCxnSpPr>
            <a:cxnSpLocks/>
          </p:cNvCxnSpPr>
          <p:nvPr/>
        </p:nvCxnSpPr>
        <p:spPr>
          <a:xfrm flipV="1">
            <a:off x="829607" y="2758702"/>
            <a:ext cx="1990433" cy="212255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A100D477-4C40-4E09-B906-3C746F117A28}"/>
              </a:ext>
            </a:extLst>
          </p:cNvPr>
          <p:cNvSpPr/>
          <p:nvPr/>
        </p:nvSpPr>
        <p:spPr>
          <a:xfrm>
            <a:off x="993912" y="2941580"/>
            <a:ext cx="1661823" cy="17015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C5240B8D-302F-48F3-AEE8-86EED39529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7" name="Object 6" hidden="1">
                        <a:extLst>
                          <a:ext uri="{FF2B5EF4-FFF2-40B4-BE49-F238E27FC236}">
                            <a16:creationId xmlns:a16="http://schemas.microsoft.com/office/drawing/2014/main" id="{C5240B8D-302F-48F3-AEE8-86EED39529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59B0AB0-C1D7-4A5B-8C93-31E1B4010DF2}"/>
              </a:ext>
            </a:extLst>
          </p:cNvPr>
          <p:cNvSpPr>
            <a:spLocks noGrp="1"/>
          </p:cNvSpPr>
          <p:nvPr>
            <p:ph type="sldNum" sz="quarter" idx="12"/>
          </p:nvPr>
        </p:nvSpPr>
        <p:spPr/>
        <p:txBody>
          <a:bodyPr/>
          <a:lstStyle/>
          <a:p>
            <a:fld id="{CB7FE98A-78B1-495F-8A5C-53E48422F91F}" type="slidenum">
              <a:rPr lang="en-US" smtClean="0"/>
              <a:pPr/>
              <a:t>13</a:t>
            </a:fld>
            <a:endParaRPr lang="en-US" dirty="0"/>
          </a:p>
        </p:txBody>
      </p:sp>
      <p:sp>
        <p:nvSpPr>
          <p:cNvPr id="6" name="Text Placeholder 5">
            <a:extLst>
              <a:ext uri="{FF2B5EF4-FFF2-40B4-BE49-F238E27FC236}">
                <a16:creationId xmlns:a16="http://schemas.microsoft.com/office/drawing/2014/main" id="{4E6B500C-07A1-46D0-8386-E19FD6CCFCA0}"/>
              </a:ext>
            </a:extLst>
          </p:cNvPr>
          <p:cNvSpPr>
            <a:spLocks noGrp="1"/>
          </p:cNvSpPr>
          <p:nvPr>
            <p:ph type="body" sz="quarter" idx="13"/>
          </p:nvPr>
        </p:nvSpPr>
        <p:spPr/>
        <p:txBody>
          <a:bodyPr/>
          <a:lstStyle/>
          <a:p>
            <a:r>
              <a:rPr lang="en-US" b="1" dirty="0"/>
              <a:t>HMRC Time To Pay Proposal – Project Viking </a:t>
            </a:r>
          </a:p>
        </p:txBody>
      </p:sp>
      <p:sp>
        <p:nvSpPr>
          <p:cNvPr id="5" name="Title 4">
            <a:extLst>
              <a:ext uri="{FF2B5EF4-FFF2-40B4-BE49-F238E27FC236}">
                <a16:creationId xmlns:a16="http://schemas.microsoft.com/office/drawing/2014/main" id="{2514FCE8-B573-41CF-9C2B-B06D2C799A15}"/>
              </a:ext>
            </a:extLst>
          </p:cNvPr>
          <p:cNvSpPr>
            <a:spLocks noGrp="1"/>
          </p:cNvSpPr>
          <p:nvPr>
            <p:ph type="title"/>
          </p:nvPr>
        </p:nvSpPr>
        <p:spPr/>
        <p:txBody>
          <a:bodyPr vert="horz"/>
          <a:lstStyle/>
          <a:p>
            <a:r>
              <a:rPr lang="en-US" dirty="0"/>
              <a:t>Selected Case Study</a:t>
            </a:r>
          </a:p>
        </p:txBody>
      </p:sp>
      <p:sp>
        <p:nvSpPr>
          <p:cNvPr id="19" name="Freeform 16">
            <a:extLst>
              <a:ext uri="{FF2B5EF4-FFF2-40B4-BE49-F238E27FC236}">
                <a16:creationId xmlns:a16="http://schemas.microsoft.com/office/drawing/2014/main" id="{EFACBF58-1EA2-4FD6-96E7-663B9DB0B837}"/>
              </a:ext>
            </a:extLst>
          </p:cNvPr>
          <p:cNvSpPr/>
          <p:nvPr/>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Oval 17">
            <a:extLst>
              <a:ext uri="{FF2B5EF4-FFF2-40B4-BE49-F238E27FC236}">
                <a16:creationId xmlns:a16="http://schemas.microsoft.com/office/drawing/2014/main" id="{5065A98C-DDC6-4507-80FC-F40178753F41}"/>
              </a:ext>
            </a:extLst>
          </p:cNvPr>
          <p:cNvSpPr/>
          <p:nvPr/>
        </p:nvSpPr>
        <p:spPr>
          <a:xfrm>
            <a:off x="4122088" y="2941580"/>
            <a:ext cx="1661823" cy="1701579"/>
          </a:xfrm>
          <a:prstGeom prst="ellipse">
            <a:avLst/>
          </a:prstGeom>
          <a:solidFill>
            <a:srgbClr val="13B5E8"/>
          </a:solidFill>
          <a:ln>
            <a:solidFill>
              <a:srgbClr val="13B5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3DBCEDF9-68D8-41DD-9384-DDB33D047639}"/>
              </a:ext>
            </a:extLst>
          </p:cNvPr>
          <p:cNvSpPr txBox="1"/>
          <p:nvPr/>
        </p:nvSpPr>
        <p:spPr>
          <a:xfrm>
            <a:off x="4400383" y="3623091"/>
            <a:ext cx="1237091" cy="338554"/>
          </a:xfrm>
          <a:prstGeom prst="rect">
            <a:avLst/>
          </a:prstGeom>
          <a:noFill/>
        </p:spPr>
        <p:txBody>
          <a:bodyPr wrap="square" rtlCol="0">
            <a:spAutoFit/>
          </a:bodyPr>
          <a:lstStyle/>
          <a:p>
            <a:r>
              <a:rPr lang="en-GB" sz="1600" b="1" dirty="0">
                <a:solidFill>
                  <a:schemeClr val="bg1"/>
                </a:solidFill>
              </a:rPr>
              <a:t>Challenges</a:t>
            </a:r>
          </a:p>
        </p:txBody>
      </p:sp>
      <p:sp>
        <p:nvSpPr>
          <p:cNvPr id="21" name="Oval 20">
            <a:extLst>
              <a:ext uri="{FF2B5EF4-FFF2-40B4-BE49-F238E27FC236}">
                <a16:creationId xmlns:a16="http://schemas.microsoft.com/office/drawing/2014/main" id="{AF44CDCA-CE70-43F3-A77C-16A59408F1DC}"/>
              </a:ext>
            </a:extLst>
          </p:cNvPr>
          <p:cNvSpPr/>
          <p:nvPr/>
        </p:nvSpPr>
        <p:spPr>
          <a:xfrm>
            <a:off x="7250265" y="2941580"/>
            <a:ext cx="1661823" cy="1701579"/>
          </a:xfrm>
          <a:prstGeom prst="ellipse">
            <a:avLst/>
          </a:prstGeom>
          <a:solidFill>
            <a:srgbClr val="43B049"/>
          </a:solidFill>
          <a:ln>
            <a:solidFill>
              <a:srgbClr val="43B0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1515D447-CD27-4A00-B8DD-B797D7B1B938}"/>
              </a:ext>
            </a:extLst>
          </p:cNvPr>
          <p:cNvSpPr txBox="1"/>
          <p:nvPr/>
        </p:nvSpPr>
        <p:spPr>
          <a:xfrm>
            <a:off x="7528560" y="3623091"/>
            <a:ext cx="1237091" cy="338554"/>
          </a:xfrm>
          <a:prstGeom prst="rect">
            <a:avLst/>
          </a:prstGeom>
          <a:solidFill>
            <a:srgbClr val="43B049"/>
          </a:solidFill>
          <a:ln>
            <a:solidFill>
              <a:srgbClr val="43B049"/>
            </a:solidFill>
          </a:ln>
        </p:spPr>
        <p:txBody>
          <a:bodyPr wrap="square" rtlCol="0">
            <a:spAutoFit/>
          </a:bodyPr>
          <a:lstStyle/>
          <a:p>
            <a:r>
              <a:rPr lang="en-GB" sz="1600" b="1" dirty="0">
                <a:solidFill>
                  <a:schemeClr val="bg1"/>
                </a:solidFill>
              </a:rPr>
              <a:t>Outcome</a:t>
            </a:r>
          </a:p>
        </p:txBody>
      </p:sp>
      <p:cxnSp>
        <p:nvCxnSpPr>
          <p:cNvPr id="23" name="Straight Connector 22">
            <a:extLst>
              <a:ext uri="{FF2B5EF4-FFF2-40B4-BE49-F238E27FC236}">
                <a16:creationId xmlns:a16="http://schemas.microsoft.com/office/drawing/2014/main" id="{00D14EED-C426-4343-9090-E7784C2AF48B}"/>
              </a:ext>
            </a:extLst>
          </p:cNvPr>
          <p:cNvCxnSpPr>
            <a:cxnSpLocks/>
          </p:cNvCxnSpPr>
          <p:nvPr/>
        </p:nvCxnSpPr>
        <p:spPr>
          <a:xfrm flipH="1" flipV="1">
            <a:off x="795130" y="2758702"/>
            <a:ext cx="2024910" cy="215908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5DC132A-4AD9-449C-ADB8-92EBEA3FE8BB}"/>
              </a:ext>
            </a:extLst>
          </p:cNvPr>
          <p:cNvSpPr txBox="1"/>
          <p:nvPr/>
        </p:nvSpPr>
        <p:spPr>
          <a:xfrm>
            <a:off x="1240403" y="3499981"/>
            <a:ext cx="1168840" cy="584775"/>
          </a:xfrm>
          <a:prstGeom prst="rect">
            <a:avLst/>
          </a:prstGeom>
          <a:noFill/>
        </p:spPr>
        <p:txBody>
          <a:bodyPr wrap="square" rtlCol="0">
            <a:spAutoFit/>
          </a:bodyPr>
          <a:lstStyle/>
          <a:p>
            <a:r>
              <a:rPr lang="en-GB" sz="1600" b="1" dirty="0">
                <a:solidFill>
                  <a:schemeClr val="bg1"/>
                </a:solidFill>
              </a:rPr>
              <a:t>Company Overview</a:t>
            </a:r>
          </a:p>
        </p:txBody>
      </p:sp>
      <p:sp>
        <p:nvSpPr>
          <p:cNvPr id="41" name="TextBox 40">
            <a:extLst>
              <a:ext uri="{FF2B5EF4-FFF2-40B4-BE49-F238E27FC236}">
                <a16:creationId xmlns:a16="http://schemas.microsoft.com/office/drawing/2014/main" id="{662DF31E-EFF2-4D7A-BDE9-10C0CCC764D2}"/>
              </a:ext>
            </a:extLst>
          </p:cNvPr>
          <p:cNvSpPr txBox="1"/>
          <p:nvPr/>
        </p:nvSpPr>
        <p:spPr>
          <a:xfrm>
            <a:off x="107726" y="1569025"/>
            <a:ext cx="1744489" cy="1077218"/>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Sponsor-backed £27m turnover polymer manufacturer   </a:t>
            </a:r>
            <a:endParaRPr lang="en-GB" sz="1600" dirty="0">
              <a:solidFill>
                <a:srgbClr val="14487F"/>
              </a:solidFill>
            </a:endParaRPr>
          </a:p>
        </p:txBody>
      </p:sp>
      <p:sp>
        <p:nvSpPr>
          <p:cNvPr id="42" name="TextBox 41">
            <a:extLst>
              <a:ext uri="{FF2B5EF4-FFF2-40B4-BE49-F238E27FC236}">
                <a16:creationId xmlns:a16="http://schemas.microsoft.com/office/drawing/2014/main" id="{B5FC725E-2A21-42E5-AAFC-CA48CCA8782A}"/>
              </a:ext>
            </a:extLst>
          </p:cNvPr>
          <p:cNvSpPr txBox="1"/>
          <p:nvPr/>
        </p:nvSpPr>
        <p:spPr>
          <a:xfrm>
            <a:off x="2056076" y="1585162"/>
            <a:ext cx="1560544" cy="1077218"/>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Operational turnaround plan in progress</a:t>
            </a:r>
            <a:endParaRPr lang="en-GB" sz="1600" dirty="0">
              <a:solidFill>
                <a:srgbClr val="14487F"/>
              </a:solidFill>
            </a:endParaRPr>
          </a:p>
        </p:txBody>
      </p:sp>
      <p:sp>
        <p:nvSpPr>
          <p:cNvPr id="43" name="TextBox 42">
            <a:extLst>
              <a:ext uri="{FF2B5EF4-FFF2-40B4-BE49-F238E27FC236}">
                <a16:creationId xmlns:a16="http://schemas.microsoft.com/office/drawing/2014/main" id="{EDF95F77-34EB-4A70-95B9-84C1F351E473}"/>
              </a:ext>
            </a:extLst>
          </p:cNvPr>
          <p:cNvSpPr txBox="1"/>
          <p:nvPr/>
        </p:nvSpPr>
        <p:spPr>
          <a:xfrm>
            <a:off x="213640" y="4966898"/>
            <a:ext cx="1170000" cy="584775"/>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3.5m of arrears</a:t>
            </a:r>
            <a:endParaRPr lang="en-GB" sz="1600" dirty="0">
              <a:solidFill>
                <a:srgbClr val="14487F"/>
              </a:solidFill>
            </a:endParaRPr>
          </a:p>
        </p:txBody>
      </p:sp>
      <p:sp>
        <p:nvSpPr>
          <p:cNvPr id="44" name="TextBox 43">
            <a:extLst>
              <a:ext uri="{FF2B5EF4-FFF2-40B4-BE49-F238E27FC236}">
                <a16:creationId xmlns:a16="http://schemas.microsoft.com/office/drawing/2014/main" id="{AA1A7157-3DB5-4D43-BAE6-2302C73C9C59}"/>
              </a:ext>
            </a:extLst>
          </p:cNvPr>
          <p:cNvSpPr txBox="1"/>
          <p:nvPr/>
        </p:nvSpPr>
        <p:spPr>
          <a:xfrm>
            <a:off x="2056076" y="4979487"/>
            <a:ext cx="1287548" cy="1323439"/>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Aggressive approach taken by director / sponsor</a:t>
            </a:r>
            <a:endParaRPr lang="en-GB" sz="1600" dirty="0">
              <a:solidFill>
                <a:srgbClr val="14487F"/>
              </a:solidFill>
            </a:endParaRPr>
          </a:p>
        </p:txBody>
      </p:sp>
      <p:sp>
        <p:nvSpPr>
          <p:cNvPr id="45" name="TextBox 44">
            <a:extLst>
              <a:ext uri="{FF2B5EF4-FFF2-40B4-BE49-F238E27FC236}">
                <a16:creationId xmlns:a16="http://schemas.microsoft.com/office/drawing/2014/main" id="{EBCD1B8C-45F7-40F7-A5F7-7D4144A2E969}"/>
              </a:ext>
            </a:extLst>
          </p:cNvPr>
          <p:cNvSpPr txBox="1"/>
          <p:nvPr/>
        </p:nvSpPr>
        <p:spPr>
          <a:xfrm>
            <a:off x="3575529" y="1585162"/>
            <a:ext cx="1560543" cy="830997"/>
          </a:xfrm>
          <a:prstGeom prst="rect">
            <a:avLst/>
          </a:prstGeom>
          <a:noFill/>
        </p:spPr>
        <p:txBody>
          <a:bodyPr wrap="square" rtlCol="0">
            <a:spAutoFit/>
          </a:bodyPr>
          <a:lstStyle/>
          <a:p>
            <a:r>
              <a:rPr lang="en-US" sz="1600" b="1" dirty="0">
                <a:solidFill>
                  <a:srgbClr val="13B5E8"/>
                </a:solidFill>
              </a:rPr>
              <a:t>Very poor compliance record</a:t>
            </a:r>
            <a:endParaRPr lang="en-GB" sz="1600" dirty="0">
              <a:solidFill>
                <a:srgbClr val="13B5E8"/>
              </a:solidFill>
            </a:endParaRPr>
          </a:p>
        </p:txBody>
      </p:sp>
      <p:sp>
        <p:nvSpPr>
          <p:cNvPr id="46" name="TextBox 45">
            <a:extLst>
              <a:ext uri="{FF2B5EF4-FFF2-40B4-BE49-F238E27FC236}">
                <a16:creationId xmlns:a16="http://schemas.microsoft.com/office/drawing/2014/main" id="{E08E2C8F-2339-4537-9428-16F66688690A}"/>
              </a:ext>
            </a:extLst>
          </p:cNvPr>
          <p:cNvSpPr txBox="1"/>
          <p:nvPr/>
        </p:nvSpPr>
        <p:spPr>
          <a:xfrm>
            <a:off x="5075066" y="1549545"/>
            <a:ext cx="1675356" cy="1077218"/>
          </a:xfrm>
          <a:prstGeom prst="rect">
            <a:avLst/>
          </a:prstGeom>
          <a:noFill/>
        </p:spPr>
        <p:txBody>
          <a:bodyPr wrap="square" rtlCol="0">
            <a:spAutoFit/>
          </a:bodyPr>
          <a:lstStyle/>
          <a:p>
            <a:r>
              <a:rPr lang="en-GB" sz="1600" b="1" dirty="0">
                <a:solidFill>
                  <a:srgbClr val="13B5E8"/>
                </a:solidFill>
              </a:rPr>
              <a:t>Strong resistance from senior HMRC leaders </a:t>
            </a:r>
          </a:p>
        </p:txBody>
      </p:sp>
      <p:sp>
        <p:nvSpPr>
          <p:cNvPr id="47" name="TextBox 46">
            <a:extLst>
              <a:ext uri="{FF2B5EF4-FFF2-40B4-BE49-F238E27FC236}">
                <a16:creationId xmlns:a16="http://schemas.microsoft.com/office/drawing/2014/main" id="{2E716FD2-52B5-4EEE-B017-0A1AFCBAFC6D}"/>
              </a:ext>
            </a:extLst>
          </p:cNvPr>
          <p:cNvSpPr txBox="1"/>
          <p:nvPr/>
        </p:nvSpPr>
        <p:spPr>
          <a:xfrm>
            <a:off x="3681442" y="4983035"/>
            <a:ext cx="1454629" cy="1077218"/>
          </a:xfrm>
          <a:prstGeom prst="rect">
            <a:avLst/>
          </a:prstGeom>
          <a:noFill/>
        </p:spPr>
        <p:txBody>
          <a:bodyPr wrap="square" rtlCol="0">
            <a:spAutoFit/>
          </a:bodyPr>
          <a:lstStyle/>
          <a:p>
            <a:r>
              <a:rPr lang="en-US" sz="1600" b="1" dirty="0">
                <a:solidFill>
                  <a:srgbClr val="13B5E8"/>
                </a:solidFill>
                <a:effectLst/>
                <a:ea typeface="Calibri" panose="020F0502020204030204" pitchFamily="34" charset="0"/>
              </a:rPr>
              <a:t>Prior pre-pack Admin with £4m HMRC loss</a:t>
            </a:r>
            <a:endParaRPr lang="en-GB" sz="1600" dirty="0">
              <a:solidFill>
                <a:srgbClr val="13B5E8"/>
              </a:solidFill>
            </a:endParaRPr>
          </a:p>
        </p:txBody>
      </p:sp>
      <p:sp>
        <p:nvSpPr>
          <p:cNvPr id="48" name="TextBox 47">
            <a:extLst>
              <a:ext uri="{FF2B5EF4-FFF2-40B4-BE49-F238E27FC236}">
                <a16:creationId xmlns:a16="http://schemas.microsoft.com/office/drawing/2014/main" id="{76354694-B893-4B30-B8AF-2DAD836553A0}"/>
              </a:ext>
            </a:extLst>
          </p:cNvPr>
          <p:cNvSpPr txBox="1"/>
          <p:nvPr/>
        </p:nvSpPr>
        <p:spPr>
          <a:xfrm>
            <a:off x="5304442" y="4993714"/>
            <a:ext cx="1287548" cy="1077218"/>
          </a:xfrm>
          <a:prstGeom prst="rect">
            <a:avLst/>
          </a:prstGeom>
          <a:noFill/>
        </p:spPr>
        <p:txBody>
          <a:bodyPr wrap="square" rtlCol="0">
            <a:spAutoFit/>
          </a:bodyPr>
          <a:lstStyle/>
          <a:p>
            <a:r>
              <a:rPr lang="en-US" sz="1600" b="1" dirty="0">
                <a:solidFill>
                  <a:srgbClr val="13B5E8"/>
                </a:solidFill>
                <a:effectLst/>
                <a:ea typeface="Calibri" panose="020F0502020204030204" pitchFamily="34" charset="0"/>
              </a:rPr>
              <a:t>Bond demand of £2.5m expected</a:t>
            </a:r>
            <a:endParaRPr lang="en-GB" sz="1600" dirty="0">
              <a:solidFill>
                <a:srgbClr val="13B5E8"/>
              </a:solidFill>
            </a:endParaRPr>
          </a:p>
        </p:txBody>
      </p:sp>
      <p:sp>
        <p:nvSpPr>
          <p:cNvPr id="49" name="TextBox 48">
            <a:extLst>
              <a:ext uri="{FF2B5EF4-FFF2-40B4-BE49-F238E27FC236}">
                <a16:creationId xmlns:a16="http://schemas.microsoft.com/office/drawing/2014/main" id="{04515B4D-3F0F-42D1-AECE-28DDAC2DDB88}"/>
              </a:ext>
            </a:extLst>
          </p:cNvPr>
          <p:cNvSpPr txBox="1"/>
          <p:nvPr/>
        </p:nvSpPr>
        <p:spPr>
          <a:xfrm>
            <a:off x="6760360" y="1588816"/>
            <a:ext cx="1550060" cy="1077218"/>
          </a:xfrm>
          <a:prstGeom prst="rect">
            <a:avLst/>
          </a:prstGeom>
          <a:noFill/>
        </p:spPr>
        <p:txBody>
          <a:bodyPr wrap="square" rtlCol="0">
            <a:spAutoFit/>
          </a:bodyPr>
          <a:lstStyle/>
          <a:p>
            <a:r>
              <a:rPr lang="en-US" sz="1600" b="1" dirty="0">
                <a:solidFill>
                  <a:srgbClr val="43B049"/>
                </a:solidFill>
                <a:effectLst/>
                <a:ea typeface="Calibri" panose="020F0502020204030204" pitchFamily="34" charset="0"/>
              </a:rPr>
              <a:t>Cessation of </a:t>
            </a:r>
            <a:r>
              <a:rPr lang="en-US" sz="1600" b="1" dirty="0">
                <a:solidFill>
                  <a:srgbClr val="43B049"/>
                </a:solidFill>
                <a:ea typeface="Calibri" panose="020F0502020204030204" pitchFamily="34" charset="0"/>
              </a:rPr>
              <a:t>enforcement a</a:t>
            </a:r>
            <a:r>
              <a:rPr lang="en-US" sz="1600" b="1" dirty="0">
                <a:solidFill>
                  <a:srgbClr val="43B049"/>
                </a:solidFill>
                <a:effectLst/>
                <a:ea typeface="Calibri" panose="020F0502020204030204" pitchFamily="34" charset="0"/>
              </a:rPr>
              <a:t>ction from HMRC</a:t>
            </a:r>
            <a:endParaRPr lang="en-GB" sz="1600" dirty="0">
              <a:solidFill>
                <a:srgbClr val="43B049"/>
              </a:solidFill>
            </a:endParaRPr>
          </a:p>
        </p:txBody>
      </p:sp>
      <p:sp>
        <p:nvSpPr>
          <p:cNvPr id="50" name="TextBox 49">
            <a:extLst>
              <a:ext uri="{FF2B5EF4-FFF2-40B4-BE49-F238E27FC236}">
                <a16:creationId xmlns:a16="http://schemas.microsoft.com/office/drawing/2014/main" id="{E9214EA9-2AB3-4CD7-A10B-6E566E801B12}"/>
              </a:ext>
            </a:extLst>
          </p:cNvPr>
          <p:cNvSpPr txBox="1"/>
          <p:nvPr/>
        </p:nvSpPr>
        <p:spPr>
          <a:xfrm>
            <a:off x="8572273" y="1562316"/>
            <a:ext cx="1226001" cy="1077218"/>
          </a:xfrm>
          <a:prstGeom prst="rect">
            <a:avLst/>
          </a:prstGeom>
          <a:noFill/>
        </p:spPr>
        <p:txBody>
          <a:bodyPr wrap="square" rtlCol="0">
            <a:spAutoFit/>
          </a:bodyPr>
          <a:lstStyle/>
          <a:p>
            <a:r>
              <a:rPr lang="en-US" sz="1600" b="1" dirty="0">
                <a:solidFill>
                  <a:srgbClr val="43B049"/>
                </a:solidFill>
                <a:effectLst/>
                <a:ea typeface="Calibri" panose="020F0502020204030204" pitchFamily="34" charset="0"/>
              </a:rPr>
              <a:t>16 month Time To Pay Agreed</a:t>
            </a:r>
            <a:endParaRPr lang="en-GB" sz="1600" dirty="0">
              <a:solidFill>
                <a:srgbClr val="43B049"/>
              </a:solidFill>
            </a:endParaRPr>
          </a:p>
        </p:txBody>
      </p:sp>
      <p:sp>
        <p:nvSpPr>
          <p:cNvPr id="51" name="TextBox 50">
            <a:extLst>
              <a:ext uri="{FF2B5EF4-FFF2-40B4-BE49-F238E27FC236}">
                <a16:creationId xmlns:a16="http://schemas.microsoft.com/office/drawing/2014/main" id="{A14DE6C0-0E39-4752-AC4D-C423B29A39E0}"/>
              </a:ext>
            </a:extLst>
          </p:cNvPr>
          <p:cNvSpPr txBox="1"/>
          <p:nvPr/>
        </p:nvSpPr>
        <p:spPr>
          <a:xfrm>
            <a:off x="6866275" y="5063220"/>
            <a:ext cx="1162140" cy="584775"/>
          </a:xfrm>
          <a:prstGeom prst="rect">
            <a:avLst/>
          </a:prstGeom>
          <a:noFill/>
        </p:spPr>
        <p:txBody>
          <a:bodyPr wrap="square" rtlCol="0">
            <a:spAutoFit/>
          </a:bodyPr>
          <a:lstStyle/>
          <a:p>
            <a:r>
              <a:rPr lang="en-US" sz="1600" b="1" dirty="0">
                <a:solidFill>
                  <a:srgbClr val="43B049"/>
                </a:solidFill>
              </a:rPr>
              <a:t>500 jobs saved</a:t>
            </a:r>
            <a:endParaRPr lang="en-GB" sz="1600" dirty="0">
              <a:solidFill>
                <a:srgbClr val="43B049"/>
              </a:solidFill>
            </a:endParaRPr>
          </a:p>
        </p:txBody>
      </p:sp>
      <p:sp>
        <p:nvSpPr>
          <p:cNvPr id="52" name="TextBox 51">
            <a:extLst>
              <a:ext uri="{FF2B5EF4-FFF2-40B4-BE49-F238E27FC236}">
                <a16:creationId xmlns:a16="http://schemas.microsoft.com/office/drawing/2014/main" id="{3DE8A377-7F1B-44EE-8BD2-EFAAEA97AFE9}"/>
              </a:ext>
            </a:extLst>
          </p:cNvPr>
          <p:cNvSpPr txBox="1"/>
          <p:nvPr/>
        </p:nvSpPr>
        <p:spPr>
          <a:xfrm>
            <a:off x="8708711" y="5075809"/>
            <a:ext cx="1162141" cy="830997"/>
          </a:xfrm>
          <a:prstGeom prst="rect">
            <a:avLst/>
          </a:prstGeom>
          <a:noFill/>
        </p:spPr>
        <p:txBody>
          <a:bodyPr wrap="square" rtlCol="0">
            <a:spAutoFit/>
          </a:bodyPr>
          <a:lstStyle/>
          <a:p>
            <a:r>
              <a:rPr lang="en-US" sz="1600" b="1" dirty="0">
                <a:solidFill>
                  <a:srgbClr val="43B049"/>
                </a:solidFill>
                <a:effectLst/>
                <a:ea typeface="Calibri" panose="020F0502020204030204" pitchFamily="34" charset="0"/>
              </a:rPr>
              <a:t>Bond demand dropped</a:t>
            </a:r>
            <a:endParaRPr lang="en-GB" sz="1600" dirty="0">
              <a:solidFill>
                <a:srgbClr val="43B049"/>
              </a:solidFill>
            </a:endParaRPr>
          </a:p>
        </p:txBody>
      </p:sp>
    </p:spTree>
    <p:extLst>
      <p:ext uri="{BB962C8B-B14F-4D97-AF65-F5344CB8AC3E}">
        <p14:creationId xmlns:p14="http://schemas.microsoft.com/office/powerpoint/2010/main" val="25377980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D10FD884-AFD3-4A37-A3EC-9114B59404A6}"/>
              </a:ext>
            </a:extLst>
          </p:cNvPr>
          <p:cNvCxnSpPr>
            <a:cxnSpLocks/>
          </p:cNvCxnSpPr>
          <p:nvPr/>
        </p:nvCxnSpPr>
        <p:spPr>
          <a:xfrm flipV="1">
            <a:off x="7125516" y="2758702"/>
            <a:ext cx="1990433" cy="2122553"/>
          </a:xfrm>
          <a:prstGeom prst="line">
            <a:avLst/>
          </a:prstGeom>
          <a:ln w="38100">
            <a:solidFill>
              <a:srgbClr val="43B049"/>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E508BE8-3EEB-495C-A878-E627A8B0206F}"/>
              </a:ext>
            </a:extLst>
          </p:cNvPr>
          <p:cNvCxnSpPr>
            <a:cxnSpLocks/>
          </p:cNvCxnSpPr>
          <p:nvPr/>
        </p:nvCxnSpPr>
        <p:spPr>
          <a:xfrm flipH="1" flipV="1">
            <a:off x="7091039" y="2758702"/>
            <a:ext cx="2024910" cy="2159080"/>
          </a:xfrm>
          <a:prstGeom prst="line">
            <a:avLst/>
          </a:prstGeom>
          <a:ln w="38100">
            <a:solidFill>
              <a:srgbClr val="43B049"/>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6509031-ADD4-48A6-8840-BE222CDD98FB}"/>
              </a:ext>
            </a:extLst>
          </p:cNvPr>
          <p:cNvCxnSpPr>
            <a:cxnSpLocks/>
          </p:cNvCxnSpPr>
          <p:nvPr/>
        </p:nvCxnSpPr>
        <p:spPr>
          <a:xfrm flipV="1">
            <a:off x="3957783" y="2758702"/>
            <a:ext cx="1990433" cy="2122553"/>
          </a:xfrm>
          <a:prstGeom prst="line">
            <a:avLst/>
          </a:prstGeom>
          <a:ln w="38100">
            <a:solidFill>
              <a:srgbClr val="13B5E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6C9F9D-3A3D-4C38-B010-A3B85A8DC462}"/>
              </a:ext>
            </a:extLst>
          </p:cNvPr>
          <p:cNvCxnSpPr>
            <a:cxnSpLocks/>
          </p:cNvCxnSpPr>
          <p:nvPr/>
        </p:nvCxnSpPr>
        <p:spPr>
          <a:xfrm flipH="1" flipV="1">
            <a:off x="3923306" y="2758702"/>
            <a:ext cx="2024910" cy="2159080"/>
          </a:xfrm>
          <a:prstGeom prst="line">
            <a:avLst/>
          </a:prstGeom>
          <a:ln w="38100">
            <a:solidFill>
              <a:srgbClr val="13B5E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CB32AB2-074D-40D8-9CA4-5DA3245DBEBB}"/>
              </a:ext>
            </a:extLst>
          </p:cNvPr>
          <p:cNvCxnSpPr>
            <a:cxnSpLocks/>
          </p:cNvCxnSpPr>
          <p:nvPr/>
        </p:nvCxnSpPr>
        <p:spPr>
          <a:xfrm flipV="1">
            <a:off x="829607" y="2758702"/>
            <a:ext cx="1990433" cy="212255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A100D477-4C40-4E09-B906-3C746F117A28}"/>
              </a:ext>
            </a:extLst>
          </p:cNvPr>
          <p:cNvSpPr/>
          <p:nvPr/>
        </p:nvSpPr>
        <p:spPr>
          <a:xfrm>
            <a:off x="993912" y="2941580"/>
            <a:ext cx="1661823" cy="17015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C5240B8D-302F-48F3-AEE8-86EED39529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7" name="Object 6" hidden="1">
                        <a:extLst>
                          <a:ext uri="{FF2B5EF4-FFF2-40B4-BE49-F238E27FC236}">
                            <a16:creationId xmlns:a16="http://schemas.microsoft.com/office/drawing/2014/main" id="{C5240B8D-302F-48F3-AEE8-86EED39529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59B0AB0-C1D7-4A5B-8C93-31E1B4010DF2}"/>
              </a:ext>
            </a:extLst>
          </p:cNvPr>
          <p:cNvSpPr>
            <a:spLocks noGrp="1"/>
          </p:cNvSpPr>
          <p:nvPr>
            <p:ph type="sldNum" sz="quarter" idx="12"/>
          </p:nvPr>
        </p:nvSpPr>
        <p:spPr/>
        <p:txBody>
          <a:bodyPr/>
          <a:lstStyle/>
          <a:p>
            <a:fld id="{CB7FE98A-78B1-495F-8A5C-53E48422F91F}" type="slidenum">
              <a:rPr lang="en-US" smtClean="0"/>
              <a:pPr/>
              <a:t>14</a:t>
            </a:fld>
            <a:endParaRPr lang="en-US" dirty="0"/>
          </a:p>
        </p:txBody>
      </p:sp>
      <p:sp>
        <p:nvSpPr>
          <p:cNvPr id="6" name="Text Placeholder 5">
            <a:extLst>
              <a:ext uri="{FF2B5EF4-FFF2-40B4-BE49-F238E27FC236}">
                <a16:creationId xmlns:a16="http://schemas.microsoft.com/office/drawing/2014/main" id="{4E6B500C-07A1-46D0-8386-E19FD6CCFCA0}"/>
              </a:ext>
            </a:extLst>
          </p:cNvPr>
          <p:cNvSpPr>
            <a:spLocks noGrp="1"/>
          </p:cNvSpPr>
          <p:nvPr>
            <p:ph type="body" sz="quarter" idx="13"/>
          </p:nvPr>
        </p:nvSpPr>
        <p:spPr/>
        <p:txBody>
          <a:bodyPr/>
          <a:lstStyle/>
          <a:p>
            <a:r>
              <a:rPr lang="en-US" b="1" dirty="0"/>
              <a:t>HMRC Time To Pay Proposal – Project Amber </a:t>
            </a:r>
          </a:p>
        </p:txBody>
      </p:sp>
      <p:sp>
        <p:nvSpPr>
          <p:cNvPr id="5" name="Title 4">
            <a:extLst>
              <a:ext uri="{FF2B5EF4-FFF2-40B4-BE49-F238E27FC236}">
                <a16:creationId xmlns:a16="http://schemas.microsoft.com/office/drawing/2014/main" id="{2514FCE8-B573-41CF-9C2B-B06D2C799A15}"/>
              </a:ext>
            </a:extLst>
          </p:cNvPr>
          <p:cNvSpPr>
            <a:spLocks noGrp="1"/>
          </p:cNvSpPr>
          <p:nvPr>
            <p:ph type="title"/>
          </p:nvPr>
        </p:nvSpPr>
        <p:spPr/>
        <p:txBody>
          <a:bodyPr vert="horz"/>
          <a:lstStyle/>
          <a:p>
            <a:r>
              <a:rPr lang="en-US" dirty="0"/>
              <a:t>Selected Case Study</a:t>
            </a:r>
          </a:p>
        </p:txBody>
      </p:sp>
      <p:sp>
        <p:nvSpPr>
          <p:cNvPr id="19" name="Freeform 16">
            <a:extLst>
              <a:ext uri="{FF2B5EF4-FFF2-40B4-BE49-F238E27FC236}">
                <a16:creationId xmlns:a16="http://schemas.microsoft.com/office/drawing/2014/main" id="{EFACBF58-1EA2-4FD6-96E7-663B9DB0B837}"/>
              </a:ext>
            </a:extLst>
          </p:cNvPr>
          <p:cNvSpPr/>
          <p:nvPr/>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Oval 17">
            <a:extLst>
              <a:ext uri="{FF2B5EF4-FFF2-40B4-BE49-F238E27FC236}">
                <a16:creationId xmlns:a16="http://schemas.microsoft.com/office/drawing/2014/main" id="{5065A98C-DDC6-4507-80FC-F40178753F41}"/>
              </a:ext>
            </a:extLst>
          </p:cNvPr>
          <p:cNvSpPr/>
          <p:nvPr/>
        </p:nvSpPr>
        <p:spPr>
          <a:xfrm>
            <a:off x="4122088" y="2941580"/>
            <a:ext cx="1661823" cy="1701579"/>
          </a:xfrm>
          <a:prstGeom prst="ellipse">
            <a:avLst/>
          </a:prstGeom>
          <a:solidFill>
            <a:srgbClr val="13B5E8"/>
          </a:solidFill>
          <a:ln>
            <a:solidFill>
              <a:srgbClr val="13B5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3DBCEDF9-68D8-41DD-9384-DDB33D047639}"/>
              </a:ext>
            </a:extLst>
          </p:cNvPr>
          <p:cNvSpPr txBox="1"/>
          <p:nvPr/>
        </p:nvSpPr>
        <p:spPr>
          <a:xfrm>
            <a:off x="4400383" y="3623091"/>
            <a:ext cx="1237091" cy="338554"/>
          </a:xfrm>
          <a:prstGeom prst="rect">
            <a:avLst/>
          </a:prstGeom>
          <a:noFill/>
        </p:spPr>
        <p:txBody>
          <a:bodyPr wrap="square" rtlCol="0">
            <a:spAutoFit/>
          </a:bodyPr>
          <a:lstStyle/>
          <a:p>
            <a:r>
              <a:rPr lang="en-GB" sz="1600" b="1" dirty="0">
                <a:solidFill>
                  <a:schemeClr val="bg1"/>
                </a:solidFill>
              </a:rPr>
              <a:t>Challenges</a:t>
            </a:r>
          </a:p>
        </p:txBody>
      </p:sp>
      <p:sp>
        <p:nvSpPr>
          <p:cNvPr id="21" name="Oval 20">
            <a:extLst>
              <a:ext uri="{FF2B5EF4-FFF2-40B4-BE49-F238E27FC236}">
                <a16:creationId xmlns:a16="http://schemas.microsoft.com/office/drawing/2014/main" id="{AF44CDCA-CE70-43F3-A77C-16A59408F1DC}"/>
              </a:ext>
            </a:extLst>
          </p:cNvPr>
          <p:cNvSpPr/>
          <p:nvPr/>
        </p:nvSpPr>
        <p:spPr>
          <a:xfrm>
            <a:off x="7250265" y="2941580"/>
            <a:ext cx="1661823" cy="1701579"/>
          </a:xfrm>
          <a:prstGeom prst="ellipse">
            <a:avLst/>
          </a:prstGeom>
          <a:solidFill>
            <a:srgbClr val="43B049"/>
          </a:solidFill>
          <a:ln>
            <a:solidFill>
              <a:srgbClr val="43B0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1515D447-CD27-4A00-B8DD-B797D7B1B938}"/>
              </a:ext>
            </a:extLst>
          </p:cNvPr>
          <p:cNvSpPr txBox="1"/>
          <p:nvPr/>
        </p:nvSpPr>
        <p:spPr>
          <a:xfrm>
            <a:off x="7528560" y="3623091"/>
            <a:ext cx="1237091" cy="338554"/>
          </a:xfrm>
          <a:prstGeom prst="rect">
            <a:avLst/>
          </a:prstGeom>
          <a:solidFill>
            <a:srgbClr val="43B049"/>
          </a:solidFill>
          <a:ln>
            <a:solidFill>
              <a:srgbClr val="43B049"/>
            </a:solidFill>
          </a:ln>
        </p:spPr>
        <p:txBody>
          <a:bodyPr wrap="square" rtlCol="0">
            <a:spAutoFit/>
          </a:bodyPr>
          <a:lstStyle/>
          <a:p>
            <a:r>
              <a:rPr lang="en-GB" sz="1600" b="1" dirty="0">
                <a:solidFill>
                  <a:schemeClr val="bg1"/>
                </a:solidFill>
              </a:rPr>
              <a:t>Outcome</a:t>
            </a:r>
          </a:p>
        </p:txBody>
      </p:sp>
      <p:cxnSp>
        <p:nvCxnSpPr>
          <p:cNvPr id="23" name="Straight Connector 22">
            <a:extLst>
              <a:ext uri="{FF2B5EF4-FFF2-40B4-BE49-F238E27FC236}">
                <a16:creationId xmlns:a16="http://schemas.microsoft.com/office/drawing/2014/main" id="{00D14EED-C426-4343-9090-E7784C2AF48B}"/>
              </a:ext>
            </a:extLst>
          </p:cNvPr>
          <p:cNvCxnSpPr>
            <a:cxnSpLocks/>
          </p:cNvCxnSpPr>
          <p:nvPr/>
        </p:nvCxnSpPr>
        <p:spPr>
          <a:xfrm flipH="1" flipV="1">
            <a:off x="795130" y="2758702"/>
            <a:ext cx="2024910" cy="215908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5DC132A-4AD9-449C-ADB8-92EBEA3FE8BB}"/>
              </a:ext>
            </a:extLst>
          </p:cNvPr>
          <p:cNvSpPr txBox="1"/>
          <p:nvPr/>
        </p:nvSpPr>
        <p:spPr>
          <a:xfrm>
            <a:off x="1240403" y="3499981"/>
            <a:ext cx="1168840" cy="584775"/>
          </a:xfrm>
          <a:prstGeom prst="rect">
            <a:avLst/>
          </a:prstGeom>
          <a:noFill/>
        </p:spPr>
        <p:txBody>
          <a:bodyPr wrap="square" rtlCol="0">
            <a:spAutoFit/>
          </a:bodyPr>
          <a:lstStyle/>
          <a:p>
            <a:r>
              <a:rPr lang="en-GB" sz="1600" b="1" dirty="0">
                <a:solidFill>
                  <a:schemeClr val="bg1"/>
                </a:solidFill>
              </a:rPr>
              <a:t>Company Overview</a:t>
            </a:r>
          </a:p>
        </p:txBody>
      </p:sp>
      <p:sp>
        <p:nvSpPr>
          <p:cNvPr id="41" name="TextBox 40">
            <a:extLst>
              <a:ext uri="{FF2B5EF4-FFF2-40B4-BE49-F238E27FC236}">
                <a16:creationId xmlns:a16="http://schemas.microsoft.com/office/drawing/2014/main" id="{662DF31E-EFF2-4D7A-BDE9-10C0CCC764D2}"/>
              </a:ext>
            </a:extLst>
          </p:cNvPr>
          <p:cNvSpPr txBox="1"/>
          <p:nvPr/>
        </p:nvSpPr>
        <p:spPr>
          <a:xfrm>
            <a:off x="107726" y="1569025"/>
            <a:ext cx="1661823" cy="1077218"/>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13m turnover events business with 150 staff</a:t>
            </a:r>
            <a:endParaRPr lang="en-GB" sz="1600" dirty="0">
              <a:solidFill>
                <a:srgbClr val="14487F"/>
              </a:solidFill>
            </a:endParaRPr>
          </a:p>
        </p:txBody>
      </p:sp>
      <p:sp>
        <p:nvSpPr>
          <p:cNvPr id="42" name="TextBox 41">
            <a:extLst>
              <a:ext uri="{FF2B5EF4-FFF2-40B4-BE49-F238E27FC236}">
                <a16:creationId xmlns:a16="http://schemas.microsoft.com/office/drawing/2014/main" id="{B5FC725E-2A21-42E5-AAFC-CA48CCA8782A}"/>
              </a:ext>
            </a:extLst>
          </p:cNvPr>
          <p:cNvSpPr txBox="1"/>
          <p:nvPr/>
        </p:nvSpPr>
        <p:spPr>
          <a:xfrm>
            <a:off x="2056076" y="1585162"/>
            <a:ext cx="1550060" cy="1077218"/>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Lost key contract worth £3m p.a.</a:t>
            </a:r>
            <a:endParaRPr lang="en-GB" sz="1600" dirty="0">
              <a:solidFill>
                <a:srgbClr val="14487F"/>
              </a:solidFill>
            </a:endParaRPr>
          </a:p>
        </p:txBody>
      </p:sp>
      <p:sp>
        <p:nvSpPr>
          <p:cNvPr id="43" name="TextBox 42">
            <a:extLst>
              <a:ext uri="{FF2B5EF4-FFF2-40B4-BE49-F238E27FC236}">
                <a16:creationId xmlns:a16="http://schemas.microsoft.com/office/drawing/2014/main" id="{EDF95F77-34EB-4A70-95B9-84C1F351E473}"/>
              </a:ext>
            </a:extLst>
          </p:cNvPr>
          <p:cNvSpPr txBox="1"/>
          <p:nvPr/>
        </p:nvSpPr>
        <p:spPr>
          <a:xfrm>
            <a:off x="213640" y="4966898"/>
            <a:ext cx="1170000" cy="1077218"/>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Staff shortages and cost inflation</a:t>
            </a:r>
            <a:endParaRPr lang="en-GB" sz="1600" dirty="0">
              <a:solidFill>
                <a:srgbClr val="14487F"/>
              </a:solidFill>
            </a:endParaRPr>
          </a:p>
        </p:txBody>
      </p:sp>
      <p:sp>
        <p:nvSpPr>
          <p:cNvPr id="44" name="TextBox 43">
            <a:extLst>
              <a:ext uri="{FF2B5EF4-FFF2-40B4-BE49-F238E27FC236}">
                <a16:creationId xmlns:a16="http://schemas.microsoft.com/office/drawing/2014/main" id="{AA1A7157-3DB5-4D43-BAE6-2302C73C9C59}"/>
              </a:ext>
            </a:extLst>
          </p:cNvPr>
          <p:cNvSpPr txBox="1"/>
          <p:nvPr/>
        </p:nvSpPr>
        <p:spPr>
          <a:xfrm>
            <a:off x="2056076" y="4979487"/>
            <a:ext cx="1287548" cy="584775"/>
          </a:xfrm>
          <a:prstGeom prst="rect">
            <a:avLst/>
          </a:prstGeom>
          <a:noFill/>
        </p:spPr>
        <p:txBody>
          <a:bodyPr wrap="square" rtlCol="0">
            <a:spAutoFit/>
          </a:bodyPr>
          <a:lstStyle/>
          <a:p>
            <a:r>
              <a:rPr lang="en-US" sz="1600" b="1" dirty="0">
                <a:solidFill>
                  <a:srgbClr val="14487F"/>
                </a:solidFill>
                <a:effectLst/>
                <a:ea typeface="Calibri" panose="020F0502020204030204" pitchFamily="34" charset="0"/>
              </a:rPr>
              <a:t>Tax arrears of £800k</a:t>
            </a:r>
            <a:endParaRPr lang="en-GB" sz="1600" dirty="0">
              <a:solidFill>
                <a:srgbClr val="14487F"/>
              </a:solidFill>
            </a:endParaRPr>
          </a:p>
        </p:txBody>
      </p:sp>
      <p:sp>
        <p:nvSpPr>
          <p:cNvPr id="45" name="TextBox 44">
            <a:extLst>
              <a:ext uri="{FF2B5EF4-FFF2-40B4-BE49-F238E27FC236}">
                <a16:creationId xmlns:a16="http://schemas.microsoft.com/office/drawing/2014/main" id="{EBCD1B8C-45F7-40F7-A5F7-7D4144A2E969}"/>
              </a:ext>
            </a:extLst>
          </p:cNvPr>
          <p:cNvSpPr txBox="1"/>
          <p:nvPr/>
        </p:nvSpPr>
        <p:spPr>
          <a:xfrm>
            <a:off x="3575529" y="1585162"/>
            <a:ext cx="1560543" cy="830997"/>
          </a:xfrm>
          <a:prstGeom prst="rect">
            <a:avLst/>
          </a:prstGeom>
          <a:noFill/>
        </p:spPr>
        <p:txBody>
          <a:bodyPr wrap="square" rtlCol="0">
            <a:spAutoFit/>
          </a:bodyPr>
          <a:lstStyle/>
          <a:p>
            <a:r>
              <a:rPr lang="en-US" sz="1600" b="1" dirty="0">
                <a:solidFill>
                  <a:srgbClr val="13B5E8"/>
                </a:solidFill>
              </a:rPr>
              <a:t>Poor compliance record</a:t>
            </a:r>
            <a:endParaRPr lang="en-GB" sz="1600" dirty="0">
              <a:solidFill>
                <a:srgbClr val="13B5E8"/>
              </a:solidFill>
            </a:endParaRPr>
          </a:p>
        </p:txBody>
      </p:sp>
      <p:sp>
        <p:nvSpPr>
          <p:cNvPr id="46" name="TextBox 45">
            <a:extLst>
              <a:ext uri="{FF2B5EF4-FFF2-40B4-BE49-F238E27FC236}">
                <a16:creationId xmlns:a16="http://schemas.microsoft.com/office/drawing/2014/main" id="{E08E2C8F-2339-4537-9428-16F66688690A}"/>
              </a:ext>
            </a:extLst>
          </p:cNvPr>
          <p:cNvSpPr txBox="1"/>
          <p:nvPr/>
        </p:nvSpPr>
        <p:spPr>
          <a:xfrm>
            <a:off x="5075066" y="1549545"/>
            <a:ext cx="1675356" cy="830997"/>
          </a:xfrm>
          <a:prstGeom prst="rect">
            <a:avLst/>
          </a:prstGeom>
          <a:noFill/>
        </p:spPr>
        <p:txBody>
          <a:bodyPr wrap="square" rtlCol="0">
            <a:spAutoFit/>
          </a:bodyPr>
          <a:lstStyle/>
          <a:p>
            <a:r>
              <a:rPr lang="en-GB" sz="1600" b="1" dirty="0">
                <a:solidFill>
                  <a:srgbClr val="13B5E8"/>
                </a:solidFill>
              </a:rPr>
              <a:t>Initial management TTP rejected</a:t>
            </a:r>
          </a:p>
        </p:txBody>
      </p:sp>
      <p:sp>
        <p:nvSpPr>
          <p:cNvPr id="47" name="TextBox 46">
            <a:extLst>
              <a:ext uri="{FF2B5EF4-FFF2-40B4-BE49-F238E27FC236}">
                <a16:creationId xmlns:a16="http://schemas.microsoft.com/office/drawing/2014/main" id="{2E716FD2-52B5-4EEE-B017-0A1AFCBAFC6D}"/>
              </a:ext>
            </a:extLst>
          </p:cNvPr>
          <p:cNvSpPr txBox="1"/>
          <p:nvPr/>
        </p:nvSpPr>
        <p:spPr>
          <a:xfrm>
            <a:off x="3681442" y="4983035"/>
            <a:ext cx="1454629" cy="830997"/>
          </a:xfrm>
          <a:prstGeom prst="rect">
            <a:avLst/>
          </a:prstGeom>
          <a:noFill/>
        </p:spPr>
        <p:txBody>
          <a:bodyPr wrap="square" rtlCol="0">
            <a:spAutoFit/>
          </a:bodyPr>
          <a:lstStyle/>
          <a:p>
            <a:r>
              <a:rPr lang="en-US" sz="1600" b="1" dirty="0">
                <a:solidFill>
                  <a:srgbClr val="13B5E8"/>
                </a:solidFill>
                <a:effectLst/>
                <a:ea typeface="Calibri" panose="020F0502020204030204" pitchFamily="34" charset="0"/>
              </a:rPr>
              <a:t>Exhausted stakeholder support</a:t>
            </a:r>
            <a:endParaRPr lang="en-GB" sz="1600" dirty="0">
              <a:solidFill>
                <a:srgbClr val="13B5E8"/>
              </a:solidFill>
            </a:endParaRPr>
          </a:p>
        </p:txBody>
      </p:sp>
      <p:sp>
        <p:nvSpPr>
          <p:cNvPr id="48" name="TextBox 47">
            <a:extLst>
              <a:ext uri="{FF2B5EF4-FFF2-40B4-BE49-F238E27FC236}">
                <a16:creationId xmlns:a16="http://schemas.microsoft.com/office/drawing/2014/main" id="{76354694-B893-4B30-B8AF-2DAD836553A0}"/>
              </a:ext>
            </a:extLst>
          </p:cNvPr>
          <p:cNvSpPr txBox="1"/>
          <p:nvPr/>
        </p:nvSpPr>
        <p:spPr>
          <a:xfrm>
            <a:off x="5304442" y="4993714"/>
            <a:ext cx="1287548" cy="830997"/>
          </a:xfrm>
          <a:prstGeom prst="rect">
            <a:avLst/>
          </a:prstGeom>
          <a:noFill/>
        </p:spPr>
        <p:txBody>
          <a:bodyPr wrap="square" rtlCol="0">
            <a:spAutoFit/>
          </a:bodyPr>
          <a:lstStyle/>
          <a:p>
            <a:r>
              <a:rPr lang="en-US" sz="1600" b="1" dirty="0">
                <a:solidFill>
                  <a:srgbClr val="13B5E8"/>
                </a:solidFill>
                <a:effectLst/>
                <a:ea typeface="Calibri" panose="020F0502020204030204" pitchFamily="34" charset="0"/>
              </a:rPr>
              <a:t>No reliable financial forecasts</a:t>
            </a:r>
            <a:endParaRPr lang="en-GB" sz="1600" dirty="0">
              <a:solidFill>
                <a:srgbClr val="13B5E8"/>
              </a:solidFill>
            </a:endParaRPr>
          </a:p>
        </p:txBody>
      </p:sp>
      <p:sp>
        <p:nvSpPr>
          <p:cNvPr id="49" name="TextBox 48">
            <a:extLst>
              <a:ext uri="{FF2B5EF4-FFF2-40B4-BE49-F238E27FC236}">
                <a16:creationId xmlns:a16="http://schemas.microsoft.com/office/drawing/2014/main" id="{04515B4D-3F0F-42D1-AECE-28DDAC2DDB88}"/>
              </a:ext>
            </a:extLst>
          </p:cNvPr>
          <p:cNvSpPr txBox="1"/>
          <p:nvPr/>
        </p:nvSpPr>
        <p:spPr>
          <a:xfrm>
            <a:off x="6760360" y="1588816"/>
            <a:ext cx="1550060" cy="1077218"/>
          </a:xfrm>
          <a:prstGeom prst="rect">
            <a:avLst/>
          </a:prstGeom>
          <a:noFill/>
        </p:spPr>
        <p:txBody>
          <a:bodyPr wrap="square" rtlCol="0">
            <a:spAutoFit/>
          </a:bodyPr>
          <a:lstStyle/>
          <a:p>
            <a:r>
              <a:rPr lang="en-US" sz="1600" b="1" dirty="0">
                <a:solidFill>
                  <a:srgbClr val="43B049"/>
                </a:solidFill>
                <a:effectLst/>
                <a:ea typeface="Calibri" panose="020F0502020204030204" pitchFamily="34" charset="0"/>
              </a:rPr>
              <a:t>Forecasts constructed </a:t>
            </a:r>
            <a:r>
              <a:rPr lang="en-US" sz="1600" b="1" dirty="0" err="1">
                <a:solidFill>
                  <a:srgbClr val="43B049"/>
                </a:solidFill>
                <a:effectLst/>
                <a:ea typeface="Calibri" panose="020F0502020204030204" pitchFamily="34" charset="0"/>
              </a:rPr>
              <a:t>inc</a:t>
            </a:r>
            <a:r>
              <a:rPr lang="en-US" sz="1600" b="1" dirty="0">
                <a:solidFill>
                  <a:srgbClr val="43B049"/>
                </a:solidFill>
                <a:effectLst/>
                <a:ea typeface="Calibri" panose="020F0502020204030204" pitchFamily="34" charset="0"/>
              </a:rPr>
              <a:t> sensitivities</a:t>
            </a:r>
            <a:endParaRPr lang="en-GB" sz="1600" dirty="0">
              <a:solidFill>
                <a:srgbClr val="43B049"/>
              </a:solidFill>
            </a:endParaRPr>
          </a:p>
        </p:txBody>
      </p:sp>
      <p:sp>
        <p:nvSpPr>
          <p:cNvPr id="50" name="TextBox 49">
            <a:extLst>
              <a:ext uri="{FF2B5EF4-FFF2-40B4-BE49-F238E27FC236}">
                <a16:creationId xmlns:a16="http://schemas.microsoft.com/office/drawing/2014/main" id="{E9214EA9-2AB3-4CD7-A10B-6E566E801B12}"/>
              </a:ext>
            </a:extLst>
          </p:cNvPr>
          <p:cNvSpPr txBox="1"/>
          <p:nvPr/>
        </p:nvSpPr>
        <p:spPr>
          <a:xfrm>
            <a:off x="8572273" y="1562316"/>
            <a:ext cx="1226001" cy="1077218"/>
          </a:xfrm>
          <a:prstGeom prst="rect">
            <a:avLst/>
          </a:prstGeom>
          <a:noFill/>
        </p:spPr>
        <p:txBody>
          <a:bodyPr wrap="square" rtlCol="0">
            <a:spAutoFit/>
          </a:bodyPr>
          <a:lstStyle/>
          <a:p>
            <a:r>
              <a:rPr lang="en-US" sz="1600" b="1" dirty="0">
                <a:solidFill>
                  <a:srgbClr val="43B049"/>
                </a:solidFill>
                <a:effectLst/>
                <a:ea typeface="Calibri" panose="020F0502020204030204" pitchFamily="34" charset="0"/>
              </a:rPr>
              <a:t>18 month Time To Pay Agreed</a:t>
            </a:r>
            <a:endParaRPr lang="en-GB" sz="1600" dirty="0">
              <a:solidFill>
                <a:srgbClr val="43B049"/>
              </a:solidFill>
            </a:endParaRPr>
          </a:p>
        </p:txBody>
      </p:sp>
      <p:sp>
        <p:nvSpPr>
          <p:cNvPr id="51" name="TextBox 50">
            <a:extLst>
              <a:ext uri="{FF2B5EF4-FFF2-40B4-BE49-F238E27FC236}">
                <a16:creationId xmlns:a16="http://schemas.microsoft.com/office/drawing/2014/main" id="{A14DE6C0-0E39-4752-AC4D-C423B29A39E0}"/>
              </a:ext>
            </a:extLst>
          </p:cNvPr>
          <p:cNvSpPr txBox="1"/>
          <p:nvPr/>
        </p:nvSpPr>
        <p:spPr>
          <a:xfrm>
            <a:off x="6866275" y="5063220"/>
            <a:ext cx="1162140" cy="830997"/>
          </a:xfrm>
          <a:prstGeom prst="rect">
            <a:avLst/>
          </a:prstGeom>
          <a:noFill/>
        </p:spPr>
        <p:txBody>
          <a:bodyPr wrap="square" rtlCol="0">
            <a:spAutoFit/>
          </a:bodyPr>
          <a:lstStyle/>
          <a:p>
            <a:r>
              <a:rPr lang="en-US" sz="1600" b="1" dirty="0">
                <a:solidFill>
                  <a:srgbClr val="43B049"/>
                </a:solidFill>
              </a:rPr>
              <a:t>TTP included s455 tax</a:t>
            </a:r>
            <a:endParaRPr lang="en-GB" sz="1600" dirty="0">
              <a:solidFill>
                <a:srgbClr val="43B049"/>
              </a:solidFill>
            </a:endParaRPr>
          </a:p>
        </p:txBody>
      </p:sp>
      <p:sp>
        <p:nvSpPr>
          <p:cNvPr id="52" name="TextBox 51">
            <a:extLst>
              <a:ext uri="{FF2B5EF4-FFF2-40B4-BE49-F238E27FC236}">
                <a16:creationId xmlns:a16="http://schemas.microsoft.com/office/drawing/2014/main" id="{3DE8A377-7F1B-44EE-8BD2-EFAAEA97AFE9}"/>
              </a:ext>
            </a:extLst>
          </p:cNvPr>
          <p:cNvSpPr txBox="1"/>
          <p:nvPr/>
        </p:nvSpPr>
        <p:spPr>
          <a:xfrm>
            <a:off x="8220457" y="5075809"/>
            <a:ext cx="1650396" cy="1077218"/>
          </a:xfrm>
          <a:prstGeom prst="rect">
            <a:avLst/>
          </a:prstGeom>
          <a:noFill/>
        </p:spPr>
        <p:txBody>
          <a:bodyPr wrap="square" rtlCol="0">
            <a:spAutoFit/>
          </a:bodyPr>
          <a:lstStyle/>
          <a:p>
            <a:r>
              <a:rPr lang="en-US" sz="1600" b="1" dirty="0">
                <a:solidFill>
                  <a:srgbClr val="43B049"/>
                </a:solidFill>
                <a:effectLst/>
                <a:ea typeface="Calibri" panose="020F0502020204030204" pitchFamily="34" charset="0"/>
              </a:rPr>
              <a:t>Director loan repayment plan agreed as part of proposal</a:t>
            </a:r>
            <a:endParaRPr lang="en-GB" sz="1600" dirty="0">
              <a:solidFill>
                <a:srgbClr val="43B049"/>
              </a:solidFill>
            </a:endParaRPr>
          </a:p>
        </p:txBody>
      </p:sp>
    </p:spTree>
    <p:extLst>
      <p:ext uri="{BB962C8B-B14F-4D97-AF65-F5344CB8AC3E}">
        <p14:creationId xmlns:p14="http://schemas.microsoft.com/office/powerpoint/2010/main" val="589823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565079" y="2021370"/>
            <a:ext cx="8640566" cy="1740733"/>
          </a:xfrm>
        </p:spPr>
        <p:txBody>
          <a:bodyPr/>
          <a:lstStyle/>
          <a:p>
            <a:r>
              <a:rPr lang="en-US" dirty="0"/>
              <a:t>04. The Impacts on Value of Leverage</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prstGeom prst="rect">
            <a:avLst/>
          </a:prstGeom>
        </p:spPr>
        <p:txBody>
          <a:bodyPr/>
          <a:lstStyle/>
          <a:p>
            <a:fld id="{CB7FE98A-78B1-495F-8A5C-53E48422F91F}" type="slidenum">
              <a:rPr lang="en-US" smtClean="0"/>
              <a:pPr/>
              <a:t>15</a:t>
            </a:fld>
            <a:endParaRPr lang="en-US"/>
          </a:p>
        </p:txBody>
      </p:sp>
    </p:spTree>
    <p:extLst>
      <p:ext uri="{BB962C8B-B14F-4D97-AF65-F5344CB8AC3E}">
        <p14:creationId xmlns:p14="http://schemas.microsoft.com/office/powerpoint/2010/main" val="3922160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1B1FA3-985C-4F78-920D-59C608086268}"/>
              </a:ext>
            </a:extLst>
          </p:cNvPr>
          <p:cNvSpPr>
            <a:spLocks noGrp="1"/>
          </p:cNvSpPr>
          <p:nvPr>
            <p:ph type="sldNum" sz="quarter" idx="12"/>
          </p:nvPr>
        </p:nvSpPr>
        <p:spPr/>
        <p:txBody>
          <a:bodyPr/>
          <a:lstStyle/>
          <a:p>
            <a:fld id="{CB7FE98A-78B1-495F-8A5C-53E48422F91F}" type="slidenum">
              <a:rPr lang="en-US" smtClean="0"/>
              <a:pPr/>
              <a:t>16</a:t>
            </a:fld>
            <a:endParaRPr lang="en-US"/>
          </a:p>
        </p:txBody>
      </p:sp>
      <p:sp>
        <p:nvSpPr>
          <p:cNvPr id="10" name="Rectangle 9">
            <a:extLst>
              <a:ext uri="{FF2B5EF4-FFF2-40B4-BE49-F238E27FC236}">
                <a16:creationId xmlns:a16="http://schemas.microsoft.com/office/drawing/2014/main" id="{EF824B07-9954-4AB7-84A3-E6167A7AA068}"/>
              </a:ext>
            </a:extLst>
          </p:cNvPr>
          <p:cNvSpPr/>
          <p:nvPr/>
        </p:nvSpPr>
        <p:spPr>
          <a:xfrm>
            <a:off x="499285" y="1656646"/>
            <a:ext cx="4361132" cy="1079653"/>
          </a:xfrm>
          <a:prstGeom prst="rect">
            <a:avLst/>
          </a:prstGeom>
          <a:no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100"/>
              </a:spcBef>
              <a:spcAft>
                <a:spcPts val="100"/>
              </a:spcAft>
              <a:buClr>
                <a:srgbClr val="13B5EA"/>
              </a:buClr>
              <a:defRPr/>
            </a:pPr>
            <a:r>
              <a:rPr lang="en-US" sz="1000" kern="0">
                <a:solidFill>
                  <a:srgbClr val="455560"/>
                </a:solidFill>
                <a:latin typeface="Arial"/>
                <a:ea typeface="MS PGothic"/>
              </a:rPr>
              <a:t> </a:t>
            </a:r>
            <a:endParaRPr lang="en-GB" sz="1000" kern="0">
              <a:solidFill>
                <a:srgbClr val="455560"/>
              </a:solidFill>
              <a:latin typeface="Arial"/>
              <a:ea typeface="MS PGothic"/>
            </a:endParaRPr>
          </a:p>
        </p:txBody>
      </p:sp>
      <p:sp>
        <p:nvSpPr>
          <p:cNvPr id="14" name="Rectangle 13">
            <a:extLst>
              <a:ext uri="{FF2B5EF4-FFF2-40B4-BE49-F238E27FC236}">
                <a16:creationId xmlns:a16="http://schemas.microsoft.com/office/drawing/2014/main" id="{6726D2DF-6F54-40B2-8995-5C26F4632420}"/>
              </a:ext>
            </a:extLst>
          </p:cNvPr>
          <p:cNvSpPr/>
          <p:nvPr/>
        </p:nvSpPr>
        <p:spPr>
          <a:xfrm>
            <a:off x="499285" y="1250771"/>
            <a:ext cx="4361132" cy="405881"/>
          </a:xfrm>
          <a:prstGeom prst="rect">
            <a:avLst/>
          </a:prstGeom>
          <a:solidFill>
            <a:srgbClr val="4C9FC8"/>
          </a:solid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BACKGROUND</a:t>
            </a:r>
          </a:p>
        </p:txBody>
      </p:sp>
      <p:grpSp>
        <p:nvGrpSpPr>
          <p:cNvPr id="15" name="Group 14">
            <a:extLst>
              <a:ext uri="{FF2B5EF4-FFF2-40B4-BE49-F238E27FC236}">
                <a16:creationId xmlns:a16="http://schemas.microsoft.com/office/drawing/2014/main" id="{DA8CB427-3793-4B1E-8AC0-0588EF287970}"/>
              </a:ext>
            </a:extLst>
          </p:cNvPr>
          <p:cNvGrpSpPr/>
          <p:nvPr/>
        </p:nvGrpSpPr>
        <p:grpSpPr>
          <a:xfrm>
            <a:off x="543632" y="1742290"/>
            <a:ext cx="4361135" cy="762022"/>
            <a:chOff x="5573101" y="2145666"/>
            <a:chExt cx="3611576" cy="762022"/>
          </a:xfrm>
        </p:grpSpPr>
        <p:grpSp>
          <p:nvGrpSpPr>
            <p:cNvPr id="21" name="Group 20">
              <a:extLst>
                <a:ext uri="{FF2B5EF4-FFF2-40B4-BE49-F238E27FC236}">
                  <a16:creationId xmlns:a16="http://schemas.microsoft.com/office/drawing/2014/main" id="{64F934D8-0E7F-4676-B8D9-9C6BA1BE5B77}"/>
                </a:ext>
              </a:extLst>
            </p:cNvPr>
            <p:cNvGrpSpPr/>
            <p:nvPr/>
          </p:nvGrpSpPr>
          <p:grpSpPr>
            <a:xfrm>
              <a:off x="5573101" y="2174073"/>
              <a:ext cx="1171364" cy="726142"/>
              <a:chOff x="7451038" y="2425242"/>
              <a:chExt cx="987968" cy="726141"/>
            </a:xfrm>
          </p:grpSpPr>
          <p:sp>
            <p:nvSpPr>
              <p:cNvPr id="26" name="TextBox 25">
                <a:extLst>
                  <a:ext uri="{FF2B5EF4-FFF2-40B4-BE49-F238E27FC236}">
                    <a16:creationId xmlns:a16="http://schemas.microsoft.com/office/drawing/2014/main" id="{E6E1A464-8B9D-4FA1-8333-6CF2BCE51D7B}"/>
                  </a:ext>
                </a:extLst>
              </p:cNvPr>
              <p:cNvSpPr txBox="1"/>
              <p:nvPr/>
            </p:nvSpPr>
            <p:spPr>
              <a:xfrm>
                <a:off x="7451040" y="2425242"/>
                <a:ext cx="987966" cy="461664"/>
              </a:xfrm>
              <a:prstGeom prst="rect">
                <a:avLst/>
              </a:prstGeom>
              <a:noFill/>
            </p:spPr>
            <p:txBody>
              <a:bodyPr wrap="square" rtlCol="0">
                <a:spAutoFit/>
              </a:bodyPr>
              <a:lstStyle/>
              <a:p>
                <a:pPr algn="ctr" defTabSz="914390">
                  <a:defRPr/>
                </a:pPr>
                <a:r>
                  <a:rPr lang="en-US" sz="2400" b="1" kern="0" dirty="0">
                    <a:solidFill>
                      <a:srgbClr val="4C9FC8"/>
                    </a:solidFill>
                  </a:rPr>
                  <a:t>£3.9m</a:t>
                </a:r>
              </a:p>
            </p:txBody>
          </p:sp>
          <p:sp>
            <p:nvSpPr>
              <p:cNvPr id="27" name="TextBox 26">
                <a:extLst>
                  <a:ext uri="{FF2B5EF4-FFF2-40B4-BE49-F238E27FC236}">
                    <a16:creationId xmlns:a16="http://schemas.microsoft.com/office/drawing/2014/main" id="{2B97F74A-F88E-4C15-9975-A780A4744C7F}"/>
                  </a:ext>
                </a:extLst>
              </p:cNvPr>
              <p:cNvSpPr txBox="1"/>
              <p:nvPr/>
            </p:nvSpPr>
            <p:spPr>
              <a:xfrm>
                <a:off x="7451038" y="2905162"/>
                <a:ext cx="987966" cy="246221"/>
              </a:xfrm>
              <a:prstGeom prst="rect">
                <a:avLst/>
              </a:prstGeom>
              <a:noFill/>
            </p:spPr>
            <p:txBody>
              <a:bodyPr wrap="square" rtlCol="0">
                <a:spAutoFit/>
              </a:bodyPr>
              <a:lstStyle/>
              <a:p>
                <a:pPr algn="ctr" defTabSz="914390">
                  <a:defRPr/>
                </a:pPr>
                <a:r>
                  <a:rPr lang="en-US" sz="1000" b="1" kern="0" dirty="0"/>
                  <a:t>Turnover </a:t>
                </a:r>
              </a:p>
            </p:txBody>
          </p:sp>
        </p:grpSp>
        <p:sp>
          <p:nvSpPr>
            <p:cNvPr id="17" name="TextBox 16">
              <a:extLst>
                <a:ext uri="{FF2B5EF4-FFF2-40B4-BE49-F238E27FC236}">
                  <a16:creationId xmlns:a16="http://schemas.microsoft.com/office/drawing/2014/main" id="{4561F819-8E77-4F6B-A0C5-9AD57FFF2F98}"/>
                </a:ext>
              </a:extLst>
            </p:cNvPr>
            <p:cNvSpPr txBox="1"/>
            <p:nvPr/>
          </p:nvSpPr>
          <p:spPr>
            <a:xfrm>
              <a:off x="7449476" y="2145666"/>
              <a:ext cx="1735201" cy="461665"/>
            </a:xfrm>
            <a:prstGeom prst="rect">
              <a:avLst/>
            </a:prstGeom>
            <a:noFill/>
          </p:spPr>
          <p:txBody>
            <a:bodyPr wrap="square" rtlCol="0">
              <a:spAutoFit/>
            </a:bodyPr>
            <a:lstStyle/>
            <a:p>
              <a:pPr algn="ctr" defTabSz="914390">
                <a:defRPr/>
              </a:pPr>
              <a:r>
                <a:rPr lang="en-US" sz="2400" b="1" kern="0" dirty="0">
                  <a:solidFill>
                    <a:srgbClr val="4C9FC8"/>
                  </a:solidFill>
                </a:rPr>
                <a:t>£1.55m</a:t>
              </a:r>
            </a:p>
          </p:txBody>
        </p:sp>
        <p:sp>
          <p:nvSpPr>
            <p:cNvPr id="18" name="TextBox 17">
              <a:extLst>
                <a:ext uri="{FF2B5EF4-FFF2-40B4-BE49-F238E27FC236}">
                  <a16:creationId xmlns:a16="http://schemas.microsoft.com/office/drawing/2014/main" id="{3E7A946C-6699-4667-B133-5E66356D480B}"/>
                </a:ext>
              </a:extLst>
            </p:cNvPr>
            <p:cNvSpPr txBox="1"/>
            <p:nvPr/>
          </p:nvSpPr>
          <p:spPr>
            <a:xfrm>
              <a:off x="7412747" y="2661467"/>
              <a:ext cx="1735202" cy="246221"/>
            </a:xfrm>
            <a:prstGeom prst="rect">
              <a:avLst/>
            </a:prstGeom>
            <a:noFill/>
          </p:spPr>
          <p:txBody>
            <a:bodyPr wrap="square" rtlCol="0">
              <a:spAutoFit/>
            </a:bodyPr>
            <a:lstStyle/>
            <a:p>
              <a:pPr algn="ctr" defTabSz="914390">
                <a:defRPr/>
              </a:pPr>
              <a:r>
                <a:rPr lang="en-US" sz="1000" b="1" kern="0" dirty="0"/>
                <a:t>Debt Structure</a:t>
              </a:r>
            </a:p>
          </p:txBody>
        </p:sp>
      </p:grpSp>
      <p:sp>
        <p:nvSpPr>
          <p:cNvPr id="30" name="Text Placeholder 4">
            <a:extLst>
              <a:ext uri="{FF2B5EF4-FFF2-40B4-BE49-F238E27FC236}">
                <a16:creationId xmlns:a16="http://schemas.microsoft.com/office/drawing/2014/main" id="{27F5C9BB-716C-4C3A-923C-95198550F432}"/>
              </a:ext>
            </a:extLst>
          </p:cNvPr>
          <p:cNvSpPr txBox="1">
            <a:spLocks/>
          </p:cNvSpPr>
          <p:nvPr/>
        </p:nvSpPr>
        <p:spPr>
          <a:xfrm>
            <a:off x="320927" y="683849"/>
            <a:ext cx="8639834" cy="274431"/>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Project Coniston – Leveraged MBO of Forklift Truck Hire and Servicing Business </a:t>
            </a:r>
            <a:endParaRPr lang="en-US" sz="1800" b="1" dirty="0"/>
          </a:p>
        </p:txBody>
      </p:sp>
      <p:sp>
        <p:nvSpPr>
          <p:cNvPr id="31" name="Title 3">
            <a:extLst>
              <a:ext uri="{FF2B5EF4-FFF2-40B4-BE49-F238E27FC236}">
                <a16:creationId xmlns:a16="http://schemas.microsoft.com/office/drawing/2014/main" id="{E3DF6E7B-7019-44D4-8147-B3A6111919A4}"/>
              </a:ext>
            </a:extLst>
          </p:cNvPr>
          <p:cNvSpPr>
            <a:spLocks noGrp="1"/>
          </p:cNvSpPr>
          <p:nvPr>
            <p:ph type="title"/>
          </p:nvPr>
        </p:nvSpPr>
        <p:spPr>
          <a:xfrm>
            <a:off x="321747" y="300301"/>
            <a:ext cx="7172164" cy="373839"/>
          </a:xfrm>
        </p:spPr>
        <p:txBody>
          <a:bodyPr>
            <a:noAutofit/>
          </a:bodyPr>
          <a:lstStyle/>
          <a:p>
            <a:r>
              <a:rPr lang="en-GB" b="1" dirty="0">
                <a:latin typeface="+mn-lt"/>
              </a:rPr>
              <a:t>CASE STUDY - LEVERAGED BUYOUTS</a:t>
            </a:r>
          </a:p>
        </p:txBody>
      </p:sp>
      <p:sp>
        <p:nvSpPr>
          <p:cNvPr id="29" name="Freeform 17">
            <a:extLst>
              <a:ext uri="{FF2B5EF4-FFF2-40B4-BE49-F238E27FC236}">
                <a16:creationId xmlns:a16="http://schemas.microsoft.com/office/drawing/2014/main" id="{5DB7EF49-FB0B-48BA-A797-A952434F4E3F}"/>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a:extLst>
              <a:ext uri="{FF2B5EF4-FFF2-40B4-BE49-F238E27FC236}">
                <a16:creationId xmlns:a16="http://schemas.microsoft.com/office/drawing/2014/main" id="{84BF5990-ED36-4FF8-9F63-F346E06E0720}"/>
              </a:ext>
            </a:extLst>
          </p:cNvPr>
          <p:cNvSpPr/>
          <p:nvPr/>
        </p:nvSpPr>
        <p:spPr>
          <a:xfrm>
            <a:off x="499285" y="2838817"/>
            <a:ext cx="4361132" cy="405881"/>
          </a:xfrm>
          <a:prstGeom prst="rect">
            <a:avLst/>
          </a:prstGeom>
          <a:solidFill>
            <a:srgbClr val="003057"/>
          </a:solid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TRANSACTION STRUCTURE - 2020</a:t>
            </a:r>
          </a:p>
        </p:txBody>
      </p:sp>
      <p:sp>
        <p:nvSpPr>
          <p:cNvPr id="38" name="Rectangle 37">
            <a:extLst>
              <a:ext uri="{FF2B5EF4-FFF2-40B4-BE49-F238E27FC236}">
                <a16:creationId xmlns:a16="http://schemas.microsoft.com/office/drawing/2014/main" id="{0DEB5D1A-77E2-448F-9499-EF0ABA20B40F}"/>
              </a:ext>
            </a:extLst>
          </p:cNvPr>
          <p:cNvSpPr/>
          <p:nvPr/>
        </p:nvSpPr>
        <p:spPr>
          <a:xfrm>
            <a:off x="499285" y="3244692"/>
            <a:ext cx="4361132" cy="3026463"/>
          </a:xfrm>
          <a:prstGeom prst="rect">
            <a:avLst/>
          </a:prstGeom>
          <a:no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dirty="0"/>
          </a:p>
        </p:txBody>
      </p:sp>
      <p:sp>
        <p:nvSpPr>
          <p:cNvPr id="40" name="Rectangle 39">
            <a:extLst>
              <a:ext uri="{FF2B5EF4-FFF2-40B4-BE49-F238E27FC236}">
                <a16:creationId xmlns:a16="http://schemas.microsoft.com/office/drawing/2014/main" id="{F0E71ED4-4167-44CC-BA14-B26D151C9FAB}"/>
              </a:ext>
            </a:extLst>
          </p:cNvPr>
          <p:cNvSpPr/>
          <p:nvPr/>
        </p:nvSpPr>
        <p:spPr>
          <a:xfrm>
            <a:off x="5125057" y="1241741"/>
            <a:ext cx="4361132" cy="405881"/>
          </a:xfrm>
          <a:prstGeom prst="rect">
            <a:avLst/>
          </a:prstGeom>
          <a:solidFill>
            <a:schemeClr val="accent2"/>
          </a:solid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WHAT IF THE TRANSACTION OCCURED IN 2023?</a:t>
            </a:r>
          </a:p>
        </p:txBody>
      </p:sp>
      <p:sp>
        <p:nvSpPr>
          <p:cNvPr id="41" name="Rectangle 40">
            <a:extLst>
              <a:ext uri="{FF2B5EF4-FFF2-40B4-BE49-F238E27FC236}">
                <a16:creationId xmlns:a16="http://schemas.microsoft.com/office/drawing/2014/main" id="{EF937332-ACC5-47E4-8881-C45025999668}"/>
              </a:ext>
            </a:extLst>
          </p:cNvPr>
          <p:cNvSpPr/>
          <p:nvPr/>
        </p:nvSpPr>
        <p:spPr>
          <a:xfrm>
            <a:off x="5125057" y="1647615"/>
            <a:ext cx="4361132" cy="4623539"/>
          </a:xfrm>
          <a:prstGeom prst="rect">
            <a:avLst/>
          </a:prstGeom>
          <a:no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dirty="0"/>
          </a:p>
        </p:txBody>
      </p:sp>
      <p:sp>
        <p:nvSpPr>
          <p:cNvPr id="19" name="TextBox 18">
            <a:extLst>
              <a:ext uri="{FF2B5EF4-FFF2-40B4-BE49-F238E27FC236}">
                <a16:creationId xmlns:a16="http://schemas.microsoft.com/office/drawing/2014/main" id="{427B5E8E-B437-405C-AFD9-B20AA0076BFA}"/>
              </a:ext>
            </a:extLst>
          </p:cNvPr>
          <p:cNvSpPr txBox="1"/>
          <p:nvPr/>
        </p:nvSpPr>
        <p:spPr>
          <a:xfrm>
            <a:off x="1779594" y="1765901"/>
            <a:ext cx="1414470" cy="461665"/>
          </a:xfrm>
          <a:prstGeom prst="rect">
            <a:avLst/>
          </a:prstGeom>
          <a:noFill/>
        </p:spPr>
        <p:txBody>
          <a:bodyPr wrap="square" rtlCol="0">
            <a:spAutoFit/>
          </a:bodyPr>
          <a:lstStyle/>
          <a:p>
            <a:pPr algn="ctr" defTabSz="914390">
              <a:defRPr/>
            </a:pPr>
            <a:r>
              <a:rPr lang="en-US" sz="2400" b="1" kern="0" dirty="0">
                <a:solidFill>
                  <a:srgbClr val="4C9FC8"/>
                </a:solidFill>
              </a:rPr>
              <a:t>£600k</a:t>
            </a:r>
          </a:p>
        </p:txBody>
      </p:sp>
      <p:sp>
        <p:nvSpPr>
          <p:cNvPr id="20" name="TextBox 19">
            <a:extLst>
              <a:ext uri="{FF2B5EF4-FFF2-40B4-BE49-F238E27FC236}">
                <a16:creationId xmlns:a16="http://schemas.microsoft.com/office/drawing/2014/main" id="{EC0257B6-B01D-454E-ABBC-3F3CA070976D}"/>
              </a:ext>
            </a:extLst>
          </p:cNvPr>
          <p:cNvSpPr txBox="1"/>
          <p:nvPr/>
        </p:nvSpPr>
        <p:spPr>
          <a:xfrm>
            <a:off x="1763699" y="2262276"/>
            <a:ext cx="1414470" cy="246221"/>
          </a:xfrm>
          <a:prstGeom prst="rect">
            <a:avLst/>
          </a:prstGeom>
          <a:noFill/>
        </p:spPr>
        <p:txBody>
          <a:bodyPr wrap="square" rtlCol="0">
            <a:spAutoFit/>
          </a:bodyPr>
          <a:lstStyle/>
          <a:p>
            <a:pPr algn="ctr" defTabSz="914390">
              <a:defRPr/>
            </a:pPr>
            <a:r>
              <a:rPr lang="en-US" sz="1000" b="1" kern="0" dirty="0"/>
              <a:t>EBITDA </a:t>
            </a:r>
          </a:p>
        </p:txBody>
      </p:sp>
      <p:sp>
        <p:nvSpPr>
          <p:cNvPr id="5" name="TextBox 4">
            <a:extLst>
              <a:ext uri="{FF2B5EF4-FFF2-40B4-BE49-F238E27FC236}">
                <a16:creationId xmlns:a16="http://schemas.microsoft.com/office/drawing/2014/main" id="{23DBEA05-A191-4153-9393-A892C90CE760}"/>
              </a:ext>
            </a:extLst>
          </p:cNvPr>
          <p:cNvSpPr txBox="1"/>
          <p:nvPr/>
        </p:nvSpPr>
        <p:spPr>
          <a:xfrm>
            <a:off x="5230810" y="4576290"/>
            <a:ext cx="4149625" cy="1138773"/>
          </a:xfrm>
          <a:prstGeom prst="rect">
            <a:avLst/>
          </a:prstGeom>
          <a:noFill/>
        </p:spPr>
        <p:txBody>
          <a:bodyPr wrap="square" rtlCol="0">
            <a:spAutoFit/>
          </a:bodyPr>
          <a:lstStyle/>
          <a:p>
            <a:endParaRPr lang="en-GB" sz="1600" dirty="0"/>
          </a:p>
          <a:p>
            <a:endParaRPr lang="en-GB" sz="1600" dirty="0"/>
          </a:p>
          <a:p>
            <a:endParaRPr lang="en-GB" dirty="0"/>
          </a:p>
          <a:p>
            <a:endParaRPr lang="en-GB" dirty="0"/>
          </a:p>
        </p:txBody>
      </p:sp>
      <p:sp>
        <p:nvSpPr>
          <p:cNvPr id="3" name="TextBox 2">
            <a:extLst>
              <a:ext uri="{FF2B5EF4-FFF2-40B4-BE49-F238E27FC236}">
                <a16:creationId xmlns:a16="http://schemas.microsoft.com/office/drawing/2014/main" id="{EDC61C2D-EB48-4C0B-B740-362156FF7EA9}"/>
              </a:ext>
            </a:extLst>
          </p:cNvPr>
          <p:cNvSpPr txBox="1"/>
          <p:nvPr/>
        </p:nvSpPr>
        <p:spPr>
          <a:xfrm>
            <a:off x="979125" y="5804819"/>
            <a:ext cx="3234301" cy="369332"/>
          </a:xfrm>
          <a:prstGeom prst="rect">
            <a:avLst/>
          </a:prstGeom>
          <a:noFill/>
        </p:spPr>
        <p:txBody>
          <a:bodyPr wrap="square" rtlCol="0">
            <a:spAutoFit/>
          </a:bodyPr>
          <a:lstStyle/>
          <a:p>
            <a:r>
              <a:rPr lang="en-GB" b="1" dirty="0">
                <a:solidFill>
                  <a:srgbClr val="43B049"/>
                </a:solidFill>
              </a:rPr>
              <a:t>EBITDA:DSC = 1.35 times</a:t>
            </a:r>
          </a:p>
        </p:txBody>
      </p:sp>
      <p:sp>
        <p:nvSpPr>
          <p:cNvPr id="8" name="TextBox 7">
            <a:extLst>
              <a:ext uri="{FF2B5EF4-FFF2-40B4-BE49-F238E27FC236}">
                <a16:creationId xmlns:a16="http://schemas.microsoft.com/office/drawing/2014/main" id="{10BCE7F0-E3F9-4E64-8F87-E2CA986500E6}"/>
              </a:ext>
            </a:extLst>
          </p:cNvPr>
          <p:cNvSpPr txBox="1"/>
          <p:nvPr/>
        </p:nvSpPr>
        <p:spPr>
          <a:xfrm>
            <a:off x="5338618" y="1765901"/>
            <a:ext cx="4023747" cy="4247317"/>
          </a:xfrm>
          <a:prstGeom prst="rect">
            <a:avLst/>
          </a:prstGeom>
          <a:noFill/>
        </p:spPr>
        <p:txBody>
          <a:bodyPr wrap="square" rtlCol="0">
            <a:spAutoFit/>
          </a:bodyPr>
          <a:lstStyle/>
          <a:p>
            <a:pPr marL="285750" indent="-285750">
              <a:buFont typeface="Arial" panose="020B0604020202020204" pitchFamily="34" charset="0"/>
              <a:buChar char="•"/>
            </a:pPr>
            <a:r>
              <a:rPr lang="en-GB" dirty="0"/>
              <a:t>BOE Base Rate is expected to increase to 6% in 2023.</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is would increase DSC to £550k per annum with EBITDA providing less than 1.1 times cover.</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o achieve EBITDA cover of 1.35 cover, the debt structure would need to decrease by £150k.</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is could potentially see a reduction in enterprise value of £150k for the vendor.</a:t>
            </a:r>
          </a:p>
          <a:p>
            <a:endParaRPr lang="en-GB" dirty="0"/>
          </a:p>
        </p:txBody>
      </p:sp>
      <p:graphicFrame>
        <p:nvGraphicFramePr>
          <p:cNvPr id="4" name="Object 3">
            <a:extLst>
              <a:ext uri="{FF2B5EF4-FFF2-40B4-BE49-F238E27FC236}">
                <a16:creationId xmlns:a16="http://schemas.microsoft.com/office/drawing/2014/main" id="{EE897D84-ABBF-4B5E-A164-8575D7854DF1}"/>
              </a:ext>
            </a:extLst>
          </p:cNvPr>
          <p:cNvGraphicFramePr>
            <a:graphicFrameLocks noChangeAspect="1"/>
          </p:cNvGraphicFramePr>
          <p:nvPr>
            <p:extLst>
              <p:ext uri="{D42A27DB-BD31-4B8C-83A1-F6EECF244321}">
                <p14:modId xmlns:p14="http://schemas.microsoft.com/office/powerpoint/2010/main" val="828710156"/>
              </p:ext>
            </p:extLst>
          </p:nvPr>
        </p:nvGraphicFramePr>
        <p:xfrm>
          <a:off x="596026" y="3330265"/>
          <a:ext cx="4045247" cy="2178210"/>
        </p:xfrm>
        <a:graphic>
          <a:graphicData uri="http://schemas.openxmlformats.org/presentationml/2006/ole">
            <mc:AlternateContent xmlns:mc="http://schemas.openxmlformats.org/markup-compatibility/2006">
              <mc:Choice xmlns:v="urn:schemas-microsoft-com:vml" Requires="v">
                <p:oleObj name="Worksheet" r:id="rId3" imgW="2724124" imgH="1466781" progId="Excel.Sheet.12">
                  <p:embed/>
                </p:oleObj>
              </mc:Choice>
              <mc:Fallback>
                <p:oleObj name="Worksheet" r:id="rId3" imgW="2724124" imgH="1466781" progId="Excel.Sheet.12">
                  <p:embed/>
                  <p:pic>
                    <p:nvPicPr>
                      <p:cNvPr id="4" name="Object 3">
                        <a:extLst>
                          <a:ext uri="{FF2B5EF4-FFF2-40B4-BE49-F238E27FC236}">
                            <a16:creationId xmlns:a16="http://schemas.microsoft.com/office/drawing/2014/main" id="{EE897D84-ABBF-4B5E-A164-8575D7854DF1}"/>
                          </a:ext>
                        </a:extLst>
                      </p:cNvPr>
                      <p:cNvPicPr/>
                      <p:nvPr/>
                    </p:nvPicPr>
                    <p:blipFill>
                      <a:blip r:embed="rId4"/>
                      <a:stretch>
                        <a:fillRect/>
                      </a:stretch>
                    </p:blipFill>
                    <p:spPr>
                      <a:xfrm>
                        <a:off x="596026" y="3330265"/>
                        <a:ext cx="4045247" cy="2178210"/>
                      </a:xfrm>
                      <a:prstGeom prst="rect">
                        <a:avLst/>
                      </a:prstGeom>
                    </p:spPr>
                  </p:pic>
                </p:oleObj>
              </mc:Fallback>
            </mc:AlternateContent>
          </a:graphicData>
        </a:graphic>
      </p:graphicFrame>
    </p:spTree>
    <p:extLst>
      <p:ext uri="{BB962C8B-B14F-4D97-AF65-F5344CB8AC3E}">
        <p14:creationId xmlns:p14="http://schemas.microsoft.com/office/powerpoint/2010/main" val="655683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1B1FA3-985C-4F78-920D-59C608086268}"/>
              </a:ext>
            </a:extLst>
          </p:cNvPr>
          <p:cNvSpPr>
            <a:spLocks noGrp="1"/>
          </p:cNvSpPr>
          <p:nvPr>
            <p:ph type="sldNum" sz="quarter" idx="12"/>
          </p:nvPr>
        </p:nvSpPr>
        <p:spPr/>
        <p:txBody>
          <a:bodyPr/>
          <a:lstStyle/>
          <a:p>
            <a:fld id="{CB7FE98A-78B1-495F-8A5C-53E48422F91F}" type="slidenum">
              <a:rPr lang="en-US" smtClean="0"/>
              <a:pPr/>
              <a:t>17</a:t>
            </a:fld>
            <a:endParaRPr lang="en-US"/>
          </a:p>
        </p:txBody>
      </p:sp>
      <p:sp>
        <p:nvSpPr>
          <p:cNvPr id="10" name="Rectangle 9">
            <a:extLst>
              <a:ext uri="{FF2B5EF4-FFF2-40B4-BE49-F238E27FC236}">
                <a16:creationId xmlns:a16="http://schemas.microsoft.com/office/drawing/2014/main" id="{EF824B07-9954-4AB7-84A3-E6167A7AA068}"/>
              </a:ext>
            </a:extLst>
          </p:cNvPr>
          <p:cNvSpPr/>
          <p:nvPr/>
        </p:nvSpPr>
        <p:spPr>
          <a:xfrm>
            <a:off x="499285" y="1656646"/>
            <a:ext cx="4361132" cy="1079653"/>
          </a:xfrm>
          <a:prstGeom prst="rect">
            <a:avLst/>
          </a:prstGeom>
          <a:no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100"/>
              </a:spcBef>
              <a:spcAft>
                <a:spcPts val="100"/>
              </a:spcAft>
              <a:buClr>
                <a:srgbClr val="13B5EA"/>
              </a:buClr>
              <a:defRPr/>
            </a:pPr>
            <a:r>
              <a:rPr lang="en-US" sz="1000" kern="0">
                <a:solidFill>
                  <a:srgbClr val="455560"/>
                </a:solidFill>
                <a:latin typeface="Arial"/>
                <a:ea typeface="MS PGothic"/>
              </a:rPr>
              <a:t> </a:t>
            </a:r>
            <a:endParaRPr lang="en-GB" sz="1000" kern="0">
              <a:solidFill>
                <a:srgbClr val="455560"/>
              </a:solidFill>
              <a:latin typeface="Arial"/>
              <a:ea typeface="MS PGothic"/>
            </a:endParaRPr>
          </a:p>
        </p:txBody>
      </p:sp>
      <p:sp>
        <p:nvSpPr>
          <p:cNvPr id="14" name="Rectangle 13">
            <a:extLst>
              <a:ext uri="{FF2B5EF4-FFF2-40B4-BE49-F238E27FC236}">
                <a16:creationId xmlns:a16="http://schemas.microsoft.com/office/drawing/2014/main" id="{6726D2DF-6F54-40B2-8995-5C26F4632420}"/>
              </a:ext>
            </a:extLst>
          </p:cNvPr>
          <p:cNvSpPr/>
          <p:nvPr/>
        </p:nvSpPr>
        <p:spPr>
          <a:xfrm>
            <a:off x="499285" y="1250771"/>
            <a:ext cx="4361132" cy="405881"/>
          </a:xfrm>
          <a:prstGeom prst="rect">
            <a:avLst/>
          </a:prstGeom>
          <a:solidFill>
            <a:srgbClr val="4C9FC8"/>
          </a:solid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TRADING PERFORMANCE (PRE-COVID)</a:t>
            </a:r>
          </a:p>
        </p:txBody>
      </p:sp>
      <p:grpSp>
        <p:nvGrpSpPr>
          <p:cNvPr id="15" name="Group 14">
            <a:extLst>
              <a:ext uri="{FF2B5EF4-FFF2-40B4-BE49-F238E27FC236}">
                <a16:creationId xmlns:a16="http://schemas.microsoft.com/office/drawing/2014/main" id="{DA8CB427-3793-4B1E-8AC0-0588EF287970}"/>
              </a:ext>
            </a:extLst>
          </p:cNvPr>
          <p:cNvGrpSpPr/>
          <p:nvPr/>
        </p:nvGrpSpPr>
        <p:grpSpPr>
          <a:xfrm>
            <a:off x="608284" y="1742290"/>
            <a:ext cx="4361135" cy="762022"/>
            <a:chOff x="5573101" y="2145666"/>
            <a:chExt cx="3611576" cy="762022"/>
          </a:xfrm>
        </p:grpSpPr>
        <p:grpSp>
          <p:nvGrpSpPr>
            <p:cNvPr id="21" name="Group 20">
              <a:extLst>
                <a:ext uri="{FF2B5EF4-FFF2-40B4-BE49-F238E27FC236}">
                  <a16:creationId xmlns:a16="http://schemas.microsoft.com/office/drawing/2014/main" id="{64F934D8-0E7F-4676-B8D9-9C6BA1BE5B77}"/>
                </a:ext>
              </a:extLst>
            </p:cNvPr>
            <p:cNvGrpSpPr/>
            <p:nvPr/>
          </p:nvGrpSpPr>
          <p:grpSpPr>
            <a:xfrm>
              <a:off x="5573101" y="2146641"/>
              <a:ext cx="1171364" cy="753574"/>
              <a:chOff x="7451038" y="2397810"/>
              <a:chExt cx="987968" cy="753573"/>
            </a:xfrm>
          </p:grpSpPr>
          <p:sp>
            <p:nvSpPr>
              <p:cNvPr id="26" name="TextBox 25">
                <a:extLst>
                  <a:ext uri="{FF2B5EF4-FFF2-40B4-BE49-F238E27FC236}">
                    <a16:creationId xmlns:a16="http://schemas.microsoft.com/office/drawing/2014/main" id="{E6E1A464-8B9D-4FA1-8333-6CF2BCE51D7B}"/>
                  </a:ext>
                </a:extLst>
              </p:cNvPr>
              <p:cNvSpPr txBox="1"/>
              <p:nvPr/>
            </p:nvSpPr>
            <p:spPr>
              <a:xfrm>
                <a:off x="7451040" y="2397810"/>
                <a:ext cx="987966" cy="461664"/>
              </a:xfrm>
              <a:prstGeom prst="rect">
                <a:avLst/>
              </a:prstGeom>
              <a:noFill/>
            </p:spPr>
            <p:txBody>
              <a:bodyPr wrap="square" rtlCol="0">
                <a:spAutoFit/>
              </a:bodyPr>
              <a:lstStyle/>
              <a:p>
                <a:pPr algn="ctr" defTabSz="914390">
                  <a:defRPr/>
                </a:pPr>
                <a:r>
                  <a:rPr lang="en-US" sz="2400" b="1" kern="0" dirty="0">
                    <a:solidFill>
                      <a:srgbClr val="4C9FC8"/>
                    </a:solidFill>
                  </a:rPr>
                  <a:t>£27.5m</a:t>
                </a:r>
              </a:p>
            </p:txBody>
          </p:sp>
          <p:sp>
            <p:nvSpPr>
              <p:cNvPr id="27" name="TextBox 26">
                <a:extLst>
                  <a:ext uri="{FF2B5EF4-FFF2-40B4-BE49-F238E27FC236}">
                    <a16:creationId xmlns:a16="http://schemas.microsoft.com/office/drawing/2014/main" id="{2B97F74A-F88E-4C15-9975-A780A4744C7F}"/>
                  </a:ext>
                </a:extLst>
              </p:cNvPr>
              <p:cNvSpPr txBox="1"/>
              <p:nvPr/>
            </p:nvSpPr>
            <p:spPr>
              <a:xfrm>
                <a:off x="7451038" y="2905162"/>
                <a:ext cx="987966" cy="246221"/>
              </a:xfrm>
              <a:prstGeom prst="rect">
                <a:avLst/>
              </a:prstGeom>
              <a:noFill/>
            </p:spPr>
            <p:txBody>
              <a:bodyPr wrap="square" rtlCol="0">
                <a:spAutoFit/>
              </a:bodyPr>
              <a:lstStyle/>
              <a:p>
                <a:pPr algn="ctr" defTabSz="914390">
                  <a:defRPr/>
                </a:pPr>
                <a:r>
                  <a:rPr lang="en-US" sz="1000" b="1" kern="0" dirty="0"/>
                  <a:t>Turnover </a:t>
                </a:r>
              </a:p>
            </p:txBody>
          </p:sp>
        </p:grpSp>
        <p:sp>
          <p:nvSpPr>
            <p:cNvPr id="17" name="TextBox 16">
              <a:extLst>
                <a:ext uri="{FF2B5EF4-FFF2-40B4-BE49-F238E27FC236}">
                  <a16:creationId xmlns:a16="http://schemas.microsoft.com/office/drawing/2014/main" id="{4561F819-8E77-4F6B-A0C5-9AD57FFF2F98}"/>
                </a:ext>
              </a:extLst>
            </p:cNvPr>
            <p:cNvSpPr txBox="1"/>
            <p:nvPr/>
          </p:nvSpPr>
          <p:spPr>
            <a:xfrm>
              <a:off x="7449476" y="2145666"/>
              <a:ext cx="1735201" cy="461665"/>
            </a:xfrm>
            <a:prstGeom prst="rect">
              <a:avLst/>
            </a:prstGeom>
            <a:noFill/>
          </p:spPr>
          <p:txBody>
            <a:bodyPr wrap="square" rtlCol="0">
              <a:spAutoFit/>
            </a:bodyPr>
            <a:lstStyle/>
            <a:p>
              <a:pPr algn="ctr" defTabSz="914390">
                <a:defRPr/>
              </a:pPr>
              <a:r>
                <a:rPr lang="en-US" sz="2400" b="1" kern="0" dirty="0">
                  <a:solidFill>
                    <a:srgbClr val="4C9FC8"/>
                  </a:solidFill>
                </a:rPr>
                <a:t>£3.77m</a:t>
              </a:r>
            </a:p>
          </p:txBody>
        </p:sp>
        <p:sp>
          <p:nvSpPr>
            <p:cNvPr id="18" name="TextBox 17">
              <a:extLst>
                <a:ext uri="{FF2B5EF4-FFF2-40B4-BE49-F238E27FC236}">
                  <a16:creationId xmlns:a16="http://schemas.microsoft.com/office/drawing/2014/main" id="{3E7A946C-6699-4667-B133-5E66356D480B}"/>
                </a:ext>
              </a:extLst>
            </p:cNvPr>
            <p:cNvSpPr txBox="1"/>
            <p:nvPr/>
          </p:nvSpPr>
          <p:spPr>
            <a:xfrm>
              <a:off x="7412747" y="2661467"/>
              <a:ext cx="1735202" cy="246221"/>
            </a:xfrm>
            <a:prstGeom prst="rect">
              <a:avLst/>
            </a:prstGeom>
            <a:noFill/>
          </p:spPr>
          <p:txBody>
            <a:bodyPr wrap="square" rtlCol="0">
              <a:spAutoFit/>
            </a:bodyPr>
            <a:lstStyle/>
            <a:p>
              <a:pPr algn="ctr" defTabSz="914390">
                <a:defRPr/>
              </a:pPr>
              <a:r>
                <a:rPr lang="en-US" sz="1000" b="1" kern="0" dirty="0"/>
                <a:t>Debt Structure</a:t>
              </a:r>
            </a:p>
          </p:txBody>
        </p:sp>
      </p:grpSp>
      <p:sp>
        <p:nvSpPr>
          <p:cNvPr id="30" name="Text Placeholder 4">
            <a:extLst>
              <a:ext uri="{FF2B5EF4-FFF2-40B4-BE49-F238E27FC236}">
                <a16:creationId xmlns:a16="http://schemas.microsoft.com/office/drawing/2014/main" id="{27F5C9BB-716C-4C3A-923C-95198550F432}"/>
              </a:ext>
            </a:extLst>
          </p:cNvPr>
          <p:cNvSpPr txBox="1">
            <a:spLocks/>
          </p:cNvSpPr>
          <p:nvPr/>
        </p:nvSpPr>
        <p:spPr>
          <a:xfrm>
            <a:off x="320927" y="683849"/>
            <a:ext cx="8639834" cy="274431"/>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Project Cake – Disposal Options Pre and Post COVID-19</a:t>
            </a:r>
            <a:endParaRPr lang="en-US" sz="1800" b="1" dirty="0"/>
          </a:p>
        </p:txBody>
      </p:sp>
      <p:sp>
        <p:nvSpPr>
          <p:cNvPr id="31" name="Title 3">
            <a:extLst>
              <a:ext uri="{FF2B5EF4-FFF2-40B4-BE49-F238E27FC236}">
                <a16:creationId xmlns:a16="http://schemas.microsoft.com/office/drawing/2014/main" id="{E3DF6E7B-7019-44D4-8147-B3A6111919A4}"/>
              </a:ext>
            </a:extLst>
          </p:cNvPr>
          <p:cNvSpPr>
            <a:spLocks noGrp="1"/>
          </p:cNvSpPr>
          <p:nvPr>
            <p:ph type="title"/>
          </p:nvPr>
        </p:nvSpPr>
        <p:spPr>
          <a:xfrm>
            <a:off x="321747" y="300301"/>
            <a:ext cx="7172164" cy="373839"/>
          </a:xfrm>
        </p:spPr>
        <p:txBody>
          <a:bodyPr>
            <a:noAutofit/>
          </a:bodyPr>
          <a:lstStyle/>
          <a:p>
            <a:r>
              <a:rPr lang="en-GB" b="1" dirty="0">
                <a:latin typeface="+mn-lt"/>
              </a:rPr>
              <a:t>CASE STUDY - LEVERAGED BALANCE SHEETS</a:t>
            </a:r>
          </a:p>
        </p:txBody>
      </p:sp>
      <p:sp>
        <p:nvSpPr>
          <p:cNvPr id="29" name="Freeform 17">
            <a:extLst>
              <a:ext uri="{FF2B5EF4-FFF2-40B4-BE49-F238E27FC236}">
                <a16:creationId xmlns:a16="http://schemas.microsoft.com/office/drawing/2014/main" id="{5DB7EF49-FB0B-48BA-A797-A952434F4E3F}"/>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a:extLst>
              <a:ext uri="{FF2B5EF4-FFF2-40B4-BE49-F238E27FC236}">
                <a16:creationId xmlns:a16="http://schemas.microsoft.com/office/drawing/2014/main" id="{84BF5990-ED36-4FF8-9F63-F346E06E0720}"/>
              </a:ext>
            </a:extLst>
          </p:cNvPr>
          <p:cNvSpPr/>
          <p:nvPr/>
        </p:nvSpPr>
        <p:spPr>
          <a:xfrm>
            <a:off x="499285" y="2838817"/>
            <a:ext cx="4361132" cy="405881"/>
          </a:xfrm>
          <a:prstGeom prst="rect">
            <a:avLst/>
          </a:prstGeom>
          <a:solidFill>
            <a:srgbClr val="003057"/>
          </a:solid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BALANCE SHEET – JAN-20 </a:t>
            </a:r>
          </a:p>
        </p:txBody>
      </p:sp>
      <p:sp>
        <p:nvSpPr>
          <p:cNvPr id="38" name="Rectangle 37">
            <a:extLst>
              <a:ext uri="{FF2B5EF4-FFF2-40B4-BE49-F238E27FC236}">
                <a16:creationId xmlns:a16="http://schemas.microsoft.com/office/drawing/2014/main" id="{0DEB5D1A-77E2-448F-9499-EF0ABA20B40F}"/>
              </a:ext>
            </a:extLst>
          </p:cNvPr>
          <p:cNvSpPr/>
          <p:nvPr/>
        </p:nvSpPr>
        <p:spPr>
          <a:xfrm>
            <a:off x="499285" y="3244692"/>
            <a:ext cx="4361132" cy="3026463"/>
          </a:xfrm>
          <a:prstGeom prst="rect">
            <a:avLst/>
          </a:prstGeom>
          <a:no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dirty="0"/>
          </a:p>
        </p:txBody>
      </p:sp>
      <p:sp>
        <p:nvSpPr>
          <p:cNvPr id="40" name="Rectangle 39">
            <a:extLst>
              <a:ext uri="{FF2B5EF4-FFF2-40B4-BE49-F238E27FC236}">
                <a16:creationId xmlns:a16="http://schemas.microsoft.com/office/drawing/2014/main" id="{F0E71ED4-4167-44CC-BA14-B26D151C9FAB}"/>
              </a:ext>
            </a:extLst>
          </p:cNvPr>
          <p:cNvSpPr/>
          <p:nvPr/>
        </p:nvSpPr>
        <p:spPr>
          <a:xfrm>
            <a:off x="5125057" y="1241741"/>
            <a:ext cx="4361132" cy="405881"/>
          </a:xfrm>
          <a:prstGeom prst="rect">
            <a:avLst/>
          </a:prstGeom>
          <a:solidFill>
            <a:schemeClr val="accent2"/>
          </a:solid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UPDATED PERFORMANCE (POST-COVID)</a:t>
            </a:r>
          </a:p>
        </p:txBody>
      </p:sp>
      <p:sp>
        <p:nvSpPr>
          <p:cNvPr id="41" name="Rectangle 40">
            <a:extLst>
              <a:ext uri="{FF2B5EF4-FFF2-40B4-BE49-F238E27FC236}">
                <a16:creationId xmlns:a16="http://schemas.microsoft.com/office/drawing/2014/main" id="{EF937332-ACC5-47E4-8881-C45025999668}"/>
              </a:ext>
            </a:extLst>
          </p:cNvPr>
          <p:cNvSpPr/>
          <p:nvPr/>
        </p:nvSpPr>
        <p:spPr>
          <a:xfrm>
            <a:off x="5125057" y="1647616"/>
            <a:ext cx="4361132" cy="1088684"/>
          </a:xfrm>
          <a:prstGeom prst="rect">
            <a:avLst/>
          </a:prstGeom>
          <a:no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dirty="0"/>
          </a:p>
        </p:txBody>
      </p:sp>
      <p:sp>
        <p:nvSpPr>
          <p:cNvPr id="19" name="TextBox 18">
            <a:extLst>
              <a:ext uri="{FF2B5EF4-FFF2-40B4-BE49-F238E27FC236}">
                <a16:creationId xmlns:a16="http://schemas.microsoft.com/office/drawing/2014/main" id="{427B5E8E-B437-405C-AFD9-B20AA0076BFA}"/>
              </a:ext>
            </a:extLst>
          </p:cNvPr>
          <p:cNvSpPr txBox="1"/>
          <p:nvPr/>
        </p:nvSpPr>
        <p:spPr>
          <a:xfrm>
            <a:off x="1844246" y="1765901"/>
            <a:ext cx="1414470" cy="461665"/>
          </a:xfrm>
          <a:prstGeom prst="rect">
            <a:avLst/>
          </a:prstGeom>
          <a:noFill/>
        </p:spPr>
        <p:txBody>
          <a:bodyPr wrap="square" rtlCol="0">
            <a:spAutoFit/>
          </a:bodyPr>
          <a:lstStyle/>
          <a:p>
            <a:pPr algn="ctr" defTabSz="914390">
              <a:defRPr/>
            </a:pPr>
            <a:r>
              <a:rPr lang="en-US" sz="2400" b="1" kern="0" dirty="0">
                <a:solidFill>
                  <a:srgbClr val="4C9FC8"/>
                </a:solidFill>
              </a:rPr>
              <a:t>£2m</a:t>
            </a:r>
          </a:p>
        </p:txBody>
      </p:sp>
      <p:sp>
        <p:nvSpPr>
          <p:cNvPr id="20" name="TextBox 19">
            <a:extLst>
              <a:ext uri="{FF2B5EF4-FFF2-40B4-BE49-F238E27FC236}">
                <a16:creationId xmlns:a16="http://schemas.microsoft.com/office/drawing/2014/main" id="{EC0257B6-B01D-454E-ABBC-3F3CA070976D}"/>
              </a:ext>
            </a:extLst>
          </p:cNvPr>
          <p:cNvSpPr txBox="1"/>
          <p:nvPr/>
        </p:nvSpPr>
        <p:spPr>
          <a:xfrm>
            <a:off x="1828351" y="2262276"/>
            <a:ext cx="1414470" cy="246221"/>
          </a:xfrm>
          <a:prstGeom prst="rect">
            <a:avLst/>
          </a:prstGeom>
          <a:noFill/>
        </p:spPr>
        <p:txBody>
          <a:bodyPr wrap="square" rtlCol="0">
            <a:spAutoFit/>
          </a:bodyPr>
          <a:lstStyle/>
          <a:p>
            <a:pPr algn="ctr" defTabSz="914390">
              <a:defRPr/>
            </a:pPr>
            <a:r>
              <a:rPr lang="en-US" sz="1000" b="1" kern="0" dirty="0"/>
              <a:t>EBITDA </a:t>
            </a:r>
          </a:p>
        </p:txBody>
      </p:sp>
      <p:sp>
        <p:nvSpPr>
          <p:cNvPr id="23" name="Rectangle 22">
            <a:extLst>
              <a:ext uri="{FF2B5EF4-FFF2-40B4-BE49-F238E27FC236}">
                <a16:creationId xmlns:a16="http://schemas.microsoft.com/office/drawing/2014/main" id="{592BC8C0-031C-4147-974B-7749E496981E}"/>
              </a:ext>
            </a:extLst>
          </p:cNvPr>
          <p:cNvSpPr/>
          <p:nvPr/>
        </p:nvSpPr>
        <p:spPr>
          <a:xfrm>
            <a:off x="5122529" y="2864160"/>
            <a:ext cx="4361132" cy="405881"/>
          </a:xfrm>
          <a:prstGeom prst="rect">
            <a:avLst/>
          </a:prstGeom>
          <a:solidFill>
            <a:srgbClr val="455560"/>
          </a:solidFill>
          <a:ln w="6350" cap="flat" cmpd="sng" algn="ctr">
            <a:solidFill>
              <a:srgbClr val="4555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BALANCE SHEET – JUN-22 </a:t>
            </a:r>
          </a:p>
        </p:txBody>
      </p:sp>
      <p:sp>
        <p:nvSpPr>
          <p:cNvPr id="24" name="Rectangle 23">
            <a:extLst>
              <a:ext uri="{FF2B5EF4-FFF2-40B4-BE49-F238E27FC236}">
                <a16:creationId xmlns:a16="http://schemas.microsoft.com/office/drawing/2014/main" id="{1F9313A0-8876-4B49-A33C-E493E45AB347}"/>
              </a:ext>
            </a:extLst>
          </p:cNvPr>
          <p:cNvSpPr/>
          <p:nvPr/>
        </p:nvSpPr>
        <p:spPr>
          <a:xfrm>
            <a:off x="5122529" y="3270035"/>
            <a:ext cx="4361132" cy="3026463"/>
          </a:xfrm>
          <a:prstGeom prst="rect">
            <a:avLst/>
          </a:prstGeom>
          <a:noFill/>
          <a:ln w="6350" cap="flat" cmpd="sng" algn="ctr">
            <a:solidFill>
              <a:srgbClr val="455560"/>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dirty="0"/>
          </a:p>
        </p:txBody>
      </p:sp>
      <p:grpSp>
        <p:nvGrpSpPr>
          <p:cNvPr id="25" name="Group 24">
            <a:extLst>
              <a:ext uri="{FF2B5EF4-FFF2-40B4-BE49-F238E27FC236}">
                <a16:creationId xmlns:a16="http://schemas.microsoft.com/office/drawing/2014/main" id="{E571EEF0-9F03-420A-85ED-B0F2DB28F5DF}"/>
              </a:ext>
            </a:extLst>
          </p:cNvPr>
          <p:cNvGrpSpPr/>
          <p:nvPr/>
        </p:nvGrpSpPr>
        <p:grpSpPr>
          <a:xfrm>
            <a:off x="5389694" y="1765901"/>
            <a:ext cx="4361135" cy="762022"/>
            <a:chOff x="5573101" y="2145666"/>
            <a:chExt cx="3611576" cy="762022"/>
          </a:xfrm>
        </p:grpSpPr>
        <p:grpSp>
          <p:nvGrpSpPr>
            <p:cNvPr id="28" name="Group 27">
              <a:extLst>
                <a:ext uri="{FF2B5EF4-FFF2-40B4-BE49-F238E27FC236}">
                  <a16:creationId xmlns:a16="http://schemas.microsoft.com/office/drawing/2014/main" id="{13F258AF-3FE5-4ABD-800A-1338AE3DE5B9}"/>
                </a:ext>
              </a:extLst>
            </p:cNvPr>
            <p:cNvGrpSpPr/>
            <p:nvPr/>
          </p:nvGrpSpPr>
          <p:grpSpPr>
            <a:xfrm>
              <a:off x="5573101" y="2146641"/>
              <a:ext cx="1171364" cy="753574"/>
              <a:chOff x="7451038" y="2397810"/>
              <a:chExt cx="987968" cy="753573"/>
            </a:xfrm>
          </p:grpSpPr>
          <p:sp>
            <p:nvSpPr>
              <p:cNvPr id="34" name="TextBox 33">
                <a:extLst>
                  <a:ext uri="{FF2B5EF4-FFF2-40B4-BE49-F238E27FC236}">
                    <a16:creationId xmlns:a16="http://schemas.microsoft.com/office/drawing/2014/main" id="{199441EA-A875-421D-B28D-B9176FE3A359}"/>
                  </a:ext>
                </a:extLst>
              </p:cNvPr>
              <p:cNvSpPr txBox="1"/>
              <p:nvPr/>
            </p:nvSpPr>
            <p:spPr>
              <a:xfrm>
                <a:off x="7451040" y="2397810"/>
                <a:ext cx="987966" cy="461664"/>
              </a:xfrm>
              <a:prstGeom prst="rect">
                <a:avLst/>
              </a:prstGeom>
              <a:noFill/>
            </p:spPr>
            <p:txBody>
              <a:bodyPr wrap="square" rtlCol="0">
                <a:spAutoFit/>
              </a:bodyPr>
              <a:lstStyle/>
              <a:p>
                <a:pPr algn="ctr" defTabSz="914390">
                  <a:defRPr/>
                </a:pPr>
                <a:r>
                  <a:rPr lang="en-US" sz="2400" b="1" kern="0" dirty="0">
                    <a:solidFill>
                      <a:srgbClr val="4C9FC8"/>
                    </a:solidFill>
                  </a:rPr>
                  <a:t>£21.8m</a:t>
                </a:r>
              </a:p>
            </p:txBody>
          </p:sp>
          <p:sp>
            <p:nvSpPr>
              <p:cNvPr id="35" name="TextBox 34">
                <a:extLst>
                  <a:ext uri="{FF2B5EF4-FFF2-40B4-BE49-F238E27FC236}">
                    <a16:creationId xmlns:a16="http://schemas.microsoft.com/office/drawing/2014/main" id="{29D93A7F-3301-4007-81E7-CCDC5E59085D}"/>
                  </a:ext>
                </a:extLst>
              </p:cNvPr>
              <p:cNvSpPr txBox="1"/>
              <p:nvPr/>
            </p:nvSpPr>
            <p:spPr>
              <a:xfrm>
                <a:off x="7451038" y="2905162"/>
                <a:ext cx="987966" cy="246221"/>
              </a:xfrm>
              <a:prstGeom prst="rect">
                <a:avLst/>
              </a:prstGeom>
              <a:noFill/>
            </p:spPr>
            <p:txBody>
              <a:bodyPr wrap="square" rtlCol="0">
                <a:spAutoFit/>
              </a:bodyPr>
              <a:lstStyle/>
              <a:p>
                <a:pPr algn="ctr" defTabSz="914390">
                  <a:defRPr/>
                </a:pPr>
                <a:r>
                  <a:rPr lang="en-US" sz="1000" b="1" kern="0" dirty="0"/>
                  <a:t>Turnover </a:t>
                </a:r>
              </a:p>
            </p:txBody>
          </p:sp>
        </p:grpSp>
        <p:sp>
          <p:nvSpPr>
            <p:cNvPr id="32" name="TextBox 31">
              <a:extLst>
                <a:ext uri="{FF2B5EF4-FFF2-40B4-BE49-F238E27FC236}">
                  <a16:creationId xmlns:a16="http://schemas.microsoft.com/office/drawing/2014/main" id="{EB62CF20-6362-4021-BA3F-945C62BBFC9D}"/>
                </a:ext>
              </a:extLst>
            </p:cNvPr>
            <p:cNvSpPr txBox="1"/>
            <p:nvPr/>
          </p:nvSpPr>
          <p:spPr>
            <a:xfrm>
              <a:off x="7449476" y="2145666"/>
              <a:ext cx="1735201" cy="461665"/>
            </a:xfrm>
            <a:prstGeom prst="rect">
              <a:avLst/>
            </a:prstGeom>
            <a:noFill/>
          </p:spPr>
          <p:txBody>
            <a:bodyPr wrap="square" rtlCol="0">
              <a:spAutoFit/>
            </a:bodyPr>
            <a:lstStyle/>
            <a:p>
              <a:pPr algn="ctr" defTabSz="914390">
                <a:defRPr/>
              </a:pPr>
              <a:r>
                <a:rPr lang="en-US" sz="2400" b="1" kern="0" dirty="0">
                  <a:solidFill>
                    <a:srgbClr val="4C9FC8"/>
                  </a:solidFill>
                </a:rPr>
                <a:t>£5.8m</a:t>
              </a:r>
            </a:p>
          </p:txBody>
        </p:sp>
        <p:sp>
          <p:nvSpPr>
            <p:cNvPr id="33" name="TextBox 32">
              <a:extLst>
                <a:ext uri="{FF2B5EF4-FFF2-40B4-BE49-F238E27FC236}">
                  <a16:creationId xmlns:a16="http://schemas.microsoft.com/office/drawing/2014/main" id="{2B881099-5FC0-4E3F-925F-1F56E660F9E9}"/>
                </a:ext>
              </a:extLst>
            </p:cNvPr>
            <p:cNvSpPr txBox="1"/>
            <p:nvPr/>
          </p:nvSpPr>
          <p:spPr>
            <a:xfrm>
              <a:off x="7412747" y="2661467"/>
              <a:ext cx="1735202" cy="246221"/>
            </a:xfrm>
            <a:prstGeom prst="rect">
              <a:avLst/>
            </a:prstGeom>
            <a:noFill/>
          </p:spPr>
          <p:txBody>
            <a:bodyPr wrap="square" rtlCol="0">
              <a:spAutoFit/>
            </a:bodyPr>
            <a:lstStyle/>
            <a:p>
              <a:pPr algn="ctr" defTabSz="914390">
                <a:defRPr/>
              </a:pPr>
              <a:r>
                <a:rPr lang="en-US" sz="1000" b="1" kern="0" dirty="0"/>
                <a:t>Debt Structure</a:t>
              </a:r>
            </a:p>
          </p:txBody>
        </p:sp>
      </p:grpSp>
      <p:sp>
        <p:nvSpPr>
          <p:cNvPr id="36" name="TextBox 35">
            <a:extLst>
              <a:ext uri="{FF2B5EF4-FFF2-40B4-BE49-F238E27FC236}">
                <a16:creationId xmlns:a16="http://schemas.microsoft.com/office/drawing/2014/main" id="{99B931AF-301E-4985-883A-5B324F7A719E}"/>
              </a:ext>
            </a:extLst>
          </p:cNvPr>
          <p:cNvSpPr txBox="1"/>
          <p:nvPr/>
        </p:nvSpPr>
        <p:spPr>
          <a:xfrm>
            <a:off x="6625656" y="1789512"/>
            <a:ext cx="1414470" cy="461665"/>
          </a:xfrm>
          <a:prstGeom prst="rect">
            <a:avLst/>
          </a:prstGeom>
          <a:noFill/>
        </p:spPr>
        <p:txBody>
          <a:bodyPr wrap="square" rtlCol="0">
            <a:spAutoFit/>
          </a:bodyPr>
          <a:lstStyle/>
          <a:p>
            <a:pPr algn="ctr" defTabSz="914390">
              <a:defRPr/>
            </a:pPr>
            <a:r>
              <a:rPr lang="en-US" sz="2400" b="1" kern="0" dirty="0">
                <a:solidFill>
                  <a:srgbClr val="4C9FC8"/>
                </a:solidFill>
              </a:rPr>
              <a:t>£700k</a:t>
            </a:r>
          </a:p>
        </p:txBody>
      </p:sp>
      <p:sp>
        <p:nvSpPr>
          <p:cNvPr id="39" name="TextBox 38">
            <a:extLst>
              <a:ext uri="{FF2B5EF4-FFF2-40B4-BE49-F238E27FC236}">
                <a16:creationId xmlns:a16="http://schemas.microsoft.com/office/drawing/2014/main" id="{27E7A559-26A8-494B-BC83-E70123146510}"/>
              </a:ext>
            </a:extLst>
          </p:cNvPr>
          <p:cNvSpPr txBox="1"/>
          <p:nvPr/>
        </p:nvSpPr>
        <p:spPr>
          <a:xfrm>
            <a:off x="6609761" y="2285887"/>
            <a:ext cx="1414470" cy="246221"/>
          </a:xfrm>
          <a:prstGeom prst="rect">
            <a:avLst/>
          </a:prstGeom>
          <a:noFill/>
        </p:spPr>
        <p:txBody>
          <a:bodyPr wrap="square" rtlCol="0">
            <a:spAutoFit/>
          </a:bodyPr>
          <a:lstStyle/>
          <a:p>
            <a:pPr algn="ctr" defTabSz="914390">
              <a:defRPr/>
            </a:pPr>
            <a:r>
              <a:rPr lang="en-US" sz="1000" b="1" kern="0" dirty="0"/>
              <a:t>EBITDA </a:t>
            </a:r>
          </a:p>
        </p:txBody>
      </p:sp>
      <p:sp>
        <p:nvSpPr>
          <p:cNvPr id="9" name="TextBox 8">
            <a:extLst>
              <a:ext uri="{FF2B5EF4-FFF2-40B4-BE49-F238E27FC236}">
                <a16:creationId xmlns:a16="http://schemas.microsoft.com/office/drawing/2014/main" id="{1343B8BF-1959-4836-8AD6-35111CD521B6}"/>
              </a:ext>
            </a:extLst>
          </p:cNvPr>
          <p:cNvSpPr txBox="1"/>
          <p:nvPr/>
        </p:nvSpPr>
        <p:spPr>
          <a:xfrm>
            <a:off x="1004329" y="6373033"/>
            <a:ext cx="3447598" cy="369332"/>
          </a:xfrm>
          <a:prstGeom prst="rect">
            <a:avLst/>
          </a:prstGeom>
          <a:noFill/>
        </p:spPr>
        <p:txBody>
          <a:bodyPr wrap="square" rtlCol="0">
            <a:spAutoFit/>
          </a:bodyPr>
          <a:lstStyle/>
          <a:p>
            <a:r>
              <a:rPr lang="en-GB" b="1" dirty="0">
                <a:solidFill>
                  <a:srgbClr val="43B049"/>
                </a:solidFill>
              </a:rPr>
              <a:t>ENTERPRISE VALUE = £12m</a:t>
            </a:r>
          </a:p>
        </p:txBody>
      </p:sp>
      <p:sp>
        <p:nvSpPr>
          <p:cNvPr id="42" name="TextBox 41">
            <a:extLst>
              <a:ext uri="{FF2B5EF4-FFF2-40B4-BE49-F238E27FC236}">
                <a16:creationId xmlns:a16="http://schemas.microsoft.com/office/drawing/2014/main" id="{BB5676DA-80CE-48E0-AB21-885850273B4A}"/>
              </a:ext>
            </a:extLst>
          </p:cNvPr>
          <p:cNvSpPr txBox="1"/>
          <p:nvPr/>
        </p:nvSpPr>
        <p:spPr>
          <a:xfrm>
            <a:off x="5476219" y="6394256"/>
            <a:ext cx="3447598" cy="369332"/>
          </a:xfrm>
          <a:prstGeom prst="rect">
            <a:avLst/>
          </a:prstGeom>
          <a:noFill/>
        </p:spPr>
        <p:txBody>
          <a:bodyPr wrap="square" rtlCol="0">
            <a:spAutoFit/>
          </a:bodyPr>
          <a:lstStyle/>
          <a:p>
            <a:r>
              <a:rPr lang="en-GB" b="1" dirty="0">
                <a:solidFill>
                  <a:srgbClr val="43B049"/>
                </a:solidFill>
              </a:rPr>
              <a:t>ENTERPRISE VALUE = £0.6m</a:t>
            </a:r>
          </a:p>
        </p:txBody>
      </p:sp>
      <p:graphicFrame>
        <p:nvGraphicFramePr>
          <p:cNvPr id="5" name="Object 4">
            <a:extLst>
              <a:ext uri="{FF2B5EF4-FFF2-40B4-BE49-F238E27FC236}">
                <a16:creationId xmlns:a16="http://schemas.microsoft.com/office/drawing/2014/main" id="{20BDDD00-65BC-4A73-9D8A-5A0D70511F15}"/>
              </a:ext>
            </a:extLst>
          </p:cNvPr>
          <p:cNvGraphicFramePr>
            <a:graphicFrameLocks noChangeAspect="1"/>
          </p:cNvGraphicFramePr>
          <p:nvPr>
            <p:extLst>
              <p:ext uri="{D42A27DB-BD31-4B8C-83A1-F6EECF244321}">
                <p14:modId xmlns:p14="http://schemas.microsoft.com/office/powerpoint/2010/main" val="249878243"/>
              </p:ext>
            </p:extLst>
          </p:nvPr>
        </p:nvGraphicFramePr>
        <p:xfrm>
          <a:off x="1004329" y="3365673"/>
          <a:ext cx="3339071" cy="2557195"/>
        </p:xfrm>
        <a:graphic>
          <a:graphicData uri="http://schemas.openxmlformats.org/presentationml/2006/ole">
            <mc:AlternateContent xmlns:mc="http://schemas.openxmlformats.org/markup-compatibility/2006">
              <mc:Choice xmlns:v="urn:schemas-microsoft-com:vml" Requires="v">
                <p:oleObj name="Worksheet" r:id="rId3" imgW="2304869" imgH="1765208" progId="Excel.Sheet.12">
                  <p:embed/>
                </p:oleObj>
              </mc:Choice>
              <mc:Fallback>
                <p:oleObj name="Worksheet" r:id="rId3" imgW="2304869" imgH="1765208" progId="Excel.Sheet.12">
                  <p:embed/>
                  <p:pic>
                    <p:nvPicPr>
                      <p:cNvPr id="5" name="Object 4">
                        <a:extLst>
                          <a:ext uri="{FF2B5EF4-FFF2-40B4-BE49-F238E27FC236}">
                            <a16:creationId xmlns:a16="http://schemas.microsoft.com/office/drawing/2014/main" id="{20BDDD00-65BC-4A73-9D8A-5A0D70511F15}"/>
                          </a:ext>
                        </a:extLst>
                      </p:cNvPr>
                      <p:cNvPicPr/>
                      <p:nvPr/>
                    </p:nvPicPr>
                    <p:blipFill>
                      <a:blip r:embed="rId4"/>
                      <a:stretch>
                        <a:fillRect/>
                      </a:stretch>
                    </p:blipFill>
                    <p:spPr>
                      <a:xfrm>
                        <a:off x="1004329" y="3365673"/>
                        <a:ext cx="3339071" cy="2557195"/>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71404441-5A27-4BAA-93B0-E1AD2E15DD3D}"/>
              </a:ext>
            </a:extLst>
          </p:cNvPr>
          <p:cNvGraphicFramePr>
            <a:graphicFrameLocks noChangeAspect="1"/>
          </p:cNvGraphicFramePr>
          <p:nvPr>
            <p:extLst>
              <p:ext uri="{D42A27DB-BD31-4B8C-83A1-F6EECF244321}">
                <p14:modId xmlns:p14="http://schemas.microsoft.com/office/powerpoint/2010/main" val="1138402494"/>
              </p:ext>
            </p:extLst>
          </p:nvPr>
        </p:nvGraphicFramePr>
        <p:xfrm>
          <a:off x="5334138" y="3360988"/>
          <a:ext cx="3979623" cy="2802067"/>
        </p:xfrm>
        <a:graphic>
          <a:graphicData uri="http://schemas.openxmlformats.org/presentationml/2006/ole">
            <mc:AlternateContent xmlns:mc="http://schemas.openxmlformats.org/markup-compatibility/2006">
              <mc:Choice xmlns:v="urn:schemas-microsoft-com:vml" Requires="v">
                <p:oleObj name="Worksheet" r:id="rId5" imgW="2940180" imgH="2070285" progId="Excel.Sheet.12">
                  <p:embed/>
                </p:oleObj>
              </mc:Choice>
              <mc:Fallback>
                <p:oleObj name="Worksheet" r:id="rId5" imgW="2940180" imgH="2070285" progId="Excel.Sheet.12">
                  <p:embed/>
                  <p:pic>
                    <p:nvPicPr>
                      <p:cNvPr id="6" name="Object 5">
                        <a:extLst>
                          <a:ext uri="{FF2B5EF4-FFF2-40B4-BE49-F238E27FC236}">
                            <a16:creationId xmlns:a16="http://schemas.microsoft.com/office/drawing/2014/main" id="{71404441-5A27-4BAA-93B0-E1AD2E15DD3D}"/>
                          </a:ext>
                        </a:extLst>
                      </p:cNvPr>
                      <p:cNvPicPr/>
                      <p:nvPr/>
                    </p:nvPicPr>
                    <p:blipFill>
                      <a:blip r:embed="rId6"/>
                      <a:stretch>
                        <a:fillRect/>
                      </a:stretch>
                    </p:blipFill>
                    <p:spPr>
                      <a:xfrm>
                        <a:off x="5334138" y="3360988"/>
                        <a:ext cx="3979623" cy="2802067"/>
                      </a:xfrm>
                      <a:prstGeom prst="rect">
                        <a:avLst/>
                      </a:prstGeom>
                    </p:spPr>
                  </p:pic>
                </p:oleObj>
              </mc:Fallback>
            </mc:AlternateContent>
          </a:graphicData>
        </a:graphic>
      </p:graphicFrame>
    </p:spTree>
    <p:extLst>
      <p:ext uri="{BB962C8B-B14F-4D97-AF65-F5344CB8AC3E}">
        <p14:creationId xmlns:p14="http://schemas.microsoft.com/office/powerpoint/2010/main" val="528541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565079" y="2021370"/>
            <a:ext cx="8640566" cy="1740733"/>
          </a:xfrm>
        </p:spPr>
        <p:txBody>
          <a:bodyPr/>
          <a:lstStyle/>
          <a:p>
            <a:r>
              <a:rPr lang="en-US" dirty="0"/>
              <a:t>05. Summary</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prstGeom prst="rect">
            <a:avLst/>
          </a:prstGeom>
        </p:spPr>
        <p:txBody>
          <a:bodyPr/>
          <a:lstStyle/>
          <a:p>
            <a:fld id="{CB7FE98A-78B1-495F-8A5C-53E48422F91F}" type="slidenum">
              <a:rPr lang="en-US" smtClean="0"/>
              <a:pPr/>
              <a:t>18</a:t>
            </a:fld>
            <a:endParaRPr lang="en-US"/>
          </a:p>
        </p:txBody>
      </p:sp>
    </p:spTree>
    <p:extLst>
      <p:ext uri="{BB962C8B-B14F-4D97-AF65-F5344CB8AC3E}">
        <p14:creationId xmlns:p14="http://schemas.microsoft.com/office/powerpoint/2010/main" val="1599505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1B1FA3-985C-4F78-920D-59C608086268}"/>
              </a:ext>
            </a:extLst>
          </p:cNvPr>
          <p:cNvSpPr>
            <a:spLocks noGrp="1"/>
          </p:cNvSpPr>
          <p:nvPr>
            <p:ph type="sldNum" sz="quarter" idx="12"/>
          </p:nvPr>
        </p:nvSpPr>
        <p:spPr/>
        <p:txBody>
          <a:bodyPr/>
          <a:lstStyle/>
          <a:p>
            <a:fld id="{CB7FE98A-78B1-495F-8A5C-53E48422F91F}" type="slidenum">
              <a:rPr lang="en-US" smtClean="0"/>
              <a:pPr/>
              <a:t>19</a:t>
            </a:fld>
            <a:endParaRPr lang="en-US"/>
          </a:p>
        </p:txBody>
      </p:sp>
      <p:sp>
        <p:nvSpPr>
          <p:cNvPr id="30" name="Text Placeholder 4">
            <a:extLst>
              <a:ext uri="{FF2B5EF4-FFF2-40B4-BE49-F238E27FC236}">
                <a16:creationId xmlns:a16="http://schemas.microsoft.com/office/drawing/2014/main" id="{27F5C9BB-716C-4C3A-923C-95198550F432}"/>
              </a:ext>
            </a:extLst>
          </p:cNvPr>
          <p:cNvSpPr txBox="1">
            <a:spLocks/>
          </p:cNvSpPr>
          <p:nvPr/>
        </p:nvSpPr>
        <p:spPr>
          <a:xfrm>
            <a:off x="320927" y="683849"/>
            <a:ext cx="8639834" cy="274431"/>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Lee Longlands Furniture</a:t>
            </a:r>
            <a:endParaRPr lang="en-US" sz="1800" b="1" dirty="0"/>
          </a:p>
        </p:txBody>
      </p:sp>
      <p:sp>
        <p:nvSpPr>
          <p:cNvPr id="31" name="Title 3">
            <a:extLst>
              <a:ext uri="{FF2B5EF4-FFF2-40B4-BE49-F238E27FC236}">
                <a16:creationId xmlns:a16="http://schemas.microsoft.com/office/drawing/2014/main" id="{E3DF6E7B-7019-44D4-8147-B3A6111919A4}"/>
              </a:ext>
            </a:extLst>
          </p:cNvPr>
          <p:cNvSpPr>
            <a:spLocks noGrp="1"/>
          </p:cNvSpPr>
          <p:nvPr>
            <p:ph type="title"/>
          </p:nvPr>
        </p:nvSpPr>
        <p:spPr>
          <a:xfrm>
            <a:off x="321747" y="300301"/>
            <a:ext cx="7172164" cy="373839"/>
          </a:xfrm>
        </p:spPr>
        <p:txBody>
          <a:bodyPr>
            <a:noAutofit/>
          </a:bodyPr>
          <a:lstStyle/>
          <a:p>
            <a:r>
              <a:rPr lang="en-GB" b="1" dirty="0">
                <a:latin typeface="+mn-lt"/>
              </a:rPr>
              <a:t>TESTIMONIAL</a:t>
            </a:r>
          </a:p>
        </p:txBody>
      </p:sp>
      <p:sp>
        <p:nvSpPr>
          <p:cNvPr id="29" name="Freeform 17">
            <a:extLst>
              <a:ext uri="{FF2B5EF4-FFF2-40B4-BE49-F238E27FC236}">
                <a16:creationId xmlns:a16="http://schemas.microsoft.com/office/drawing/2014/main" id="{5DB7EF49-FB0B-48BA-A797-A952434F4E3F}"/>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extBox 2">
            <a:extLst>
              <a:ext uri="{FF2B5EF4-FFF2-40B4-BE49-F238E27FC236}">
                <a16:creationId xmlns:a16="http://schemas.microsoft.com/office/drawing/2014/main" id="{85CBB862-9D67-492B-90E5-3EC76E037D94}"/>
              </a:ext>
            </a:extLst>
          </p:cNvPr>
          <p:cNvSpPr txBox="1"/>
          <p:nvPr/>
        </p:nvSpPr>
        <p:spPr>
          <a:xfrm>
            <a:off x="2496312" y="2240280"/>
            <a:ext cx="5120640" cy="369332"/>
          </a:xfrm>
          <a:prstGeom prst="rect">
            <a:avLst/>
          </a:prstGeom>
          <a:noFill/>
        </p:spPr>
        <p:txBody>
          <a:bodyPr wrap="square" rtlCol="0">
            <a:spAutoFit/>
          </a:bodyPr>
          <a:lstStyle/>
          <a:p>
            <a:r>
              <a:rPr lang="en-GB" sz="1800" u="sng" dirty="0">
                <a:solidFill>
                  <a:srgbClr val="0563C1"/>
                </a:solidFill>
                <a:effectLst/>
                <a:latin typeface="Nunito Sans" panose="00000500000000000000" pitchFamily="2" charset="0"/>
                <a:ea typeface="Calibri" panose="020F0502020204030204" pitchFamily="34" charset="0"/>
                <a:hlinkClick r:id="rId3"/>
              </a:rPr>
              <a:t>https://vimeo.com/756739790/e4b05f99ab</a:t>
            </a:r>
            <a:endParaRPr lang="en-GB" sz="1800" dirty="0">
              <a:effectLst/>
              <a:latin typeface="Calibri" panose="020F0502020204030204" pitchFamily="34" charset="0"/>
              <a:ea typeface="Calibri" panose="020F0502020204030204" pitchFamily="34" charset="0"/>
            </a:endParaRPr>
          </a:p>
        </p:txBody>
      </p:sp>
      <p:pic>
        <p:nvPicPr>
          <p:cNvPr id="5" name="Picture 4">
            <a:extLst>
              <a:ext uri="{FF2B5EF4-FFF2-40B4-BE49-F238E27FC236}">
                <a16:creationId xmlns:a16="http://schemas.microsoft.com/office/drawing/2014/main" id="{7DB2222A-FAA3-4EC2-AEB0-8CB8B1A2794A}"/>
              </a:ext>
            </a:extLst>
          </p:cNvPr>
          <p:cNvPicPr>
            <a:picLocks noChangeAspect="1"/>
          </p:cNvPicPr>
          <p:nvPr/>
        </p:nvPicPr>
        <p:blipFill>
          <a:blip r:embed="rId4"/>
          <a:stretch>
            <a:fillRect/>
          </a:stretch>
        </p:blipFill>
        <p:spPr>
          <a:xfrm>
            <a:off x="609015" y="1022377"/>
            <a:ext cx="8300801" cy="4985681"/>
          </a:xfrm>
          <a:prstGeom prst="rect">
            <a:avLst/>
          </a:prstGeom>
        </p:spPr>
      </p:pic>
    </p:spTree>
    <p:extLst>
      <p:ext uri="{BB962C8B-B14F-4D97-AF65-F5344CB8AC3E}">
        <p14:creationId xmlns:p14="http://schemas.microsoft.com/office/powerpoint/2010/main" val="1794489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7C4587A9-79EF-4345-B64D-437821D60F63}"/>
              </a:ext>
            </a:extLst>
          </p:cNvPr>
          <p:cNvSpPr>
            <a:spLocks noGrp="1"/>
          </p:cNvSpPr>
          <p:nvPr>
            <p:ph type="sldNum" sz="quarter" idx="12"/>
          </p:nvPr>
        </p:nvSpPr>
        <p:spPr>
          <a:prstGeom prst="rect">
            <a:avLst/>
          </a:prstGeom>
        </p:spPr>
        <p:txBody>
          <a:bodyPr/>
          <a:lstStyle/>
          <a:p>
            <a:fld id="{CB7FE98A-78B1-495F-8A5C-53E48422F91F}" type="slidenum">
              <a:rPr lang="en-US" smtClean="0"/>
              <a:pPr/>
              <a:t>2</a:t>
            </a:fld>
            <a:endParaRPr lang="en-US"/>
          </a:p>
        </p:txBody>
      </p:sp>
      <p:sp>
        <p:nvSpPr>
          <p:cNvPr id="3" name="Text Placeholder 2">
            <a:extLst>
              <a:ext uri="{FF2B5EF4-FFF2-40B4-BE49-F238E27FC236}">
                <a16:creationId xmlns:a16="http://schemas.microsoft.com/office/drawing/2014/main" id="{85B23FB1-171F-0846-AC06-063871FAA279}"/>
              </a:ext>
            </a:extLst>
          </p:cNvPr>
          <p:cNvSpPr>
            <a:spLocks noGrp="1"/>
          </p:cNvSpPr>
          <p:nvPr>
            <p:ph type="body" sz="quarter" idx="13"/>
          </p:nvPr>
        </p:nvSpPr>
        <p:spPr/>
        <p:txBody>
          <a:bodyPr/>
          <a:lstStyle/>
          <a:p>
            <a:pPr marL="0" indent="0">
              <a:buNone/>
            </a:pPr>
            <a:endParaRPr lang="en-US" dirty="0"/>
          </a:p>
          <a:p>
            <a:r>
              <a:rPr lang="en-US" dirty="0"/>
              <a:t> Introduction to Kroll</a:t>
            </a:r>
          </a:p>
          <a:p>
            <a:endParaRPr lang="en-US" dirty="0"/>
          </a:p>
          <a:p>
            <a:r>
              <a:rPr lang="en-US" dirty="0"/>
              <a:t>UK Restructuring Market Update</a:t>
            </a:r>
          </a:p>
          <a:p>
            <a:endParaRPr lang="en-US" dirty="0"/>
          </a:p>
          <a:p>
            <a:r>
              <a:rPr lang="en-US" dirty="0"/>
              <a:t>HMRC Update</a:t>
            </a:r>
          </a:p>
          <a:p>
            <a:endParaRPr lang="en-US" dirty="0"/>
          </a:p>
          <a:p>
            <a:r>
              <a:rPr lang="en-US" dirty="0"/>
              <a:t>Supply Chain and Cost Inflation Challenges</a:t>
            </a:r>
          </a:p>
          <a:p>
            <a:endParaRPr lang="en-US" dirty="0"/>
          </a:p>
          <a:p>
            <a:r>
              <a:rPr lang="en-US" dirty="0"/>
              <a:t>Case Study – Project Print</a:t>
            </a:r>
          </a:p>
          <a:p>
            <a:endParaRPr lang="en-US" dirty="0"/>
          </a:p>
          <a:p>
            <a:r>
              <a:rPr lang="en-US" dirty="0"/>
              <a:t>Testimonial and Summary</a:t>
            </a:r>
          </a:p>
          <a:p>
            <a:endParaRPr lang="en-US" dirty="0"/>
          </a:p>
          <a:p>
            <a:endParaRPr lang="en-US" dirty="0"/>
          </a:p>
        </p:txBody>
      </p:sp>
    </p:spTree>
    <p:extLst>
      <p:ext uri="{BB962C8B-B14F-4D97-AF65-F5344CB8AC3E}">
        <p14:creationId xmlns:p14="http://schemas.microsoft.com/office/powerpoint/2010/main" val="10634354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1B1FA3-985C-4F78-920D-59C608086268}"/>
              </a:ext>
            </a:extLst>
          </p:cNvPr>
          <p:cNvSpPr>
            <a:spLocks noGrp="1"/>
          </p:cNvSpPr>
          <p:nvPr>
            <p:ph type="sldNum" sz="quarter" idx="12"/>
          </p:nvPr>
        </p:nvSpPr>
        <p:spPr/>
        <p:txBody>
          <a:bodyPr/>
          <a:lstStyle/>
          <a:p>
            <a:fld id="{CB7FE98A-78B1-495F-8A5C-53E48422F91F}" type="slidenum">
              <a:rPr lang="en-US" smtClean="0"/>
              <a:pPr/>
              <a:t>20</a:t>
            </a:fld>
            <a:endParaRPr lang="en-US"/>
          </a:p>
        </p:txBody>
      </p:sp>
      <p:sp>
        <p:nvSpPr>
          <p:cNvPr id="30" name="Text Placeholder 4">
            <a:extLst>
              <a:ext uri="{FF2B5EF4-FFF2-40B4-BE49-F238E27FC236}">
                <a16:creationId xmlns:a16="http://schemas.microsoft.com/office/drawing/2014/main" id="{27F5C9BB-716C-4C3A-923C-95198550F432}"/>
              </a:ext>
            </a:extLst>
          </p:cNvPr>
          <p:cNvSpPr txBox="1">
            <a:spLocks/>
          </p:cNvSpPr>
          <p:nvPr/>
        </p:nvSpPr>
        <p:spPr>
          <a:xfrm>
            <a:off x="320927" y="683849"/>
            <a:ext cx="8639834" cy="274431"/>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b="1" dirty="0"/>
          </a:p>
        </p:txBody>
      </p:sp>
      <p:sp>
        <p:nvSpPr>
          <p:cNvPr id="31" name="Title 3">
            <a:extLst>
              <a:ext uri="{FF2B5EF4-FFF2-40B4-BE49-F238E27FC236}">
                <a16:creationId xmlns:a16="http://schemas.microsoft.com/office/drawing/2014/main" id="{E3DF6E7B-7019-44D4-8147-B3A6111919A4}"/>
              </a:ext>
            </a:extLst>
          </p:cNvPr>
          <p:cNvSpPr>
            <a:spLocks noGrp="1"/>
          </p:cNvSpPr>
          <p:nvPr>
            <p:ph type="title"/>
          </p:nvPr>
        </p:nvSpPr>
        <p:spPr>
          <a:xfrm>
            <a:off x="321747" y="300301"/>
            <a:ext cx="7172164" cy="373839"/>
          </a:xfrm>
        </p:spPr>
        <p:txBody>
          <a:bodyPr>
            <a:noAutofit/>
          </a:bodyPr>
          <a:lstStyle/>
          <a:p>
            <a:r>
              <a:rPr lang="en-GB" b="1" dirty="0">
                <a:latin typeface="+mn-lt"/>
              </a:rPr>
              <a:t>SUMMARY</a:t>
            </a:r>
          </a:p>
        </p:txBody>
      </p:sp>
      <p:sp>
        <p:nvSpPr>
          <p:cNvPr id="29" name="Freeform 17">
            <a:extLst>
              <a:ext uri="{FF2B5EF4-FFF2-40B4-BE49-F238E27FC236}">
                <a16:creationId xmlns:a16="http://schemas.microsoft.com/office/drawing/2014/main" id="{5DB7EF49-FB0B-48BA-A797-A952434F4E3F}"/>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extBox 2">
            <a:extLst>
              <a:ext uri="{FF2B5EF4-FFF2-40B4-BE49-F238E27FC236}">
                <a16:creationId xmlns:a16="http://schemas.microsoft.com/office/drawing/2014/main" id="{5E1E8901-6663-4D43-8E95-E1C9045795F4}"/>
              </a:ext>
            </a:extLst>
          </p:cNvPr>
          <p:cNvSpPr txBox="1"/>
          <p:nvPr/>
        </p:nvSpPr>
        <p:spPr>
          <a:xfrm>
            <a:off x="425640" y="958280"/>
            <a:ext cx="8965248" cy="4801314"/>
          </a:xfrm>
          <a:prstGeom prst="rect">
            <a:avLst/>
          </a:prstGeom>
          <a:noFill/>
        </p:spPr>
        <p:txBody>
          <a:bodyPr wrap="square" rtlCol="0">
            <a:spAutoFit/>
          </a:bodyPr>
          <a:lstStyle/>
          <a:p>
            <a:pPr marL="342900" indent="-342900">
              <a:buFont typeface="+mj-lt"/>
              <a:buAutoNum type="arabicPeriod"/>
            </a:pPr>
            <a:r>
              <a:rPr lang="en-GB" dirty="0">
                <a:solidFill>
                  <a:srgbClr val="455560"/>
                </a:solidFill>
              </a:rPr>
              <a:t>Rising Administration and Liquidations indicating increased levels of distress even prior to recent economic developments</a:t>
            </a:r>
          </a:p>
          <a:p>
            <a:pPr marL="342900" indent="-342900">
              <a:buFont typeface="+mj-lt"/>
              <a:buAutoNum type="arabicPeriod"/>
            </a:pPr>
            <a:endParaRPr lang="en-GB" dirty="0">
              <a:solidFill>
                <a:srgbClr val="455560"/>
              </a:solidFill>
            </a:endParaRPr>
          </a:p>
          <a:p>
            <a:pPr marL="342900" indent="-342900">
              <a:buFont typeface="+mj-lt"/>
              <a:buAutoNum type="arabicPeriod"/>
            </a:pPr>
            <a:r>
              <a:rPr lang="en-GB" dirty="0">
                <a:solidFill>
                  <a:srgbClr val="455560"/>
                </a:solidFill>
              </a:rPr>
              <a:t>Construction, retail, hospitality, financial services and manufacturing continue to be the sectors with the most insolvencies</a:t>
            </a:r>
          </a:p>
          <a:p>
            <a:pPr marL="342900" indent="-342900">
              <a:buFont typeface="+mj-lt"/>
              <a:buAutoNum type="arabicPeriod"/>
            </a:pPr>
            <a:endParaRPr lang="en-GB" dirty="0">
              <a:solidFill>
                <a:srgbClr val="455560"/>
              </a:solidFill>
            </a:endParaRPr>
          </a:p>
          <a:p>
            <a:pPr marL="342900" indent="-342900">
              <a:buFont typeface="+mj-lt"/>
              <a:buAutoNum type="arabicPeriod"/>
            </a:pPr>
            <a:r>
              <a:rPr lang="en-GB" dirty="0">
                <a:solidFill>
                  <a:srgbClr val="455560"/>
                </a:solidFill>
              </a:rPr>
              <a:t>HMRC pressure is increasing but we continue to get long term TTP’s agreed, even for companies with poor compliance records</a:t>
            </a:r>
          </a:p>
          <a:p>
            <a:pPr marL="342900" indent="-342900">
              <a:buFont typeface="+mj-lt"/>
              <a:buAutoNum type="arabicPeriod"/>
            </a:pPr>
            <a:endParaRPr lang="en-GB" dirty="0">
              <a:solidFill>
                <a:srgbClr val="455560"/>
              </a:solidFill>
            </a:endParaRPr>
          </a:p>
          <a:p>
            <a:pPr marL="342900" indent="-342900">
              <a:buFont typeface="+mj-lt"/>
              <a:buAutoNum type="arabicPeriod"/>
            </a:pPr>
            <a:r>
              <a:rPr lang="en-GB" dirty="0">
                <a:solidFill>
                  <a:srgbClr val="455560"/>
                </a:solidFill>
              </a:rPr>
              <a:t>Leveraged buy-outs will become more challenging with increasing interest rates and more risk averse lender approaches due to market uncertainty.</a:t>
            </a:r>
          </a:p>
          <a:p>
            <a:pPr marL="342900" indent="-342900">
              <a:buFont typeface="+mj-lt"/>
              <a:buAutoNum type="arabicPeriod"/>
            </a:pPr>
            <a:endParaRPr lang="en-GB" dirty="0">
              <a:solidFill>
                <a:srgbClr val="455560"/>
              </a:solidFill>
            </a:endParaRPr>
          </a:p>
          <a:p>
            <a:pPr marL="342900" indent="-342900">
              <a:buFont typeface="+mj-lt"/>
              <a:buAutoNum type="arabicPeriod"/>
            </a:pPr>
            <a:r>
              <a:rPr lang="en-GB" dirty="0">
                <a:solidFill>
                  <a:srgbClr val="455560"/>
                </a:solidFill>
              </a:rPr>
              <a:t>COVID-19 has left many previously high performing businesses with materially depleted enterprise values which will compromise available exit options.</a:t>
            </a:r>
          </a:p>
          <a:p>
            <a:pPr marL="342900" indent="-342900">
              <a:buFont typeface="+mj-lt"/>
              <a:buAutoNum type="arabicPeriod"/>
            </a:pPr>
            <a:endParaRPr lang="en-GB" dirty="0">
              <a:solidFill>
                <a:srgbClr val="455560"/>
              </a:solidFill>
            </a:endParaRPr>
          </a:p>
          <a:p>
            <a:pPr marL="342900" indent="-342900">
              <a:buFont typeface="+mj-lt"/>
              <a:buAutoNum type="arabicPeriod"/>
            </a:pPr>
            <a:r>
              <a:rPr lang="en-GB" dirty="0">
                <a:solidFill>
                  <a:srgbClr val="455560"/>
                </a:solidFill>
              </a:rPr>
              <a:t>Rising interest rates, increasing inflation, currency devaluation and market volatility could lead to a deep and </a:t>
            </a:r>
            <a:r>
              <a:rPr lang="en-GB">
                <a:solidFill>
                  <a:srgbClr val="455560"/>
                </a:solidFill>
              </a:rPr>
              <a:t>protracted recession.</a:t>
            </a:r>
            <a:endParaRPr lang="en-GB" dirty="0">
              <a:solidFill>
                <a:srgbClr val="455560"/>
              </a:solidFill>
            </a:endParaRPr>
          </a:p>
        </p:txBody>
      </p:sp>
    </p:spTree>
    <p:extLst>
      <p:ext uri="{BB962C8B-B14F-4D97-AF65-F5344CB8AC3E}">
        <p14:creationId xmlns:p14="http://schemas.microsoft.com/office/powerpoint/2010/main" val="36654377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9DD39-5811-4B7C-973C-7CD3641A3AE3}"/>
              </a:ext>
            </a:extLst>
          </p:cNvPr>
          <p:cNvCxnSpPr/>
          <p:nvPr/>
        </p:nvCxnSpPr>
        <p:spPr>
          <a:xfrm>
            <a:off x="633926" y="4961903"/>
            <a:ext cx="7488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92C859B7-596C-4874-9A9A-307810669588}"/>
              </a:ext>
            </a:extLst>
          </p:cNvPr>
          <p:cNvSpPr txBox="1">
            <a:spLocks/>
          </p:cNvSpPr>
          <p:nvPr/>
        </p:nvSpPr>
        <p:spPr>
          <a:xfrm>
            <a:off x="2143229" y="1630210"/>
            <a:ext cx="2304946" cy="1450478"/>
          </a:xfrm>
          <a:prstGeom prst="rect">
            <a:avLst/>
          </a:prstGeom>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spcBef>
                <a:spcPts val="0"/>
              </a:spcBef>
              <a:buClr>
                <a:srgbClr val="13B5EA"/>
              </a:buClr>
              <a:defRPr/>
            </a:pPr>
            <a:r>
              <a:rPr lang="en-GB" sz="1100" b="1" kern="7500" dirty="0">
                <a:solidFill>
                  <a:srgbClr val="15487F"/>
                </a:solidFill>
                <a:latin typeface="+mn-lt"/>
                <a:ea typeface="MS PGothic"/>
              </a:rPr>
              <a:t>David Fleming</a:t>
            </a:r>
          </a:p>
          <a:p>
            <a:pPr>
              <a:spcBef>
                <a:spcPts val="0"/>
              </a:spcBef>
              <a:buClr>
                <a:srgbClr val="13B5EA"/>
              </a:buClr>
              <a:defRPr/>
            </a:pPr>
            <a:r>
              <a:rPr lang="en-GB" sz="1000" kern="7500" dirty="0">
                <a:solidFill>
                  <a:srgbClr val="4D4D4F"/>
                </a:solidFill>
                <a:latin typeface="+mn-lt"/>
                <a:ea typeface="MS PGothic"/>
              </a:rPr>
              <a:t>UK Head</a:t>
            </a:r>
          </a:p>
          <a:p>
            <a:pPr>
              <a:spcBef>
                <a:spcPts val="0"/>
              </a:spcBef>
              <a:buClr>
                <a:srgbClr val="13B5EA"/>
              </a:buClr>
              <a:defRPr/>
            </a:pPr>
            <a:r>
              <a:rPr lang="en-GB" sz="1000" kern="7500" dirty="0">
                <a:solidFill>
                  <a:srgbClr val="4D4D4F"/>
                </a:solidFill>
                <a:latin typeface="+mn-lt"/>
                <a:ea typeface="MS PGothic"/>
              </a:rPr>
              <a:t>Restructuring Advisory</a:t>
            </a:r>
          </a:p>
          <a:p>
            <a:pPr>
              <a:spcBef>
                <a:spcPts val="0"/>
              </a:spcBef>
              <a:buClr>
                <a:srgbClr val="13B5EA"/>
              </a:buClr>
              <a:defRPr/>
            </a:pPr>
            <a:endParaRPr lang="en-GB" sz="1000" kern="7500" dirty="0">
              <a:solidFill>
                <a:srgbClr val="43B049"/>
              </a:solidFill>
              <a:latin typeface="+mn-lt"/>
              <a:ea typeface="MS PGothic"/>
            </a:endParaRPr>
          </a:p>
          <a:p>
            <a:pPr defTabSz="898525">
              <a:spcBef>
                <a:spcPts val="0"/>
              </a:spcBef>
              <a:buClr>
                <a:srgbClr val="13B5EA"/>
              </a:buClr>
              <a:tabLst>
                <a:tab pos="265113" algn="l"/>
              </a:tabLst>
              <a:defRPr/>
            </a:pPr>
            <a:r>
              <a:rPr lang="en-GB" sz="1000" dirty="0">
                <a:solidFill>
                  <a:srgbClr val="455560"/>
                </a:solidFill>
                <a:latin typeface="+mn-lt"/>
                <a:ea typeface="MS PGothic"/>
              </a:rPr>
              <a:t>T:	+44 0161 827 9155</a:t>
            </a:r>
          </a:p>
          <a:p>
            <a:pPr>
              <a:spcBef>
                <a:spcPts val="0"/>
              </a:spcBef>
              <a:buClr>
                <a:srgbClr val="13B5EA"/>
              </a:buClr>
              <a:tabLst>
                <a:tab pos="265113" algn="l"/>
              </a:tabLst>
              <a:defRPr/>
            </a:pPr>
            <a:r>
              <a:rPr lang="en-GB" sz="1000" dirty="0">
                <a:solidFill>
                  <a:srgbClr val="455560"/>
                </a:solidFill>
                <a:latin typeface="+mn-lt"/>
                <a:ea typeface="MS PGothic"/>
              </a:rPr>
              <a:t>M:	+44 7833 451 848</a:t>
            </a:r>
          </a:p>
          <a:p>
            <a:pPr defTabSz="265113">
              <a:spcBef>
                <a:spcPts val="0"/>
              </a:spcBef>
              <a:buClr>
                <a:srgbClr val="13B5EA"/>
              </a:buClr>
              <a:defRPr/>
            </a:pPr>
            <a:r>
              <a:rPr lang="en-GB" sz="1000" dirty="0">
                <a:solidFill>
                  <a:srgbClr val="455560"/>
                </a:solidFill>
                <a:latin typeface="+mn-lt"/>
                <a:ea typeface="MS PGothic"/>
              </a:rPr>
              <a:t>E:	</a:t>
            </a:r>
            <a:r>
              <a:rPr lang="en-GB" sz="1000" u="sng" dirty="0">
                <a:solidFill>
                  <a:schemeClr val="tx2"/>
                </a:solidFill>
                <a:latin typeface="+mn-lt"/>
                <a:ea typeface="MS PGothic"/>
              </a:rPr>
              <a:t>David.Fleming</a:t>
            </a:r>
            <a:r>
              <a:rPr lang="en-GB" sz="1000" dirty="0">
                <a:solidFill>
                  <a:schemeClr val="tx2"/>
                </a:solidFill>
                <a:latin typeface="+mn-lt"/>
                <a:ea typeface="MS PGothic"/>
                <a:hlinkClick r:id="rId2">
                  <a:extLst>
                    <a:ext uri="{A12FA001-AC4F-418D-AE19-62706E023703}">
                      <ahyp:hlinkClr xmlns:ahyp="http://schemas.microsoft.com/office/drawing/2018/hyperlinkcolor" val="tx"/>
                    </a:ext>
                  </a:extLst>
                </a:hlinkClick>
              </a:rPr>
              <a:t>@kroll.com</a:t>
            </a:r>
            <a:r>
              <a:rPr lang="en-GB" sz="1000" dirty="0">
                <a:solidFill>
                  <a:srgbClr val="455560"/>
                </a:solidFill>
                <a:latin typeface="+mn-lt"/>
                <a:ea typeface="MS PGothic"/>
              </a:rPr>
              <a:t> </a:t>
            </a:r>
          </a:p>
        </p:txBody>
      </p:sp>
      <p:sp>
        <p:nvSpPr>
          <p:cNvPr id="8" name="Content Placeholder 2">
            <a:extLst>
              <a:ext uri="{FF2B5EF4-FFF2-40B4-BE49-F238E27FC236}">
                <a16:creationId xmlns:a16="http://schemas.microsoft.com/office/drawing/2014/main" id="{F9E332DC-81A0-4F77-B9F0-99753A79F4E2}"/>
              </a:ext>
            </a:extLst>
          </p:cNvPr>
          <p:cNvSpPr txBox="1">
            <a:spLocks/>
          </p:cNvSpPr>
          <p:nvPr/>
        </p:nvSpPr>
        <p:spPr>
          <a:xfrm>
            <a:off x="6361967" y="1630210"/>
            <a:ext cx="2086707" cy="1450478"/>
          </a:xfrm>
          <a:prstGeom prst="rect">
            <a:avLst/>
          </a:prstGeom>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spcBef>
                <a:spcPts val="0"/>
              </a:spcBef>
              <a:buClr>
                <a:srgbClr val="13B5EA"/>
              </a:buClr>
              <a:defRPr/>
            </a:pPr>
            <a:r>
              <a:rPr lang="en-GB" sz="1100" b="1" kern="7500">
                <a:solidFill>
                  <a:srgbClr val="15487F"/>
                </a:solidFill>
                <a:latin typeface="+mn-lt"/>
                <a:ea typeface="MS PGothic"/>
              </a:rPr>
              <a:t>Mike Parsons</a:t>
            </a:r>
          </a:p>
          <a:p>
            <a:pPr>
              <a:spcBef>
                <a:spcPts val="0"/>
              </a:spcBef>
              <a:buClr>
                <a:srgbClr val="13B5EA"/>
              </a:buClr>
              <a:defRPr/>
            </a:pPr>
            <a:r>
              <a:rPr lang="en-GB" sz="1000" kern="7500">
                <a:solidFill>
                  <a:srgbClr val="4D4D4F"/>
                </a:solidFill>
                <a:latin typeface="+mn-lt"/>
                <a:ea typeface="MS PGothic"/>
              </a:rPr>
              <a:t>Senior Director</a:t>
            </a:r>
          </a:p>
          <a:p>
            <a:pPr>
              <a:spcBef>
                <a:spcPts val="0"/>
              </a:spcBef>
              <a:buClr>
                <a:srgbClr val="13B5EA"/>
              </a:buClr>
              <a:defRPr/>
            </a:pPr>
            <a:r>
              <a:rPr lang="en-GB" sz="1000" kern="7500">
                <a:solidFill>
                  <a:srgbClr val="4D4D4F"/>
                </a:solidFill>
                <a:latin typeface="+mn-lt"/>
                <a:ea typeface="MS PGothic"/>
              </a:rPr>
              <a:t>Advisory - North</a:t>
            </a:r>
          </a:p>
          <a:p>
            <a:pPr>
              <a:spcBef>
                <a:spcPts val="0"/>
              </a:spcBef>
              <a:buClr>
                <a:srgbClr val="13B5EA"/>
              </a:buClr>
              <a:defRPr/>
            </a:pPr>
            <a:endParaRPr lang="en-GB" sz="1000" kern="7500">
              <a:solidFill>
                <a:srgbClr val="43B049"/>
              </a:solidFill>
              <a:latin typeface="+mn-lt"/>
              <a:ea typeface="MS PGothic"/>
            </a:endParaRPr>
          </a:p>
          <a:p>
            <a:pPr defTabSz="898525">
              <a:spcBef>
                <a:spcPts val="0"/>
              </a:spcBef>
              <a:buClr>
                <a:srgbClr val="13B5EA"/>
              </a:buClr>
              <a:tabLst>
                <a:tab pos="265113" algn="l"/>
              </a:tabLst>
              <a:defRPr/>
            </a:pPr>
            <a:r>
              <a:rPr lang="en-GB" sz="1000">
                <a:solidFill>
                  <a:srgbClr val="455560"/>
                </a:solidFill>
                <a:latin typeface="+mn-lt"/>
                <a:ea typeface="MS PGothic"/>
              </a:rPr>
              <a:t>T:	+44 161 827 9013</a:t>
            </a:r>
          </a:p>
          <a:p>
            <a:pPr>
              <a:spcBef>
                <a:spcPts val="0"/>
              </a:spcBef>
              <a:buClr>
                <a:srgbClr val="13B5EA"/>
              </a:buClr>
              <a:tabLst>
                <a:tab pos="265113" algn="l"/>
              </a:tabLst>
              <a:defRPr/>
            </a:pPr>
            <a:r>
              <a:rPr lang="en-GB" sz="1000">
                <a:solidFill>
                  <a:srgbClr val="455560"/>
                </a:solidFill>
                <a:latin typeface="+mn-lt"/>
                <a:ea typeface="MS PGothic"/>
              </a:rPr>
              <a:t>M:	+44 7989 343 372</a:t>
            </a:r>
          </a:p>
          <a:p>
            <a:pPr defTabSz="265113">
              <a:spcBef>
                <a:spcPts val="0"/>
              </a:spcBef>
              <a:buClr>
                <a:srgbClr val="13B5EA"/>
              </a:buClr>
              <a:defRPr/>
            </a:pPr>
            <a:r>
              <a:rPr lang="en-GB" sz="1000">
                <a:solidFill>
                  <a:srgbClr val="455560"/>
                </a:solidFill>
                <a:latin typeface="+mn-lt"/>
                <a:ea typeface="MS PGothic"/>
              </a:rPr>
              <a:t>E:	</a:t>
            </a:r>
            <a:r>
              <a:rPr lang="en-GB" sz="1000">
                <a:solidFill>
                  <a:schemeClr val="tx2"/>
                </a:solidFill>
                <a:latin typeface="+mn-lt"/>
                <a:ea typeface="MS PGothic"/>
                <a:hlinkClick r:id="rId2">
                  <a:extLst>
                    <a:ext uri="{A12FA001-AC4F-418D-AE19-62706E023703}">
                      <ahyp:hlinkClr xmlns:ahyp="http://schemas.microsoft.com/office/drawing/2018/hyperlinkcolor" val="tx"/>
                    </a:ext>
                  </a:extLst>
                </a:hlinkClick>
              </a:rPr>
              <a:t>Mike Parsons@kroll.com</a:t>
            </a:r>
            <a:r>
              <a:rPr lang="en-GB" sz="1000">
                <a:solidFill>
                  <a:srgbClr val="455560"/>
                </a:solidFill>
                <a:latin typeface="+mn-lt"/>
                <a:ea typeface="MS PGothic"/>
              </a:rPr>
              <a:t> </a:t>
            </a:r>
          </a:p>
        </p:txBody>
      </p:sp>
      <p:pic>
        <p:nvPicPr>
          <p:cNvPr id="5122" name="Picture 2" descr="David Fleming | Kroll Manchester | Restructuring">
            <a:extLst>
              <a:ext uri="{FF2B5EF4-FFF2-40B4-BE49-F238E27FC236}">
                <a16:creationId xmlns:a16="http://schemas.microsoft.com/office/drawing/2014/main" id="{5574C22B-2F30-48A4-8589-C75EF74C22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05" y="1835772"/>
            <a:ext cx="842410" cy="109403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Mike Parsons | Restructuring | Kroll">
            <a:extLst>
              <a:ext uri="{FF2B5EF4-FFF2-40B4-BE49-F238E27FC236}">
                <a16:creationId xmlns:a16="http://schemas.microsoft.com/office/drawing/2014/main" id="{BE9DF894-0E0E-4151-A7F5-77C6297E34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35227" y="1839716"/>
            <a:ext cx="845199" cy="109404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ushil Patel | Restructuring | Kroll London">
            <a:extLst>
              <a:ext uri="{FF2B5EF4-FFF2-40B4-BE49-F238E27FC236}">
                <a16:creationId xmlns:a16="http://schemas.microsoft.com/office/drawing/2014/main" id="{24E886E0-2E4B-4C02-BD90-DE572DBC5D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926" y="3183856"/>
            <a:ext cx="883269" cy="1094039"/>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DA3B0CF6-8C0A-40CC-A204-6E5DB6038234}"/>
              </a:ext>
            </a:extLst>
          </p:cNvPr>
          <p:cNvSpPr txBox="1">
            <a:spLocks/>
          </p:cNvSpPr>
          <p:nvPr/>
        </p:nvSpPr>
        <p:spPr>
          <a:xfrm>
            <a:off x="2164509" y="3005894"/>
            <a:ext cx="2304946" cy="1450478"/>
          </a:xfrm>
          <a:prstGeom prst="rect">
            <a:avLst/>
          </a:prstGeom>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spcBef>
                <a:spcPts val="0"/>
              </a:spcBef>
              <a:buClr>
                <a:srgbClr val="13B5EA"/>
              </a:buClr>
              <a:defRPr/>
            </a:pPr>
            <a:r>
              <a:rPr lang="en-GB" sz="1100" b="1" kern="7500" dirty="0">
                <a:solidFill>
                  <a:srgbClr val="15487F"/>
                </a:solidFill>
                <a:latin typeface="+mn-lt"/>
                <a:ea typeface="MS PGothic"/>
              </a:rPr>
              <a:t>Sushil Patel</a:t>
            </a:r>
          </a:p>
          <a:p>
            <a:pPr>
              <a:spcBef>
                <a:spcPts val="0"/>
              </a:spcBef>
              <a:buClr>
                <a:srgbClr val="13B5EA"/>
              </a:buClr>
              <a:defRPr/>
            </a:pPr>
            <a:r>
              <a:rPr lang="en-GB" sz="1000" kern="7500" dirty="0">
                <a:solidFill>
                  <a:srgbClr val="4D4D4F"/>
                </a:solidFill>
                <a:latin typeface="+mn-lt"/>
                <a:ea typeface="MS PGothic"/>
              </a:rPr>
              <a:t>Director</a:t>
            </a:r>
          </a:p>
          <a:p>
            <a:pPr>
              <a:spcBef>
                <a:spcPts val="0"/>
              </a:spcBef>
              <a:buClr>
                <a:srgbClr val="13B5EA"/>
              </a:buClr>
              <a:defRPr/>
            </a:pPr>
            <a:r>
              <a:rPr lang="en-GB" sz="1000" kern="7500" dirty="0">
                <a:solidFill>
                  <a:srgbClr val="4D4D4F"/>
                </a:solidFill>
                <a:latin typeface="+mn-lt"/>
                <a:ea typeface="MS PGothic"/>
              </a:rPr>
              <a:t>Advisory – Tax Arrears Solutions</a:t>
            </a:r>
          </a:p>
          <a:p>
            <a:pPr>
              <a:spcBef>
                <a:spcPts val="0"/>
              </a:spcBef>
              <a:buClr>
                <a:srgbClr val="13B5EA"/>
              </a:buClr>
              <a:defRPr/>
            </a:pPr>
            <a:endParaRPr lang="en-GB" sz="1000" kern="7500" dirty="0">
              <a:solidFill>
                <a:srgbClr val="43B049"/>
              </a:solidFill>
              <a:latin typeface="+mn-lt"/>
              <a:ea typeface="MS PGothic"/>
            </a:endParaRPr>
          </a:p>
          <a:p>
            <a:pPr defTabSz="898525">
              <a:spcBef>
                <a:spcPts val="0"/>
              </a:spcBef>
              <a:buClr>
                <a:srgbClr val="13B5EA"/>
              </a:buClr>
              <a:tabLst>
                <a:tab pos="265113" algn="l"/>
              </a:tabLst>
              <a:defRPr/>
            </a:pPr>
            <a:r>
              <a:rPr lang="en-GB" sz="1000" dirty="0">
                <a:solidFill>
                  <a:srgbClr val="455560"/>
                </a:solidFill>
                <a:latin typeface="+mn-lt"/>
                <a:ea typeface="MS PGothic"/>
              </a:rPr>
              <a:t>T:	+44 207 029 5467</a:t>
            </a:r>
          </a:p>
          <a:p>
            <a:pPr>
              <a:spcBef>
                <a:spcPts val="0"/>
              </a:spcBef>
              <a:buClr>
                <a:srgbClr val="13B5EA"/>
              </a:buClr>
              <a:tabLst>
                <a:tab pos="265113" algn="l"/>
              </a:tabLst>
              <a:defRPr/>
            </a:pPr>
            <a:r>
              <a:rPr lang="en-GB" sz="1000" dirty="0">
                <a:solidFill>
                  <a:srgbClr val="455560"/>
                </a:solidFill>
                <a:latin typeface="+mn-lt"/>
                <a:ea typeface="MS PGothic"/>
              </a:rPr>
              <a:t>M:	+44 7810 155 748</a:t>
            </a:r>
          </a:p>
          <a:p>
            <a:pPr defTabSz="265113">
              <a:spcBef>
                <a:spcPts val="0"/>
              </a:spcBef>
              <a:buClr>
                <a:srgbClr val="13B5EA"/>
              </a:buClr>
              <a:defRPr/>
            </a:pPr>
            <a:r>
              <a:rPr lang="en-GB" sz="1000" dirty="0">
                <a:solidFill>
                  <a:srgbClr val="455560"/>
                </a:solidFill>
                <a:latin typeface="+mn-lt"/>
                <a:ea typeface="MS PGothic"/>
              </a:rPr>
              <a:t>E:	</a:t>
            </a:r>
            <a:r>
              <a:rPr lang="en-GB" sz="1000" u="sng" dirty="0">
                <a:solidFill>
                  <a:schemeClr val="tx2"/>
                </a:solidFill>
                <a:latin typeface="+mn-lt"/>
                <a:ea typeface="MS PGothic"/>
              </a:rPr>
              <a:t>Sushil.Patel</a:t>
            </a:r>
            <a:r>
              <a:rPr lang="en-GB" sz="1000" dirty="0">
                <a:solidFill>
                  <a:schemeClr val="tx2"/>
                </a:solidFill>
                <a:latin typeface="+mn-lt"/>
                <a:ea typeface="MS PGothic"/>
                <a:hlinkClick r:id="rId2">
                  <a:extLst>
                    <a:ext uri="{A12FA001-AC4F-418D-AE19-62706E023703}">
                      <ahyp:hlinkClr xmlns:ahyp="http://schemas.microsoft.com/office/drawing/2018/hyperlinkcolor" val="tx"/>
                    </a:ext>
                  </a:extLst>
                </a:hlinkClick>
              </a:rPr>
              <a:t>@kroll.com</a:t>
            </a:r>
            <a:r>
              <a:rPr lang="en-GB" sz="1000" dirty="0">
                <a:solidFill>
                  <a:srgbClr val="455560"/>
                </a:solidFill>
                <a:latin typeface="+mn-lt"/>
                <a:ea typeface="MS PGothic"/>
              </a:rPr>
              <a:t> </a:t>
            </a:r>
          </a:p>
        </p:txBody>
      </p:sp>
    </p:spTree>
    <p:extLst>
      <p:ext uri="{BB962C8B-B14F-4D97-AF65-F5344CB8AC3E}">
        <p14:creationId xmlns:p14="http://schemas.microsoft.com/office/powerpoint/2010/main" val="456132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565079" y="2021370"/>
            <a:ext cx="8640566" cy="846523"/>
          </a:xfrm>
        </p:spPr>
        <p:txBody>
          <a:bodyPr/>
          <a:lstStyle/>
          <a:p>
            <a:r>
              <a:rPr lang="en-US"/>
              <a:t>01. Introduction To Kroll</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prstGeom prst="rect">
            <a:avLst/>
          </a:prstGeom>
        </p:spPr>
        <p:txBody>
          <a:bodyPr/>
          <a:lstStyle/>
          <a:p>
            <a:fld id="{CB7FE98A-78B1-495F-8A5C-53E48422F91F}" type="slidenum">
              <a:rPr lang="en-US" smtClean="0"/>
              <a:pPr/>
              <a:t>3</a:t>
            </a:fld>
            <a:endParaRPr lang="en-US"/>
          </a:p>
        </p:txBody>
      </p:sp>
    </p:spTree>
    <p:extLst>
      <p:ext uri="{BB962C8B-B14F-4D97-AF65-F5344CB8AC3E}">
        <p14:creationId xmlns:p14="http://schemas.microsoft.com/office/powerpoint/2010/main" val="645852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B3738F-648B-45E5-95CE-C2400A0737A8}"/>
              </a:ext>
            </a:extLst>
          </p:cNvPr>
          <p:cNvSpPr>
            <a:spLocks noGrp="1"/>
          </p:cNvSpPr>
          <p:nvPr>
            <p:ph type="sldNum" sz="quarter" idx="12"/>
          </p:nvPr>
        </p:nvSpPr>
        <p:spPr/>
        <p:txBody>
          <a:bodyPr/>
          <a:lstStyle/>
          <a:p>
            <a:fld id="{CB7FE98A-78B1-495F-8A5C-53E48422F91F}" type="slidenum">
              <a:rPr lang="en-US" smtClean="0"/>
              <a:pPr/>
              <a:t>4</a:t>
            </a:fld>
            <a:endParaRPr lang="en-US"/>
          </a:p>
        </p:txBody>
      </p:sp>
      <p:sp>
        <p:nvSpPr>
          <p:cNvPr id="75" name="Title 3">
            <a:extLst>
              <a:ext uri="{FF2B5EF4-FFF2-40B4-BE49-F238E27FC236}">
                <a16:creationId xmlns:a16="http://schemas.microsoft.com/office/drawing/2014/main" id="{BC286647-7C45-4A5E-B30C-F9A2FDA4FF6E}"/>
              </a:ext>
            </a:extLst>
          </p:cNvPr>
          <p:cNvSpPr txBox="1">
            <a:spLocks/>
          </p:cNvSpPr>
          <p:nvPr/>
        </p:nvSpPr>
        <p:spPr>
          <a:xfrm>
            <a:off x="321747" y="376501"/>
            <a:ext cx="7172164" cy="373839"/>
          </a:xfrm>
          <a:prstGeom prst="rect">
            <a:avLst/>
          </a:prstGeom>
        </p:spPr>
        <p:txBody>
          <a:bodyPr vert="horz" lIns="91440" tIns="45720" rIns="91440" bIns="45720" rtlCol="0" anchor="ctr">
            <a:noAutofit/>
          </a:bodyPr>
          <a:lstStyle>
            <a:lvl1pPr algn="l" defTabSz="914354" rtl="0" eaLnBrk="1" latinLnBrk="0" hangingPunct="1">
              <a:lnSpc>
                <a:spcPct val="113000"/>
              </a:lnSpc>
              <a:spcBef>
                <a:spcPct val="0"/>
              </a:spcBef>
              <a:buNone/>
              <a:defRPr sz="2400" kern="2400" spc="-60" baseline="0">
                <a:solidFill>
                  <a:schemeClr val="tx2"/>
                </a:solidFill>
                <a:latin typeface="+mj-lt"/>
                <a:ea typeface="+mj-ea"/>
                <a:cs typeface="+mj-cs"/>
              </a:defRPr>
            </a:lvl1pPr>
          </a:lstStyle>
          <a:p>
            <a:r>
              <a:rPr lang="en-GB" b="1" dirty="0">
                <a:latin typeface="+mn-lt"/>
              </a:rPr>
              <a:t>UK Restructuring - SME Mid Market Practice </a:t>
            </a:r>
          </a:p>
        </p:txBody>
      </p:sp>
      <p:sp>
        <p:nvSpPr>
          <p:cNvPr id="95" name="Rectangle 94">
            <a:extLst>
              <a:ext uri="{FF2B5EF4-FFF2-40B4-BE49-F238E27FC236}">
                <a16:creationId xmlns:a16="http://schemas.microsoft.com/office/drawing/2014/main" id="{EDD9EC7A-9B58-47FA-9F0B-F75018CD0E4B}"/>
              </a:ext>
            </a:extLst>
          </p:cNvPr>
          <p:cNvSpPr/>
          <p:nvPr/>
        </p:nvSpPr>
        <p:spPr>
          <a:xfrm>
            <a:off x="298683" y="1377720"/>
            <a:ext cx="2248046" cy="1341597"/>
          </a:xfrm>
          <a:prstGeom prst="rect">
            <a:avLst/>
          </a:prstGeom>
          <a:solidFill>
            <a:schemeClr val="bg1"/>
          </a:solidFill>
          <a:ln w="12700" cap="flat" cmpd="sng" algn="ctr">
            <a:solidFill>
              <a:srgbClr val="14487F"/>
            </a:solidFill>
            <a:prstDash val="solid"/>
            <a:miter lim="800000"/>
          </a:ln>
          <a:effectLst/>
        </p:spPr>
        <p:txBody>
          <a:bodyPr rtlCol="0" anchor="ctr"/>
          <a:lstStyle/>
          <a:p>
            <a:pPr algn="ctr" defTabSz="1371592"/>
            <a:endParaRPr lang="en-GB" sz="1000" b="1" kern="0">
              <a:solidFill>
                <a:prstClr val="white"/>
              </a:solidFill>
            </a:endParaRPr>
          </a:p>
        </p:txBody>
      </p:sp>
      <p:grpSp>
        <p:nvGrpSpPr>
          <p:cNvPr id="96" name="UK (detailed)">
            <a:extLst>
              <a:ext uri="{FF2B5EF4-FFF2-40B4-BE49-F238E27FC236}">
                <a16:creationId xmlns:a16="http://schemas.microsoft.com/office/drawing/2014/main" id="{4824F16D-C5E2-4819-99D8-990F642E8918}"/>
              </a:ext>
            </a:extLst>
          </p:cNvPr>
          <p:cNvGrpSpPr>
            <a:grpSpLocks noChangeAspect="1"/>
          </p:cNvGrpSpPr>
          <p:nvPr>
            <p:custDataLst>
              <p:tags r:id="rId1"/>
            </p:custDataLst>
          </p:nvPr>
        </p:nvGrpSpPr>
        <p:grpSpPr>
          <a:xfrm>
            <a:off x="2468580" y="1337697"/>
            <a:ext cx="3979726" cy="4999730"/>
            <a:chOff x="892175" y="1605031"/>
            <a:chExt cx="3536950" cy="4633913"/>
          </a:xfrm>
          <a:solidFill>
            <a:srgbClr val="CFCFCF"/>
          </a:solidFill>
        </p:grpSpPr>
        <p:sp>
          <p:nvSpPr>
            <p:cNvPr id="97" name="Freeform 334">
              <a:extLst>
                <a:ext uri="{FF2B5EF4-FFF2-40B4-BE49-F238E27FC236}">
                  <a16:creationId xmlns:a16="http://schemas.microsoft.com/office/drawing/2014/main" id="{DDA62DE4-158A-4C0F-83EA-1A4F34A2A631}"/>
                </a:ext>
              </a:extLst>
            </p:cNvPr>
            <p:cNvSpPr>
              <a:spLocks noEditPoints="1"/>
            </p:cNvSpPr>
            <p:nvPr/>
          </p:nvSpPr>
          <p:spPr bwMode="auto">
            <a:xfrm>
              <a:off x="3138488" y="3363981"/>
              <a:ext cx="557213" cy="671513"/>
            </a:xfrm>
            <a:custGeom>
              <a:avLst/>
              <a:gdLst>
                <a:gd name="T0" fmla="*/ 72 w 701"/>
                <a:gd name="T1" fmla="*/ 453 h 847"/>
                <a:gd name="T2" fmla="*/ 40 w 701"/>
                <a:gd name="T3" fmla="*/ 543 h 847"/>
                <a:gd name="T4" fmla="*/ 93 w 701"/>
                <a:gd name="T5" fmla="*/ 604 h 847"/>
                <a:gd name="T6" fmla="*/ 118 w 701"/>
                <a:gd name="T7" fmla="*/ 693 h 847"/>
                <a:gd name="T8" fmla="*/ 188 w 701"/>
                <a:gd name="T9" fmla="*/ 844 h 847"/>
                <a:gd name="T10" fmla="*/ 335 w 701"/>
                <a:gd name="T11" fmla="*/ 813 h 847"/>
                <a:gd name="T12" fmla="*/ 400 w 701"/>
                <a:gd name="T13" fmla="*/ 806 h 847"/>
                <a:gd name="T14" fmla="*/ 427 w 701"/>
                <a:gd name="T15" fmla="*/ 825 h 847"/>
                <a:gd name="T16" fmla="*/ 456 w 701"/>
                <a:gd name="T17" fmla="*/ 837 h 847"/>
                <a:gd name="T18" fmla="*/ 481 w 701"/>
                <a:gd name="T19" fmla="*/ 820 h 847"/>
                <a:gd name="T20" fmla="*/ 534 w 701"/>
                <a:gd name="T21" fmla="*/ 814 h 847"/>
                <a:gd name="T22" fmla="*/ 663 w 701"/>
                <a:gd name="T23" fmla="*/ 816 h 847"/>
                <a:gd name="T24" fmla="*/ 693 w 701"/>
                <a:gd name="T25" fmla="*/ 773 h 847"/>
                <a:gd name="T26" fmla="*/ 661 w 701"/>
                <a:gd name="T27" fmla="*/ 767 h 847"/>
                <a:gd name="T28" fmla="*/ 631 w 701"/>
                <a:gd name="T29" fmla="*/ 759 h 847"/>
                <a:gd name="T30" fmla="*/ 595 w 701"/>
                <a:gd name="T31" fmla="*/ 735 h 847"/>
                <a:gd name="T32" fmla="*/ 568 w 701"/>
                <a:gd name="T33" fmla="*/ 726 h 847"/>
                <a:gd name="T34" fmla="*/ 561 w 701"/>
                <a:gd name="T35" fmla="*/ 746 h 847"/>
                <a:gd name="T36" fmla="*/ 547 w 701"/>
                <a:gd name="T37" fmla="*/ 760 h 847"/>
                <a:gd name="T38" fmla="*/ 559 w 701"/>
                <a:gd name="T39" fmla="*/ 735 h 847"/>
                <a:gd name="T40" fmla="*/ 553 w 701"/>
                <a:gd name="T41" fmla="*/ 714 h 847"/>
                <a:gd name="T42" fmla="*/ 548 w 701"/>
                <a:gd name="T43" fmla="*/ 689 h 847"/>
                <a:gd name="T44" fmla="*/ 522 w 701"/>
                <a:gd name="T45" fmla="*/ 660 h 847"/>
                <a:gd name="T46" fmla="*/ 507 w 701"/>
                <a:gd name="T47" fmla="*/ 632 h 847"/>
                <a:gd name="T48" fmla="*/ 491 w 701"/>
                <a:gd name="T49" fmla="*/ 574 h 847"/>
                <a:gd name="T50" fmla="*/ 488 w 701"/>
                <a:gd name="T51" fmla="*/ 537 h 847"/>
                <a:gd name="T52" fmla="*/ 480 w 701"/>
                <a:gd name="T53" fmla="*/ 510 h 847"/>
                <a:gd name="T54" fmla="*/ 453 w 701"/>
                <a:gd name="T55" fmla="*/ 513 h 847"/>
                <a:gd name="T56" fmla="*/ 465 w 701"/>
                <a:gd name="T57" fmla="*/ 495 h 847"/>
                <a:gd name="T58" fmla="*/ 457 w 701"/>
                <a:gd name="T59" fmla="*/ 471 h 847"/>
                <a:gd name="T60" fmla="*/ 441 w 701"/>
                <a:gd name="T61" fmla="*/ 441 h 847"/>
                <a:gd name="T62" fmla="*/ 431 w 701"/>
                <a:gd name="T63" fmla="*/ 414 h 847"/>
                <a:gd name="T64" fmla="*/ 412 w 701"/>
                <a:gd name="T65" fmla="*/ 399 h 847"/>
                <a:gd name="T66" fmla="*/ 438 w 701"/>
                <a:gd name="T67" fmla="*/ 387 h 847"/>
                <a:gd name="T68" fmla="*/ 420 w 701"/>
                <a:gd name="T69" fmla="*/ 354 h 847"/>
                <a:gd name="T70" fmla="*/ 420 w 701"/>
                <a:gd name="T71" fmla="*/ 304 h 847"/>
                <a:gd name="T72" fmla="*/ 407 w 701"/>
                <a:gd name="T73" fmla="*/ 291 h 847"/>
                <a:gd name="T74" fmla="*/ 403 w 701"/>
                <a:gd name="T75" fmla="*/ 258 h 847"/>
                <a:gd name="T76" fmla="*/ 404 w 701"/>
                <a:gd name="T77" fmla="*/ 230 h 847"/>
                <a:gd name="T78" fmla="*/ 395 w 701"/>
                <a:gd name="T79" fmla="*/ 192 h 847"/>
                <a:gd name="T80" fmla="*/ 386 w 701"/>
                <a:gd name="T81" fmla="*/ 168 h 847"/>
                <a:gd name="T82" fmla="*/ 380 w 701"/>
                <a:gd name="T83" fmla="*/ 139 h 847"/>
                <a:gd name="T84" fmla="*/ 343 w 701"/>
                <a:gd name="T85" fmla="*/ 122 h 847"/>
                <a:gd name="T86" fmla="*/ 347 w 701"/>
                <a:gd name="T87" fmla="*/ 118 h 847"/>
                <a:gd name="T88" fmla="*/ 327 w 701"/>
                <a:gd name="T89" fmla="*/ 109 h 847"/>
                <a:gd name="T90" fmla="*/ 304 w 701"/>
                <a:gd name="T91" fmla="*/ 88 h 847"/>
                <a:gd name="T92" fmla="*/ 286 w 701"/>
                <a:gd name="T93" fmla="*/ 63 h 847"/>
                <a:gd name="T94" fmla="*/ 255 w 701"/>
                <a:gd name="T95" fmla="*/ 19 h 847"/>
                <a:gd name="T96" fmla="*/ 237 w 701"/>
                <a:gd name="T97" fmla="*/ 3 h 847"/>
                <a:gd name="T98" fmla="*/ 214 w 701"/>
                <a:gd name="T99" fmla="*/ 34 h 847"/>
                <a:gd name="T100" fmla="*/ 199 w 701"/>
                <a:gd name="T101" fmla="*/ 55 h 847"/>
                <a:gd name="T102" fmla="*/ 173 w 701"/>
                <a:gd name="T103" fmla="*/ 91 h 847"/>
                <a:gd name="T104" fmla="*/ 153 w 701"/>
                <a:gd name="T105" fmla="*/ 105 h 847"/>
                <a:gd name="T106" fmla="*/ 142 w 701"/>
                <a:gd name="T107" fmla="*/ 116 h 847"/>
                <a:gd name="T108" fmla="*/ 159 w 701"/>
                <a:gd name="T109" fmla="*/ 151 h 847"/>
                <a:gd name="T110" fmla="*/ 179 w 701"/>
                <a:gd name="T111" fmla="*/ 206 h 847"/>
                <a:gd name="T112" fmla="*/ 157 w 701"/>
                <a:gd name="T113" fmla="*/ 236 h 847"/>
                <a:gd name="T114" fmla="*/ 118 w 701"/>
                <a:gd name="T115" fmla="*/ 284 h 847"/>
                <a:gd name="T116" fmla="*/ 64 w 701"/>
                <a:gd name="T117" fmla="*/ 303 h 847"/>
                <a:gd name="T118" fmla="*/ 31 w 701"/>
                <a:gd name="T119" fmla="*/ 349 h 847"/>
                <a:gd name="T120" fmla="*/ 2 w 701"/>
                <a:gd name="T121" fmla="*/ 39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1" h="847">
                  <a:moveTo>
                    <a:pt x="0" y="402"/>
                  </a:moveTo>
                  <a:lnTo>
                    <a:pt x="1" y="409"/>
                  </a:lnTo>
                  <a:lnTo>
                    <a:pt x="12" y="423"/>
                  </a:lnTo>
                  <a:lnTo>
                    <a:pt x="30" y="428"/>
                  </a:lnTo>
                  <a:lnTo>
                    <a:pt x="32" y="440"/>
                  </a:lnTo>
                  <a:lnTo>
                    <a:pt x="36" y="447"/>
                  </a:lnTo>
                  <a:lnTo>
                    <a:pt x="40" y="445"/>
                  </a:lnTo>
                  <a:lnTo>
                    <a:pt x="45" y="455"/>
                  </a:lnTo>
                  <a:lnTo>
                    <a:pt x="54" y="455"/>
                  </a:lnTo>
                  <a:lnTo>
                    <a:pt x="65" y="449"/>
                  </a:lnTo>
                  <a:lnTo>
                    <a:pt x="72" y="453"/>
                  </a:lnTo>
                  <a:lnTo>
                    <a:pt x="66" y="459"/>
                  </a:lnTo>
                  <a:lnTo>
                    <a:pt x="69" y="463"/>
                  </a:lnTo>
                  <a:lnTo>
                    <a:pt x="65" y="467"/>
                  </a:lnTo>
                  <a:lnTo>
                    <a:pt x="72" y="480"/>
                  </a:lnTo>
                  <a:lnTo>
                    <a:pt x="55" y="485"/>
                  </a:lnTo>
                  <a:lnTo>
                    <a:pt x="39" y="495"/>
                  </a:lnTo>
                  <a:lnTo>
                    <a:pt x="39" y="513"/>
                  </a:lnTo>
                  <a:lnTo>
                    <a:pt x="28" y="524"/>
                  </a:lnTo>
                  <a:lnTo>
                    <a:pt x="31" y="528"/>
                  </a:lnTo>
                  <a:lnTo>
                    <a:pt x="40" y="531"/>
                  </a:lnTo>
                  <a:lnTo>
                    <a:pt x="40" y="543"/>
                  </a:lnTo>
                  <a:lnTo>
                    <a:pt x="49" y="550"/>
                  </a:lnTo>
                  <a:lnTo>
                    <a:pt x="40" y="555"/>
                  </a:lnTo>
                  <a:lnTo>
                    <a:pt x="38" y="570"/>
                  </a:lnTo>
                  <a:lnTo>
                    <a:pt x="27" y="578"/>
                  </a:lnTo>
                  <a:lnTo>
                    <a:pt x="38" y="596"/>
                  </a:lnTo>
                  <a:lnTo>
                    <a:pt x="35" y="601"/>
                  </a:lnTo>
                  <a:lnTo>
                    <a:pt x="39" y="615"/>
                  </a:lnTo>
                  <a:lnTo>
                    <a:pt x="53" y="626"/>
                  </a:lnTo>
                  <a:lnTo>
                    <a:pt x="66" y="624"/>
                  </a:lnTo>
                  <a:lnTo>
                    <a:pt x="80" y="609"/>
                  </a:lnTo>
                  <a:lnTo>
                    <a:pt x="93" y="604"/>
                  </a:lnTo>
                  <a:lnTo>
                    <a:pt x="97" y="596"/>
                  </a:lnTo>
                  <a:lnTo>
                    <a:pt x="106" y="611"/>
                  </a:lnTo>
                  <a:lnTo>
                    <a:pt x="122" y="626"/>
                  </a:lnTo>
                  <a:lnTo>
                    <a:pt x="129" y="627"/>
                  </a:lnTo>
                  <a:lnTo>
                    <a:pt x="130" y="634"/>
                  </a:lnTo>
                  <a:lnTo>
                    <a:pt x="134" y="635"/>
                  </a:lnTo>
                  <a:lnTo>
                    <a:pt x="135" y="647"/>
                  </a:lnTo>
                  <a:lnTo>
                    <a:pt x="130" y="653"/>
                  </a:lnTo>
                  <a:lnTo>
                    <a:pt x="127" y="673"/>
                  </a:lnTo>
                  <a:lnTo>
                    <a:pt x="129" y="676"/>
                  </a:lnTo>
                  <a:lnTo>
                    <a:pt x="118" y="693"/>
                  </a:lnTo>
                  <a:lnTo>
                    <a:pt x="119" y="702"/>
                  </a:lnTo>
                  <a:lnTo>
                    <a:pt x="129" y="711"/>
                  </a:lnTo>
                  <a:lnTo>
                    <a:pt x="141" y="715"/>
                  </a:lnTo>
                  <a:lnTo>
                    <a:pt x="144" y="723"/>
                  </a:lnTo>
                  <a:lnTo>
                    <a:pt x="129" y="735"/>
                  </a:lnTo>
                  <a:lnTo>
                    <a:pt x="137" y="757"/>
                  </a:lnTo>
                  <a:lnTo>
                    <a:pt x="172" y="784"/>
                  </a:lnTo>
                  <a:lnTo>
                    <a:pt x="176" y="797"/>
                  </a:lnTo>
                  <a:lnTo>
                    <a:pt x="186" y="797"/>
                  </a:lnTo>
                  <a:lnTo>
                    <a:pt x="191" y="835"/>
                  </a:lnTo>
                  <a:lnTo>
                    <a:pt x="188" y="844"/>
                  </a:lnTo>
                  <a:lnTo>
                    <a:pt x="206" y="840"/>
                  </a:lnTo>
                  <a:lnTo>
                    <a:pt x="234" y="828"/>
                  </a:lnTo>
                  <a:lnTo>
                    <a:pt x="233" y="833"/>
                  </a:lnTo>
                  <a:lnTo>
                    <a:pt x="252" y="837"/>
                  </a:lnTo>
                  <a:lnTo>
                    <a:pt x="262" y="847"/>
                  </a:lnTo>
                  <a:lnTo>
                    <a:pt x="272" y="845"/>
                  </a:lnTo>
                  <a:lnTo>
                    <a:pt x="304" y="828"/>
                  </a:lnTo>
                  <a:lnTo>
                    <a:pt x="304" y="816"/>
                  </a:lnTo>
                  <a:lnTo>
                    <a:pt x="310" y="811"/>
                  </a:lnTo>
                  <a:lnTo>
                    <a:pt x="328" y="826"/>
                  </a:lnTo>
                  <a:lnTo>
                    <a:pt x="335" y="813"/>
                  </a:lnTo>
                  <a:lnTo>
                    <a:pt x="332" y="797"/>
                  </a:lnTo>
                  <a:lnTo>
                    <a:pt x="350" y="799"/>
                  </a:lnTo>
                  <a:lnTo>
                    <a:pt x="354" y="791"/>
                  </a:lnTo>
                  <a:lnTo>
                    <a:pt x="363" y="794"/>
                  </a:lnTo>
                  <a:lnTo>
                    <a:pt x="369" y="797"/>
                  </a:lnTo>
                  <a:lnTo>
                    <a:pt x="378" y="795"/>
                  </a:lnTo>
                  <a:lnTo>
                    <a:pt x="380" y="802"/>
                  </a:lnTo>
                  <a:lnTo>
                    <a:pt x="388" y="801"/>
                  </a:lnTo>
                  <a:lnTo>
                    <a:pt x="388" y="807"/>
                  </a:lnTo>
                  <a:lnTo>
                    <a:pt x="396" y="805"/>
                  </a:lnTo>
                  <a:lnTo>
                    <a:pt x="400" y="806"/>
                  </a:lnTo>
                  <a:lnTo>
                    <a:pt x="399" y="810"/>
                  </a:lnTo>
                  <a:lnTo>
                    <a:pt x="407" y="809"/>
                  </a:lnTo>
                  <a:lnTo>
                    <a:pt x="407" y="813"/>
                  </a:lnTo>
                  <a:lnTo>
                    <a:pt x="403" y="814"/>
                  </a:lnTo>
                  <a:lnTo>
                    <a:pt x="408" y="813"/>
                  </a:lnTo>
                  <a:lnTo>
                    <a:pt x="407" y="818"/>
                  </a:lnTo>
                  <a:lnTo>
                    <a:pt x="416" y="826"/>
                  </a:lnTo>
                  <a:lnTo>
                    <a:pt x="420" y="835"/>
                  </a:lnTo>
                  <a:lnTo>
                    <a:pt x="430" y="835"/>
                  </a:lnTo>
                  <a:lnTo>
                    <a:pt x="426" y="832"/>
                  </a:lnTo>
                  <a:lnTo>
                    <a:pt x="427" y="825"/>
                  </a:lnTo>
                  <a:lnTo>
                    <a:pt x="433" y="826"/>
                  </a:lnTo>
                  <a:lnTo>
                    <a:pt x="434" y="832"/>
                  </a:lnTo>
                  <a:lnTo>
                    <a:pt x="441" y="825"/>
                  </a:lnTo>
                  <a:lnTo>
                    <a:pt x="438" y="832"/>
                  </a:lnTo>
                  <a:lnTo>
                    <a:pt x="446" y="833"/>
                  </a:lnTo>
                  <a:lnTo>
                    <a:pt x="450" y="841"/>
                  </a:lnTo>
                  <a:lnTo>
                    <a:pt x="448" y="841"/>
                  </a:lnTo>
                  <a:lnTo>
                    <a:pt x="449" y="844"/>
                  </a:lnTo>
                  <a:lnTo>
                    <a:pt x="453" y="847"/>
                  </a:lnTo>
                  <a:lnTo>
                    <a:pt x="452" y="840"/>
                  </a:lnTo>
                  <a:lnTo>
                    <a:pt x="456" y="837"/>
                  </a:lnTo>
                  <a:lnTo>
                    <a:pt x="452" y="832"/>
                  </a:lnTo>
                  <a:lnTo>
                    <a:pt x="453" y="821"/>
                  </a:lnTo>
                  <a:lnTo>
                    <a:pt x="448" y="816"/>
                  </a:lnTo>
                  <a:lnTo>
                    <a:pt x="453" y="814"/>
                  </a:lnTo>
                  <a:lnTo>
                    <a:pt x="461" y="822"/>
                  </a:lnTo>
                  <a:lnTo>
                    <a:pt x="465" y="825"/>
                  </a:lnTo>
                  <a:lnTo>
                    <a:pt x="464" y="829"/>
                  </a:lnTo>
                  <a:lnTo>
                    <a:pt x="471" y="830"/>
                  </a:lnTo>
                  <a:lnTo>
                    <a:pt x="472" y="821"/>
                  </a:lnTo>
                  <a:lnTo>
                    <a:pt x="477" y="825"/>
                  </a:lnTo>
                  <a:lnTo>
                    <a:pt x="481" y="820"/>
                  </a:lnTo>
                  <a:lnTo>
                    <a:pt x="487" y="825"/>
                  </a:lnTo>
                  <a:lnTo>
                    <a:pt x="486" y="833"/>
                  </a:lnTo>
                  <a:lnTo>
                    <a:pt x="488" y="837"/>
                  </a:lnTo>
                  <a:lnTo>
                    <a:pt x="495" y="833"/>
                  </a:lnTo>
                  <a:lnTo>
                    <a:pt x="496" y="839"/>
                  </a:lnTo>
                  <a:lnTo>
                    <a:pt x="507" y="830"/>
                  </a:lnTo>
                  <a:lnTo>
                    <a:pt x="513" y="830"/>
                  </a:lnTo>
                  <a:lnTo>
                    <a:pt x="519" y="822"/>
                  </a:lnTo>
                  <a:lnTo>
                    <a:pt x="529" y="824"/>
                  </a:lnTo>
                  <a:lnTo>
                    <a:pt x="529" y="816"/>
                  </a:lnTo>
                  <a:lnTo>
                    <a:pt x="534" y="814"/>
                  </a:lnTo>
                  <a:lnTo>
                    <a:pt x="537" y="809"/>
                  </a:lnTo>
                  <a:lnTo>
                    <a:pt x="538" y="809"/>
                  </a:lnTo>
                  <a:lnTo>
                    <a:pt x="570" y="814"/>
                  </a:lnTo>
                  <a:lnTo>
                    <a:pt x="580" y="816"/>
                  </a:lnTo>
                  <a:lnTo>
                    <a:pt x="589" y="810"/>
                  </a:lnTo>
                  <a:lnTo>
                    <a:pt x="610" y="818"/>
                  </a:lnTo>
                  <a:lnTo>
                    <a:pt x="616" y="813"/>
                  </a:lnTo>
                  <a:lnTo>
                    <a:pt x="623" y="813"/>
                  </a:lnTo>
                  <a:lnTo>
                    <a:pt x="636" y="816"/>
                  </a:lnTo>
                  <a:lnTo>
                    <a:pt x="643" y="822"/>
                  </a:lnTo>
                  <a:lnTo>
                    <a:pt x="663" y="816"/>
                  </a:lnTo>
                  <a:lnTo>
                    <a:pt x="682" y="820"/>
                  </a:lnTo>
                  <a:lnTo>
                    <a:pt x="678" y="811"/>
                  </a:lnTo>
                  <a:lnTo>
                    <a:pt x="680" y="795"/>
                  </a:lnTo>
                  <a:lnTo>
                    <a:pt x="688" y="783"/>
                  </a:lnTo>
                  <a:lnTo>
                    <a:pt x="697" y="782"/>
                  </a:lnTo>
                  <a:lnTo>
                    <a:pt x="701" y="778"/>
                  </a:lnTo>
                  <a:lnTo>
                    <a:pt x="700" y="778"/>
                  </a:lnTo>
                  <a:lnTo>
                    <a:pt x="700" y="775"/>
                  </a:lnTo>
                  <a:lnTo>
                    <a:pt x="700" y="775"/>
                  </a:lnTo>
                  <a:lnTo>
                    <a:pt x="697" y="775"/>
                  </a:lnTo>
                  <a:lnTo>
                    <a:pt x="693" y="773"/>
                  </a:lnTo>
                  <a:lnTo>
                    <a:pt x="693" y="773"/>
                  </a:lnTo>
                  <a:lnTo>
                    <a:pt x="690" y="775"/>
                  </a:lnTo>
                  <a:lnTo>
                    <a:pt x="688" y="775"/>
                  </a:lnTo>
                  <a:lnTo>
                    <a:pt x="688" y="775"/>
                  </a:lnTo>
                  <a:lnTo>
                    <a:pt x="684" y="772"/>
                  </a:lnTo>
                  <a:lnTo>
                    <a:pt x="677" y="768"/>
                  </a:lnTo>
                  <a:lnTo>
                    <a:pt x="671" y="767"/>
                  </a:lnTo>
                  <a:lnTo>
                    <a:pt x="667" y="767"/>
                  </a:lnTo>
                  <a:lnTo>
                    <a:pt x="666" y="768"/>
                  </a:lnTo>
                  <a:lnTo>
                    <a:pt x="666" y="768"/>
                  </a:lnTo>
                  <a:lnTo>
                    <a:pt x="661" y="767"/>
                  </a:lnTo>
                  <a:lnTo>
                    <a:pt x="656" y="767"/>
                  </a:lnTo>
                  <a:lnTo>
                    <a:pt x="656" y="764"/>
                  </a:lnTo>
                  <a:lnTo>
                    <a:pt x="655" y="765"/>
                  </a:lnTo>
                  <a:lnTo>
                    <a:pt x="650" y="761"/>
                  </a:lnTo>
                  <a:lnTo>
                    <a:pt x="648" y="760"/>
                  </a:lnTo>
                  <a:lnTo>
                    <a:pt x="648" y="760"/>
                  </a:lnTo>
                  <a:lnTo>
                    <a:pt x="644" y="757"/>
                  </a:lnTo>
                  <a:lnTo>
                    <a:pt x="640" y="757"/>
                  </a:lnTo>
                  <a:lnTo>
                    <a:pt x="635" y="759"/>
                  </a:lnTo>
                  <a:lnTo>
                    <a:pt x="631" y="759"/>
                  </a:lnTo>
                  <a:lnTo>
                    <a:pt x="631" y="759"/>
                  </a:lnTo>
                  <a:lnTo>
                    <a:pt x="620" y="753"/>
                  </a:lnTo>
                  <a:lnTo>
                    <a:pt x="620" y="753"/>
                  </a:lnTo>
                  <a:lnTo>
                    <a:pt x="618" y="753"/>
                  </a:lnTo>
                  <a:lnTo>
                    <a:pt x="618" y="753"/>
                  </a:lnTo>
                  <a:lnTo>
                    <a:pt x="613" y="750"/>
                  </a:lnTo>
                  <a:lnTo>
                    <a:pt x="608" y="746"/>
                  </a:lnTo>
                  <a:lnTo>
                    <a:pt x="608" y="746"/>
                  </a:lnTo>
                  <a:lnTo>
                    <a:pt x="602" y="741"/>
                  </a:lnTo>
                  <a:lnTo>
                    <a:pt x="599" y="738"/>
                  </a:lnTo>
                  <a:lnTo>
                    <a:pt x="595" y="735"/>
                  </a:lnTo>
                  <a:lnTo>
                    <a:pt x="595" y="735"/>
                  </a:lnTo>
                  <a:lnTo>
                    <a:pt x="591" y="737"/>
                  </a:lnTo>
                  <a:lnTo>
                    <a:pt x="587" y="735"/>
                  </a:lnTo>
                  <a:lnTo>
                    <a:pt x="580" y="734"/>
                  </a:lnTo>
                  <a:lnTo>
                    <a:pt x="580" y="734"/>
                  </a:lnTo>
                  <a:lnTo>
                    <a:pt x="578" y="731"/>
                  </a:lnTo>
                  <a:lnTo>
                    <a:pt x="576" y="731"/>
                  </a:lnTo>
                  <a:lnTo>
                    <a:pt x="574" y="730"/>
                  </a:lnTo>
                  <a:lnTo>
                    <a:pt x="575" y="729"/>
                  </a:lnTo>
                  <a:lnTo>
                    <a:pt x="571" y="725"/>
                  </a:lnTo>
                  <a:lnTo>
                    <a:pt x="570" y="721"/>
                  </a:lnTo>
                  <a:lnTo>
                    <a:pt x="568" y="726"/>
                  </a:lnTo>
                  <a:lnTo>
                    <a:pt x="570" y="726"/>
                  </a:lnTo>
                  <a:lnTo>
                    <a:pt x="570" y="729"/>
                  </a:lnTo>
                  <a:lnTo>
                    <a:pt x="571" y="730"/>
                  </a:lnTo>
                  <a:lnTo>
                    <a:pt x="571" y="731"/>
                  </a:lnTo>
                  <a:lnTo>
                    <a:pt x="566" y="733"/>
                  </a:lnTo>
                  <a:lnTo>
                    <a:pt x="566" y="742"/>
                  </a:lnTo>
                  <a:lnTo>
                    <a:pt x="563" y="745"/>
                  </a:lnTo>
                  <a:lnTo>
                    <a:pt x="566" y="746"/>
                  </a:lnTo>
                  <a:lnTo>
                    <a:pt x="566" y="748"/>
                  </a:lnTo>
                  <a:lnTo>
                    <a:pt x="564" y="749"/>
                  </a:lnTo>
                  <a:lnTo>
                    <a:pt x="561" y="746"/>
                  </a:lnTo>
                  <a:lnTo>
                    <a:pt x="548" y="761"/>
                  </a:lnTo>
                  <a:lnTo>
                    <a:pt x="542" y="761"/>
                  </a:lnTo>
                  <a:lnTo>
                    <a:pt x="540" y="763"/>
                  </a:lnTo>
                  <a:lnTo>
                    <a:pt x="540" y="761"/>
                  </a:lnTo>
                  <a:lnTo>
                    <a:pt x="530" y="756"/>
                  </a:lnTo>
                  <a:lnTo>
                    <a:pt x="533" y="754"/>
                  </a:lnTo>
                  <a:lnTo>
                    <a:pt x="533" y="754"/>
                  </a:lnTo>
                  <a:lnTo>
                    <a:pt x="538" y="759"/>
                  </a:lnTo>
                  <a:lnTo>
                    <a:pt x="544" y="760"/>
                  </a:lnTo>
                  <a:lnTo>
                    <a:pt x="544" y="760"/>
                  </a:lnTo>
                  <a:lnTo>
                    <a:pt x="547" y="760"/>
                  </a:lnTo>
                  <a:lnTo>
                    <a:pt x="549" y="757"/>
                  </a:lnTo>
                  <a:lnTo>
                    <a:pt x="552" y="752"/>
                  </a:lnTo>
                  <a:lnTo>
                    <a:pt x="552" y="752"/>
                  </a:lnTo>
                  <a:lnTo>
                    <a:pt x="559" y="746"/>
                  </a:lnTo>
                  <a:lnTo>
                    <a:pt x="561" y="742"/>
                  </a:lnTo>
                  <a:lnTo>
                    <a:pt x="561" y="740"/>
                  </a:lnTo>
                  <a:lnTo>
                    <a:pt x="560" y="735"/>
                  </a:lnTo>
                  <a:lnTo>
                    <a:pt x="560" y="733"/>
                  </a:lnTo>
                  <a:lnTo>
                    <a:pt x="559" y="731"/>
                  </a:lnTo>
                  <a:lnTo>
                    <a:pt x="557" y="731"/>
                  </a:lnTo>
                  <a:lnTo>
                    <a:pt x="559" y="735"/>
                  </a:lnTo>
                  <a:lnTo>
                    <a:pt x="557" y="737"/>
                  </a:lnTo>
                  <a:lnTo>
                    <a:pt x="547" y="735"/>
                  </a:lnTo>
                  <a:lnTo>
                    <a:pt x="552" y="727"/>
                  </a:lnTo>
                  <a:lnTo>
                    <a:pt x="560" y="729"/>
                  </a:lnTo>
                  <a:lnTo>
                    <a:pt x="557" y="723"/>
                  </a:lnTo>
                  <a:lnTo>
                    <a:pt x="559" y="721"/>
                  </a:lnTo>
                  <a:lnTo>
                    <a:pt x="563" y="719"/>
                  </a:lnTo>
                  <a:lnTo>
                    <a:pt x="563" y="719"/>
                  </a:lnTo>
                  <a:lnTo>
                    <a:pt x="560" y="719"/>
                  </a:lnTo>
                  <a:lnTo>
                    <a:pt x="557" y="718"/>
                  </a:lnTo>
                  <a:lnTo>
                    <a:pt x="553" y="714"/>
                  </a:lnTo>
                  <a:lnTo>
                    <a:pt x="553" y="714"/>
                  </a:lnTo>
                  <a:lnTo>
                    <a:pt x="552" y="710"/>
                  </a:lnTo>
                  <a:lnTo>
                    <a:pt x="551" y="706"/>
                  </a:lnTo>
                  <a:lnTo>
                    <a:pt x="548" y="702"/>
                  </a:lnTo>
                  <a:lnTo>
                    <a:pt x="547" y="698"/>
                  </a:lnTo>
                  <a:lnTo>
                    <a:pt x="545" y="696"/>
                  </a:lnTo>
                  <a:lnTo>
                    <a:pt x="545" y="696"/>
                  </a:lnTo>
                  <a:lnTo>
                    <a:pt x="547" y="695"/>
                  </a:lnTo>
                  <a:lnTo>
                    <a:pt x="549" y="693"/>
                  </a:lnTo>
                  <a:lnTo>
                    <a:pt x="549" y="693"/>
                  </a:lnTo>
                  <a:lnTo>
                    <a:pt x="548" y="689"/>
                  </a:lnTo>
                  <a:lnTo>
                    <a:pt x="552" y="693"/>
                  </a:lnTo>
                  <a:lnTo>
                    <a:pt x="555" y="693"/>
                  </a:lnTo>
                  <a:lnTo>
                    <a:pt x="556" y="692"/>
                  </a:lnTo>
                  <a:lnTo>
                    <a:pt x="555" y="689"/>
                  </a:lnTo>
                  <a:lnTo>
                    <a:pt x="555" y="689"/>
                  </a:lnTo>
                  <a:lnTo>
                    <a:pt x="548" y="685"/>
                  </a:lnTo>
                  <a:lnTo>
                    <a:pt x="541" y="681"/>
                  </a:lnTo>
                  <a:lnTo>
                    <a:pt x="541" y="681"/>
                  </a:lnTo>
                  <a:lnTo>
                    <a:pt x="532" y="673"/>
                  </a:lnTo>
                  <a:lnTo>
                    <a:pt x="523" y="665"/>
                  </a:lnTo>
                  <a:lnTo>
                    <a:pt x="522" y="660"/>
                  </a:lnTo>
                  <a:lnTo>
                    <a:pt x="522" y="660"/>
                  </a:lnTo>
                  <a:lnTo>
                    <a:pt x="519" y="658"/>
                  </a:lnTo>
                  <a:lnTo>
                    <a:pt x="518" y="655"/>
                  </a:lnTo>
                  <a:lnTo>
                    <a:pt x="518" y="655"/>
                  </a:lnTo>
                  <a:lnTo>
                    <a:pt x="515" y="653"/>
                  </a:lnTo>
                  <a:lnTo>
                    <a:pt x="513" y="650"/>
                  </a:lnTo>
                  <a:lnTo>
                    <a:pt x="509" y="642"/>
                  </a:lnTo>
                  <a:lnTo>
                    <a:pt x="509" y="642"/>
                  </a:lnTo>
                  <a:lnTo>
                    <a:pt x="509" y="638"/>
                  </a:lnTo>
                  <a:lnTo>
                    <a:pt x="507" y="635"/>
                  </a:lnTo>
                  <a:lnTo>
                    <a:pt x="507" y="632"/>
                  </a:lnTo>
                  <a:lnTo>
                    <a:pt x="507" y="632"/>
                  </a:lnTo>
                  <a:lnTo>
                    <a:pt x="507" y="628"/>
                  </a:lnTo>
                  <a:lnTo>
                    <a:pt x="507" y="623"/>
                  </a:lnTo>
                  <a:lnTo>
                    <a:pt x="503" y="612"/>
                  </a:lnTo>
                  <a:lnTo>
                    <a:pt x="499" y="601"/>
                  </a:lnTo>
                  <a:lnTo>
                    <a:pt x="494" y="592"/>
                  </a:lnTo>
                  <a:lnTo>
                    <a:pt x="495" y="588"/>
                  </a:lnTo>
                  <a:lnTo>
                    <a:pt x="492" y="584"/>
                  </a:lnTo>
                  <a:lnTo>
                    <a:pt x="492" y="584"/>
                  </a:lnTo>
                  <a:lnTo>
                    <a:pt x="492" y="578"/>
                  </a:lnTo>
                  <a:lnTo>
                    <a:pt x="491" y="574"/>
                  </a:lnTo>
                  <a:lnTo>
                    <a:pt x="490" y="569"/>
                  </a:lnTo>
                  <a:lnTo>
                    <a:pt x="490" y="565"/>
                  </a:lnTo>
                  <a:lnTo>
                    <a:pt x="492" y="562"/>
                  </a:lnTo>
                  <a:lnTo>
                    <a:pt x="492" y="560"/>
                  </a:lnTo>
                  <a:lnTo>
                    <a:pt x="490" y="558"/>
                  </a:lnTo>
                  <a:lnTo>
                    <a:pt x="492" y="555"/>
                  </a:lnTo>
                  <a:lnTo>
                    <a:pt x="490" y="552"/>
                  </a:lnTo>
                  <a:lnTo>
                    <a:pt x="490" y="552"/>
                  </a:lnTo>
                  <a:lnTo>
                    <a:pt x="487" y="548"/>
                  </a:lnTo>
                  <a:lnTo>
                    <a:pt x="487" y="544"/>
                  </a:lnTo>
                  <a:lnTo>
                    <a:pt x="488" y="537"/>
                  </a:lnTo>
                  <a:lnTo>
                    <a:pt x="491" y="535"/>
                  </a:lnTo>
                  <a:lnTo>
                    <a:pt x="491" y="535"/>
                  </a:lnTo>
                  <a:lnTo>
                    <a:pt x="491" y="529"/>
                  </a:lnTo>
                  <a:lnTo>
                    <a:pt x="491" y="524"/>
                  </a:lnTo>
                  <a:lnTo>
                    <a:pt x="487" y="523"/>
                  </a:lnTo>
                  <a:lnTo>
                    <a:pt x="487" y="523"/>
                  </a:lnTo>
                  <a:lnTo>
                    <a:pt x="487" y="520"/>
                  </a:lnTo>
                  <a:lnTo>
                    <a:pt x="486" y="518"/>
                  </a:lnTo>
                  <a:lnTo>
                    <a:pt x="481" y="514"/>
                  </a:lnTo>
                  <a:lnTo>
                    <a:pt x="483" y="513"/>
                  </a:lnTo>
                  <a:lnTo>
                    <a:pt x="480" y="510"/>
                  </a:lnTo>
                  <a:lnTo>
                    <a:pt x="477" y="510"/>
                  </a:lnTo>
                  <a:lnTo>
                    <a:pt x="477" y="510"/>
                  </a:lnTo>
                  <a:lnTo>
                    <a:pt x="473" y="506"/>
                  </a:lnTo>
                  <a:lnTo>
                    <a:pt x="471" y="502"/>
                  </a:lnTo>
                  <a:lnTo>
                    <a:pt x="471" y="501"/>
                  </a:lnTo>
                  <a:lnTo>
                    <a:pt x="467" y="501"/>
                  </a:lnTo>
                  <a:lnTo>
                    <a:pt x="465" y="498"/>
                  </a:lnTo>
                  <a:lnTo>
                    <a:pt x="461" y="499"/>
                  </a:lnTo>
                  <a:lnTo>
                    <a:pt x="461" y="499"/>
                  </a:lnTo>
                  <a:lnTo>
                    <a:pt x="457" y="512"/>
                  </a:lnTo>
                  <a:lnTo>
                    <a:pt x="453" y="513"/>
                  </a:lnTo>
                  <a:lnTo>
                    <a:pt x="453" y="516"/>
                  </a:lnTo>
                  <a:lnTo>
                    <a:pt x="452" y="514"/>
                  </a:lnTo>
                  <a:lnTo>
                    <a:pt x="450" y="514"/>
                  </a:lnTo>
                  <a:lnTo>
                    <a:pt x="448" y="510"/>
                  </a:lnTo>
                  <a:lnTo>
                    <a:pt x="454" y="510"/>
                  </a:lnTo>
                  <a:lnTo>
                    <a:pt x="457" y="508"/>
                  </a:lnTo>
                  <a:lnTo>
                    <a:pt x="457" y="508"/>
                  </a:lnTo>
                  <a:lnTo>
                    <a:pt x="457" y="502"/>
                  </a:lnTo>
                  <a:lnTo>
                    <a:pt x="460" y="498"/>
                  </a:lnTo>
                  <a:lnTo>
                    <a:pt x="464" y="497"/>
                  </a:lnTo>
                  <a:lnTo>
                    <a:pt x="465" y="495"/>
                  </a:lnTo>
                  <a:lnTo>
                    <a:pt x="468" y="494"/>
                  </a:lnTo>
                  <a:lnTo>
                    <a:pt x="469" y="491"/>
                  </a:lnTo>
                  <a:lnTo>
                    <a:pt x="468" y="491"/>
                  </a:lnTo>
                  <a:lnTo>
                    <a:pt x="468" y="490"/>
                  </a:lnTo>
                  <a:lnTo>
                    <a:pt x="468" y="490"/>
                  </a:lnTo>
                  <a:lnTo>
                    <a:pt x="465" y="487"/>
                  </a:lnTo>
                  <a:lnTo>
                    <a:pt x="464" y="483"/>
                  </a:lnTo>
                  <a:lnTo>
                    <a:pt x="462" y="478"/>
                  </a:lnTo>
                  <a:lnTo>
                    <a:pt x="462" y="478"/>
                  </a:lnTo>
                  <a:lnTo>
                    <a:pt x="460" y="474"/>
                  </a:lnTo>
                  <a:lnTo>
                    <a:pt x="457" y="471"/>
                  </a:lnTo>
                  <a:lnTo>
                    <a:pt x="454" y="463"/>
                  </a:lnTo>
                  <a:lnTo>
                    <a:pt x="456" y="459"/>
                  </a:lnTo>
                  <a:lnTo>
                    <a:pt x="453" y="459"/>
                  </a:lnTo>
                  <a:lnTo>
                    <a:pt x="453" y="459"/>
                  </a:lnTo>
                  <a:lnTo>
                    <a:pt x="452" y="455"/>
                  </a:lnTo>
                  <a:lnTo>
                    <a:pt x="449" y="452"/>
                  </a:lnTo>
                  <a:lnTo>
                    <a:pt x="449" y="449"/>
                  </a:lnTo>
                  <a:lnTo>
                    <a:pt x="448" y="449"/>
                  </a:lnTo>
                  <a:lnTo>
                    <a:pt x="448" y="449"/>
                  </a:lnTo>
                  <a:lnTo>
                    <a:pt x="443" y="445"/>
                  </a:lnTo>
                  <a:lnTo>
                    <a:pt x="441" y="441"/>
                  </a:lnTo>
                  <a:lnTo>
                    <a:pt x="439" y="436"/>
                  </a:lnTo>
                  <a:lnTo>
                    <a:pt x="439" y="430"/>
                  </a:lnTo>
                  <a:lnTo>
                    <a:pt x="442" y="430"/>
                  </a:lnTo>
                  <a:lnTo>
                    <a:pt x="438" y="423"/>
                  </a:lnTo>
                  <a:lnTo>
                    <a:pt x="435" y="422"/>
                  </a:lnTo>
                  <a:lnTo>
                    <a:pt x="435" y="422"/>
                  </a:lnTo>
                  <a:lnTo>
                    <a:pt x="430" y="418"/>
                  </a:lnTo>
                  <a:lnTo>
                    <a:pt x="424" y="419"/>
                  </a:lnTo>
                  <a:lnTo>
                    <a:pt x="423" y="418"/>
                  </a:lnTo>
                  <a:lnTo>
                    <a:pt x="431" y="414"/>
                  </a:lnTo>
                  <a:lnTo>
                    <a:pt x="431" y="414"/>
                  </a:lnTo>
                  <a:lnTo>
                    <a:pt x="434" y="419"/>
                  </a:lnTo>
                  <a:lnTo>
                    <a:pt x="438" y="422"/>
                  </a:lnTo>
                  <a:lnTo>
                    <a:pt x="438" y="422"/>
                  </a:lnTo>
                  <a:lnTo>
                    <a:pt x="435" y="419"/>
                  </a:lnTo>
                  <a:lnTo>
                    <a:pt x="433" y="414"/>
                  </a:lnTo>
                  <a:lnTo>
                    <a:pt x="429" y="403"/>
                  </a:lnTo>
                  <a:lnTo>
                    <a:pt x="429" y="403"/>
                  </a:lnTo>
                  <a:lnTo>
                    <a:pt x="420" y="402"/>
                  </a:lnTo>
                  <a:lnTo>
                    <a:pt x="416" y="400"/>
                  </a:lnTo>
                  <a:lnTo>
                    <a:pt x="412" y="399"/>
                  </a:lnTo>
                  <a:lnTo>
                    <a:pt x="412" y="399"/>
                  </a:lnTo>
                  <a:lnTo>
                    <a:pt x="418" y="400"/>
                  </a:lnTo>
                  <a:lnTo>
                    <a:pt x="423" y="402"/>
                  </a:lnTo>
                  <a:lnTo>
                    <a:pt x="427" y="400"/>
                  </a:lnTo>
                  <a:lnTo>
                    <a:pt x="429" y="402"/>
                  </a:lnTo>
                  <a:lnTo>
                    <a:pt x="430" y="400"/>
                  </a:lnTo>
                  <a:lnTo>
                    <a:pt x="430" y="400"/>
                  </a:lnTo>
                  <a:lnTo>
                    <a:pt x="431" y="398"/>
                  </a:lnTo>
                  <a:lnTo>
                    <a:pt x="433" y="395"/>
                  </a:lnTo>
                  <a:lnTo>
                    <a:pt x="433" y="392"/>
                  </a:lnTo>
                  <a:lnTo>
                    <a:pt x="435" y="388"/>
                  </a:lnTo>
                  <a:lnTo>
                    <a:pt x="438" y="387"/>
                  </a:lnTo>
                  <a:lnTo>
                    <a:pt x="437" y="384"/>
                  </a:lnTo>
                  <a:lnTo>
                    <a:pt x="438" y="380"/>
                  </a:lnTo>
                  <a:lnTo>
                    <a:pt x="434" y="379"/>
                  </a:lnTo>
                  <a:lnTo>
                    <a:pt x="434" y="379"/>
                  </a:lnTo>
                  <a:lnTo>
                    <a:pt x="429" y="371"/>
                  </a:lnTo>
                  <a:lnTo>
                    <a:pt x="427" y="365"/>
                  </a:lnTo>
                  <a:lnTo>
                    <a:pt x="429" y="361"/>
                  </a:lnTo>
                  <a:lnTo>
                    <a:pt x="429" y="361"/>
                  </a:lnTo>
                  <a:lnTo>
                    <a:pt x="424" y="357"/>
                  </a:lnTo>
                  <a:lnTo>
                    <a:pt x="420" y="354"/>
                  </a:lnTo>
                  <a:lnTo>
                    <a:pt x="420" y="354"/>
                  </a:lnTo>
                  <a:lnTo>
                    <a:pt x="416" y="346"/>
                  </a:lnTo>
                  <a:lnTo>
                    <a:pt x="414" y="335"/>
                  </a:lnTo>
                  <a:lnTo>
                    <a:pt x="412" y="330"/>
                  </a:lnTo>
                  <a:lnTo>
                    <a:pt x="412" y="324"/>
                  </a:lnTo>
                  <a:lnTo>
                    <a:pt x="414" y="320"/>
                  </a:lnTo>
                  <a:lnTo>
                    <a:pt x="415" y="318"/>
                  </a:lnTo>
                  <a:lnTo>
                    <a:pt x="415" y="318"/>
                  </a:lnTo>
                  <a:lnTo>
                    <a:pt x="416" y="314"/>
                  </a:lnTo>
                  <a:lnTo>
                    <a:pt x="418" y="311"/>
                  </a:lnTo>
                  <a:lnTo>
                    <a:pt x="420" y="308"/>
                  </a:lnTo>
                  <a:lnTo>
                    <a:pt x="420" y="304"/>
                  </a:lnTo>
                  <a:lnTo>
                    <a:pt x="412" y="295"/>
                  </a:lnTo>
                  <a:lnTo>
                    <a:pt x="405" y="293"/>
                  </a:lnTo>
                  <a:lnTo>
                    <a:pt x="405" y="293"/>
                  </a:lnTo>
                  <a:lnTo>
                    <a:pt x="403" y="292"/>
                  </a:lnTo>
                  <a:lnTo>
                    <a:pt x="399" y="289"/>
                  </a:lnTo>
                  <a:lnTo>
                    <a:pt x="400" y="288"/>
                  </a:lnTo>
                  <a:lnTo>
                    <a:pt x="401" y="289"/>
                  </a:lnTo>
                  <a:lnTo>
                    <a:pt x="401" y="285"/>
                  </a:lnTo>
                  <a:lnTo>
                    <a:pt x="404" y="291"/>
                  </a:lnTo>
                  <a:lnTo>
                    <a:pt x="407" y="292"/>
                  </a:lnTo>
                  <a:lnTo>
                    <a:pt x="407" y="291"/>
                  </a:lnTo>
                  <a:lnTo>
                    <a:pt x="400" y="280"/>
                  </a:lnTo>
                  <a:lnTo>
                    <a:pt x="400" y="280"/>
                  </a:lnTo>
                  <a:lnTo>
                    <a:pt x="401" y="277"/>
                  </a:lnTo>
                  <a:lnTo>
                    <a:pt x="400" y="273"/>
                  </a:lnTo>
                  <a:lnTo>
                    <a:pt x="397" y="265"/>
                  </a:lnTo>
                  <a:lnTo>
                    <a:pt x="395" y="266"/>
                  </a:lnTo>
                  <a:lnTo>
                    <a:pt x="395" y="262"/>
                  </a:lnTo>
                  <a:lnTo>
                    <a:pt x="396" y="263"/>
                  </a:lnTo>
                  <a:lnTo>
                    <a:pt x="396" y="263"/>
                  </a:lnTo>
                  <a:lnTo>
                    <a:pt x="400" y="261"/>
                  </a:lnTo>
                  <a:lnTo>
                    <a:pt x="403" y="258"/>
                  </a:lnTo>
                  <a:lnTo>
                    <a:pt x="403" y="258"/>
                  </a:lnTo>
                  <a:lnTo>
                    <a:pt x="404" y="254"/>
                  </a:lnTo>
                  <a:lnTo>
                    <a:pt x="405" y="253"/>
                  </a:lnTo>
                  <a:lnTo>
                    <a:pt x="408" y="253"/>
                  </a:lnTo>
                  <a:lnTo>
                    <a:pt x="408" y="253"/>
                  </a:lnTo>
                  <a:lnTo>
                    <a:pt x="408" y="243"/>
                  </a:lnTo>
                  <a:lnTo>
                    <a:pt x="410" y="235"/>
                  </a:lnTo>
                  <a:lnTo>
                    <a:pt x="410" y="235"/>
                  </a:lnTo>
                  <a:lnTo>
                    <a:pt x="407" y="232"/>
                  </a:lnTo>
                  <a:lnTo>
                    <a:pt x="404" y="230"/>
                  </a:lnTo>
                  <a:lnTo>
                    <a:pt x="404" y="230"/>
                  </a:lnTo>
                  <a:lnTo>
                    <a:pt x="405" y="227"/>
                  </a:lnTo>
                  <a:lnTo>
                    <a:pt x="405" y="224"/>
                  </a:lnTo>
                  <a:lnTo>
                    <a:pt x="405" y="221"/>
                  </a:lnTo>
                  <a:lnTo>
                    <a:pt x="404" y="219"/>
                  </a:lnTo>
                  <a:lnTo>
                    <a:pt x="405" y="216"/>
                  </a:lnTo>
                  <a:lnTo>
                    <a:pt x="405" y="216"/>
                  </a:lnTo>
                  <a:lnTo>
                    <a:pt x="404" y="212"/>
                  </a:lnTo>
                  <a:lnTo>
                    <a:pt x="404" y="206"/>
                  </a:lnTo>
                  <a:lnTo>
                    <a:pt x="404" y="198"/>
                  </a:lnTo>
                  <a:lnTo>
                    <a:pt x="399" y="196"/>
                  </a:lnTo>
                  <a:lnTo>
                    <a:pt x="395" y="192"/>
                  </a:lnTo>
                  <a:lnTo>
                    <a:pt x="396" y="190"/>
                  </a:lnTo>
                  <a:lnTo>
                    <a:pt x="396" y="190"/>
                  </a:lnTo>
                  <a:lnTo>
                    <a:pt x="396" y="186"/>
                  </a:lnTo>
                  <a:lnTo>
                    <a:pt x="395" y="183"/>
                  </a:lnTo>
                  <a:lnTo>
                    <a:pt x="397" y="179"/>
                  </a:lnTo>
                  <a:lnTo>
                    <a:pt x="395" y="178"/>
                  </a:lnTo>
                  <a:lnTo>
                    <a:pt x="395" y="177"/>
                  </a:lnTo>
                  <a:lnTo>
                    <a:pt x="391" y="174"/>
                  </a:lnTo>
                  <a:lnTo>
                    <a:pt x="391" y="174"/>
                  </a:lnTo>
                  <a:lnTo>
                    <a:pt x="389" y="171"/>
                  </a:lnTo>
                  <a:lnTo>
                    <a:pt x="386" y="168"/>
                  </a:lnTo>
                  <a:lnTo>
                    <a:pt x="389" y="162"/>
                  </a:lnTo>
                  <a:lnTo>
                    <a:pt x="392" y="162"/>
                  </a:lnTo>
                  <a:lnTo>
                    <a:pt x="393" y="160"/>
                  </a:lnTo>
                  <a:lnTo>
                    <a:pt x="393" y="160"/>
                  </a:lnTo>
                  <a:lnTo>
                    <a:pt x="388" y="154"/>
                  </a:lnTo>
                  <a:lnTo>
                    <a:pt x="385" y="147"/>
                  </a:lnTo>
                  <a:lnTo>
                    <a:pt x="388" y="144"/>
                  </a:lnTo>
                  <a:lnTo>
                    <a:pt x="385" y="143"/>
                  </a:lnTo>
                  <a:lnTo>
                    <a:pt x="385" y="140"/>
                  </a:lnTo>
                  <a:lnTo>
                    <a:pt x="380" y="139"/>
                  </a:lnTo>
                  <a:lnTo>
                    <a:pt x="380" y="139"/>
                  </a:lnTo>
                  <a:lnTo>
                    <a:pt x="366" y="126"/>
                  </a:lnTo>
                  <a:lnTo>
                    <a:pt x="366" y="126"/>
                  </a:lnTo>
                  <a:lnTo>
                    <a:pt x="363" y="124"/>
                  </a:lnTo>
                  <a:lnTo>
                    <a:pt x="361" y="124"/>
                  </a:lnTo>
                  <a:lnTo>
                    <a:pt x="358" y="122"/>
                  </a:lnTo>
                  <a:lnTo>
                    <a:pt x="355" y="120"/>
                  </a:lnTo>
                  <a:lnTo>
                    <a:pt x="353" y="120"/>
                  </a:lnTo>
                  <a:lnTo>
                    <a:pt x="350" y="118"/>
                  </a:lnTo>
                  <a:lnTo>
                    <a:pt x="348" y="120"/>
                  </a:lnTo>
                  <a:lnTo>
                    <a:pt x="347" y="121"/>
                  </a:lnTo>
                  <a:lnTo>
                    <a:pt x="343" y="122"/>
                  </a:lnTo>
                  <a:lnTo>
                    <a:pt x="343" y="125"/>
                  </a:lnTo>
                  <a:lnTo>
                    <a:pt x="340" y="128"/>
                  </a:lnTo>
                  <a:lnTo>
                    <a:pt x="340" y="128"/>
                  </a:lnTo>
                  <a:lnTo>
                    <a:pt x="338" y="124"/>
                  </a:lnTo>
                  <a:lnTo>
                    <a:pt x="335" y="121"/>
                  </a:lnTo>
                  <a:lnTo>
                    <a:pt x="335" y="120"/>
                  </a:lnTo>
                  <a:lnTo>
                    <a:pt x="338" y="121"/>
                  </a:lnTo>
                  <a:lnTo>
                    <a:pt x="340" y="117"/>
                  </a:lnTo>
                  <a:lnTo>
                    <a:pt x="343" y="116"/>
                  </a:lnTo>
                  <a:lnTo>
                    <a:pt x="346" y="118"/>
                  </a:lnTo>
                  <a:lnTo>
                    <a:pt x="347" y="118"/>
                  </a:lnTo>
                  <a:lnTo>
                    <a:pt x="347" y="118"/>
                  </a:lnTo>
                  <a:lnTo>
                    <a:pt x="342" y="114"/>
                  </a:lnTo>
                  <a:lnTo>
                    <a:pt x="338" y="109"/>
                  </a:lnTo>
                  <a:lnTo>
                    <a:pt x="335" y="102"/>
                  </a:lnTo>
                  <a:lnTo>
                    <a:pt x="334" y="97"/>
                  </a:lnTo>
                  <a:lnTo>
                    <a:pt x="332" y="95"/>
                  </a:lnTo>
                  <a:lnTo>
                    <a:pt x="331" y="95"/>
                  </a:lnTo>
                  <a:lnTo>
                    <a:pt x="331" y="102"/>
                  </a:lnTo>
                  <a:lnTo>
                    <a:pt x="331" y="102"/>
                  </a:lnTo>
                  <a:lnTo>
                    <a:pt x="328" y="105"/>
                  </a:lnTo>
                  <a:lnTo>
                    <a:pt x="327" y="109"/>
                  </a:lnTo>
                  <a:lnTo>
                    <a:pt x="324" y="110"/>
                  </a:lnTo>
                  <a:lnTo>
                    <a:pt x="324" y="110"/>
                  </a:lnTo>
                  <a:lnTo>
                    <a:pt x="319" y="107"/>
                  </a:lnTo>
                  <a:lnTo>
                    <a:pt x="313" y="103"/>
                  </a:lnTo>
                  <a:lnTo>
                    <a:pt x="313" y="102"/>
                  </a:lnTo>
                  <a:lnTo>
                    <a:pt x="309" y="98"/>
                  </a:lnTo>
                  <a:lnTo>
                    <a:pt x="309" y="98"/>
                  </a:lnTo>
                  <a:lnTo>
                    <a:pt x="306" y="94"/>
                  </a:lnTo>
                  <a:lnTo>
                    <a:pt x="305" y="93"/>
                  </a:lnTo>
                  <a:lnTo>
                    <a:pt x="302" y="90"/>
                  </a:lnTo>
                  <a:lnTo>
                    <a:pt x="304" y="88"/>
                  </a:lnTo>
                  <a:lnTo>
                    <a:pt x="301" y="82"/>
                  </a:lnTo>
                  <a:lnTo>
                    <a:pt x="301" y="80"/>
                  </a:lnTo>
                  <a:lnTo>
                    <a:pt x="298" y="79"/>
                  </a:lnTo>
                  <a:lnTo>
                    <a:pt x="298" y="79"/>
                  </a:lnTo>
                  <a:lnTo>
                    <a:pt x="298" y="75"/>
                  </a:lnTo>
                  <a:lnTo>
                    <a:pt x="297" y="72"/>
                  </a:lnTo>
                  <a:lnTo>
                    <a:pt x="291" y="69"/>
                  </a:lnTo>
                  <a:lnTo>
                    <a:pt x="290" y="67"/>
                  </a:lnTo>
                  <a:lnTo>
                    <a:pt x="287" y="67"/>
                  </a:lnTo>
                  <a:lnTo>
                    <a:pt x="287" y="67"/>
                  </a:lnTo>
                  <a:lnTo>
                    <a:pt x="286" y="63"/>
                  </a:lnTo>
                  <a:lnTo>
                    <a:pt x="282" y="61"/>
                  </a:lnTo>
                  <a:lnTo>
                    <a:pt x="279" y="59"/>
                  </a:lnTo>
                  <a:lnTo>
                    <a:pt x="277" y="57"/>
                  </a:lnTo>
                  <a:lnTo>
                    <a:pt x="277" y="57"/>
                  </a:lnTo>
                  <a:lnTo>
                    <a:pt x="268" y="48"/>
                  </a:lnTo>
                  <a:lnTo>
                    <a:pt x="262" y="38"/>
                  </a:lnTo>
                  <a:lnTo>
                    <a:pt x="262" y="38"/>
                  </a:lnTo>
                  <a:lnTo>
                    <a:pt x="259" y="30"/>
                  </a:lnTo>
                  <a:lnTo>
                    <a:pt x="256" y="23"/>
                  </a:lnTo>
                  <a:lnTo>
                    <a:pt x="256" y="21"/>
                  </a:lnTo>
                  <a:lnTo>
                    <a:pt x="255" y="19"/>
                  </a:lnTo>
                  <a:lnTo>
                    <a:pt x="255" y="19"/>
                  </a:lnTo>
                  <a:lnTo>
                    <a:pt x="255" y="17"/>
                  </a:lnTo>
                  <a:lnTo>
                    <a:pt x="253" y="15"/>
                  </a:lnTo>
                  <a:lnTo>
                    <a:pt x="249" y="12"/>
                  </a:lnTo>
                  <a:lnTo>
                    <a:pt x="249" y="12"/>
                  </a:lnTo>
                  <a:lnTo>
                    <a:pt x="247" y="8"/>
                  </a:lnTo>
                  <a:lnTo>
                    <a:pt x="244" y="6"/>
                  </a:lnTo>
                  <a:lnTo>
                    <a:pt x="244" y="6"/>
                  </a:lnTo>
                  <a:lnTo>
                    <a:pt x="241" y="0"/>
                  </a:lnTo>
                  <a:lnTo>
                    <a:pt x="241" y="0"/>
                  </a:lnTo>
                  <a:lnTo>
                    <a:pt x="237" y="3"/>
                  </a:lnTo>
                  <a:lnTo>
                    <a:pt x="236" y="4"/>
                  </a:lnTo>
                  <a:lnTo>
                    <a:pt x="230" y="6"/>
                  </a:lnTo>
                  <a:lnTo>
                    <a:pt x="224" y="12"/>
                  </a:lnTo>
                  <a:lnTo>
                    <a:pt x="224" y="12"/>
                  </a:lnTo>
                  <a:lnTo>
                    <a:pt x="224" y="14"/>
                  </a:lnTo>
                  <a:lnTo>
                    <a:pt x="225" y="22"/>
                  </a:lnTo>
                  <a:lnTo>
                    <a:pt x="225" y="25"/>
                  </a:lnTo>
                  <a:lnTo>
                    <a:pt x="222" y="31"/>
                  </a:lnTo>
                  <a:lnTo>
                    <a:pt x="218" y="31"/>
                  </a:lnTo>
                  <a:lnTo>
                    <a:pt x="216" y="33"/>
                  </a:lnTo>
                  <a:lnTo>
                    <a:pt x="214" y="34"/>
                  </a:lnTo>
                  <a:lnTo>
                    <a:pt x="216" y="37"/>
                  </a:lnTo>
                  <a:lnTo>
                    <a:pt x="214" y="40"/>
                  </a:lnTo>
                  <a:lnTo>
                    <a:pt x="213" y="41"/>
                  </a:lnTo>
                  <a:lnTo>
                    <a:pt x="211" y="45"/>
                  </a:lnTo>
                  <a:lnTo>
                    <a:pt x="209" y="46"/>
                  </a:lnTo>
                  <a:lnTo>
                    <a:pt x="207" y="45"/>
                  </a:lnTo>
                  <a:lnTo>
                    <a:pt x="206" y="44"/>
                  </a:lnTo>
                  <a:lnTo>
                    <a:pt x="203" y="44"/>
                  </a:lnTo>
                  <a:lnTo>
                    <a:pt x="201" y="46"/>
                  </a:lnTo>
                  <a:lnTo>
                    <a:pt x="201" y="52"/>
                  </a:lnTo>
                  <a:lnTo>
                    <a:pt x="199" y="55"/>
                  </a:lnTo>
                  <a:lnTo>
                    <a:pt x="194" y="55"/>
                  </a:lnTo>
                  <a:lnTo>
                    <a:pt x="190" y="57"/>
                  </a:lnTo>
                  <a:lnTo>
                    <a:pt x="190" y="60"/>
                  </a:lnTo>
                  <a:lnTo>
                    <a:pt x="194" y="65"/>
                  </a:lnTo>
                  <a:lnTo>
                    <a:pt x="187" y="68"/>
                  </a:lnTo>
                  <a:lnTo>
                    <a:pt x="184" y="72"/>
                  </a:lnTo>
                  <a:lnTo>
                    <a:pt x="183" y="76"/>
                  </a:lnTo>
                  <a:lnTo>
                    <a:pt x="178" y="82"/>
                  </a:lnTo>
                  <a:lnTo>
                    <a:pt x="175" y="84"/>
                  </a:lnTo>
                  <a:lnTo>
                    <a:pt x="175" y="90"/>
                  </a:lnTo>
                  <a:lnTo>
                    <a:pt x="173" y="91"/>
                  </a:lnTo>
                  <a:lnTo>
                    <a:pt x="173" y="93"/>
                  </a:lnTo>
                  <a:lnTo>
                    <a:pt x="171" y="93"/>
                  </a:lnTo>
                  <a:lnTo>
                    <a:pt x="167" y="97"/>
                  </a:lnTo>
                  <a:lnTo>
                    <a:pt x="165" y="98"/>
                  </a:lnTo>
                  <a:lnTo>
                    <a:pt x="165" y="101"/>
                  </a:lnTo>
                  <a:lnTo>
                    <a:pt x="169" y="102"/>
                  </a:lnTo>
                  <a:lnTo>
                    <a:pt x="169" y="103"/>
                  </a:lnTo>
                  <a:lnTo>
                    <a:pt x="167" y="106"/>
                  </a:lnTo>
                  <a:lnTo>
                    <a:pt x="164" y="106"/>
                  </a:lnTo>
                  <a:lnTo>
                    <a:pt x="160" y="103"/>
                  </a:lnTo>
                  <a:lnTo>
                    <a:pt x="153" y="105"/>
                  </a:lnTo>
                  <a:lnTo>
                    <a:pt x="149" y="105"/>
                  </a:lnTo>
                  <a:lnTo>
                    <a:pt x="144" y="102"/>
                  </a:lnTo>
                  <a:lnTo>
                    <a:pt x="142" y="102"/>
                  </a:lnTo>
                  <a:lnTo>
                    <a:pt x="141" y="103"/>
                  </a:lnTo>
                  <a:lnTo>
                    <a:pt x="138" y="105"/>
                  </a:lnTo>
                  <a:lnTo>
                    <a:pt x="135" y="105"/>
                  </a:lnTo>
                  <a:lnTo>
                    <a:pt x="133" y="109"/>
                  </a:lnTo>
                  <a:lnTo>
                    <a:pt x="135" y="114"/>
                  </a:lnTo>
                  <a:lnTo>
                    <a:pt x="138" y="114"/>
                  </a:lnTo>
                  <a:lnTo>
                    <a:pt x="140" y="113"/>
                  </a:lnTo>
                  <a:lnTo>
                    <a:pt x="142" y="116"/>
                  </a:lnTo>
                  <a:lnTo>
                    <a:pt x="140" y="120"/>
                  </a:lnTo>
                  <a:lnTo>
                    <a:pt x="141" y="121"/>
                  </a:lnTo>
                  <a:lnTo>
                    <a:pt x="144" y="122"/>
                  </a:lnTo>
                  <a:lnTo>
                    <a:pt x="149" y="132"/>
                  </a:lnTo>
                  <a:lnTo>
                    <a:pt x="149" y="136"/>
                  </a:lnTo>
                  <a:lnTo>
                    <a:pt x="148" y="139"/>
                  </a:lnTo>
                  <a:lnTo>
                    <a:pt x="149" y="143"/>
                  </a:lnTo>
                  <a:lnTo>
                    <a:pt x="149" y="143"/>
                  </a:lnTo>
                  <a:lnTo>
                    <a:pt x="154" y="145"/>
                  </a:lnTo>
                  <a:lnTo>
                    <a:pt x="156" y="148"/>
                  </a:lnTo>
                  <a:lnTo>
                    <a:pt x="159" y="151"/>
                  </a:lnTo>
                  <a:lnTo>
                    <a:pt x="160" y="152"/>
                  </a:lnTo>
                  <a:lnTo>
                    <a:pt x="161" y="154"/>
                  </a:lnTo>
                  <a:lnTo>
                    <a:pt x="167" y="159"/>
                  </a:lnTo>
                  <a:lnTo>
                    <a:pt x="169" y="162"/>
                  </a:lnTo>
                  <a:lnTo>
                    <a:pt x="169" y="171"/>
                  </a:lnTo>
                  <a:lnTo>
                    <a:pt x="172" y="177"/>
                  </a:lnTo>
                  <a:lnTo>
                    <a:pt x="171" y="186"/>
                  </a:lnTo>
                  <a:lnTo>
                    <a:pt x="172" y="189"/>
                  </a:lnTo>
                  <a:lnTo>
                    <a:pt x="175" y="189"/>
                  </a:lnTo>
                  <a:lnTo>
                    <a:pt x="179" y="196"/>
                  </a:lnTo>
                  <a:lnTo>
                    <a:pt x="179" y="206"/>
                  </a:lnTo>
                  <a:lnTo>
                    <a:pt x="182" y="208"/>
                  </a:lnTo>
                  <a:lnTo>
                    <a:pt x="188" y="208"/>
                  </a:lnTo>
                  <a:lnTo>
                    <a:pt x="192" y="212"/>
                  </a:lnTo>
                  <a:lnTo>
                    <a:pt x="192" y="213"/>
                  </a:lnTo>
                  <a:lnTo>
                    <a:pt x="191" y="213"/>
                  </a:lnTo>
                  <a:lnTo>
                    <a:pt x="190" y="215"/>
                  </a:lnTo>
                  <a:lnTo>
                    <a:pt x="182" y="228"/>
                  </a:lnTo>
                  <a:lnTo>
                    <a:pt x="179" y="232"/>
                  </a:lnTo>
                  <a:lnTo>
                    <a:pt x="172" y="235"/>
                  </a:lnTo>
                  <a:lnTo>
                    <a:pt x="160" y="235"/>
                  </a:lnTo>
                  <a:lnTo>
                    <a:pt x="157" y="236"/>
                  </a:lnTo>
                  <a:lnTo>
                    <a:pt x="138" y="250"/>
                  </a:lnTo>
                  <a:lnTo>
                    <a:pt x="135" y="248"/>
                  </a:lnTo>
                  <a:lnTo>
                    <a:pt x="134" y="250"/>
                  </a:lnTo>
                  <a:lnTo>
                    <a:pt x="133" y="253"/>
                  </a:lnTo>
                  <a:lnTo>
                    <a:pt x="130" y="254"/>
                  </a:lnTo>
                  <a:lnTo>
                    <a:pt x="130" y="255"/>
                  </a:lnTo>
                  <a:lnTo>
                    <a:pt x="131" y="269"/>
                  </a:lnTo>
                  <a:lnTo>
                    <a:pt x="129" y="272"/>
                  </a:lnTo>
                  <a:lnTo>
                    <a:pt x="130" y="274"/>
                  </a:lnTo>
                  <a:lnTo>
                    <a:pt x="130" y="276"/>
                  </a:lnTo>
                  <a:lnTo>
                    <a:pt x="118" y="284"/>
                  </a:lnTo>
                  <a:lnTo>
                    <a:pt x="115" y="288"/>
                  </a:lnTo>
                  <a:lnTo>
                    <a:pt x="108" y="288"/>
                  </a:lnTo>
                  <a:lnTo>
                    <a:pt x="102" y="281"/>
                  </a:lnTo>
                  <a:lnTo>
                    <a:pt x="92" y="281"/>
                  </a:lnTo>
                  <a:lnTo>
                    <a:pt x="87" y="284"/>
                  </a:lnTo>
                  <a:lnTo>
                    <a:pt x="83" y="285"/>
                  </a:lnTo>
                  <a:lnTo>
                    <a:pt x="81" y="285"/>
                  </a:lnTo>
                  <a:lnTo>
                    <a:pt x="74" y="286"/>
                  </a:lnTo>
                  <a:lnTo>
                    <a:pt x="73" y="288"/>
                  </a:lnTo>
                  <a:lnTo>
                    <a:pt x="70" y="296"/>
                  </a:lnTo>
                  <a:lnTo>
                    <a:pt x="64" y="303"/>
                  </a:lnTo>
                  <a:lnTo>
                    <a:pt x="59" y="304"/>
                  </a:lnTo>
                  <a:lnTo>
                    <a:pt x="58" y="305"/>
                  </a:lnTo>
                  <a:lnTo>
                    <a:pt x="51" y="307"/>
                  </a:lnTo>
                  <a:lnTo>
                    <a:pt x="50" y="311"/>
                  </a:lnTo>
                  <a:lnTo>
                    <a:pt x="40" y="322"/>
                  </a:lnTo>
                  <a:lnTo>
                    <a:pt x="31" y="329"/>
                  </a:lnTo>
                  <a:lnTo>
                    <a:pt x="24" y="341"/>
                  </a:lnTo>
                  <a:lnTo>
                    <a:pt x="20" y="341"/>
                  </a:lnTo>
                  <a:lnTo>
                    <a:pt x="19" y="342"/>
                  </a:lnTo>
                  <a:lnTo>
                    <a:pt x="26" y="346"/>
                  </a:lnTo>
                  <a:lnTo>
                    <a:pt x="31" y="349"/>
                  </a:lnTo>
                  <a:lnTo>
                    <a:pt x="31" y="352"/>
                  </a:lnTo>
                  <a:lnTo>
                    <a:pt x="24" y="352"/>
                  </a:lnTo>
                  <a:lnTo>
                    <a:pt x="24" y="352"/>
                  </a:lnTo>
                  <a:lnTo>
                    <a:pt x="24" y="353"/>
                  </a:lnTo>
                  <a:lnTo>
                    <a:pt x="23" y="362"/>
                  </a:lnTo>
                  <a:lnTo>
                    <a:pt x="15" y="368"/>
                  </a:lnTo>
                  <a:lnTo>
                    <a:pt x="12" y="367"/>
                  </a:lnTo>
                  <a:lnTo>
                    <a:pt x="7" y="376"/>
                  </a:lnTo>
                  <a:lnTo>
                    <a:pt x="2" y="387"/>
                  </a:lnTo>
                  <a:lnTo>
                    <a:pt x="0" y="391"/>
                  </a:lnTo>
                  <a:lnTo>
                    <a:pt x="2" y="395"/>
                  </a:lnTo>
                  <a:lnTo>
                    <a:pt x="0" y="402"/>
                  </a:lnTo>
                  <a:close/>
                  <a:moveTo>
                    <a:pt x="131" y="679"/>
                  </a:moveTo>
                  <a:lnTo>
                    <a:pt x="131" y="679"/>
                  </a:lnTo>
                  <a:lnTo>
                    <a:pt x="137" y="676"/>
                  </a:lnTo>
                  <a:lnTo>
                    <a:pt x="131" y="679"/>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98" name="Freeform 339">
              <a:extLst>
                <a:ext uri="{FF2B5EF4-FFF2-40B4-BE49-F238E27FC236}">
                  <a16:creationId xmlns:a16="http://schemas.microsoft.com/office/drawing/2014/main" id="{5756F005-151B-4390-A5C1-9DCADDEC3028}"/>
                </a:ext>
              </a:extLst>
            </p:cNvPr>
            <p:cNvSpPr>
              <a:spLocks noEditPoints="1"/>
            </p:cNvSpPr>
            <p:nvPr/>
          </p:nvSpPr>
          <p:spPr bwMode="auto">
            <a:xfrm>
              <a:off x="3176588" y="3979931"/>
              <a:ext cx="787400" cy="615950"/>
            </a:xfrm>
            <a:custGeom>
              <a:avLst/>
              <a:gdLst>
                <a:gd name="T0" fmla="*/ 82 w 992"/>
                <a:gd name="T1" fmla="*/ 127 h 774"/>
                <a:gd name="T2" fmla="*/ 75 w 992"/>
                <a:gd name="T3" fmla="*/ 195 h 774"/>
                <a:gd name="T4" fmla="*/ 15 w 992"/>
                <a:gd name="T5" fmla="*/ 284 h 774"/>
                <a:gd name="T6" fmla="*/ 75 w 992"/>
                <a:gd name="T7" fmla="*/ 336 h 774"/>
                <a:gd name="T8" fmla="*/ 121 w 992"/>
                <a:gd name="T9" fmla="*/ 366 h 774"/>
                <a:gd name="T10" fmla="*/ 175 w 992"/>
                <a:gd name="T11" fmla="*/ 423 h 774"/>
                <a:gd name="T12" fmla="*/ 158 w 992"/>
                <a:gd name="T13" fmla="*/ 497 h 774"/>
                <a:gd name="T14" fmla="*/ 175 w 992"/>
                <a:gd name="T15" fmla="*/ 545 h 774"/>
                <a:gd name="T16" fmla="*/ 224 w 992"/>
                <a:gd name="T17" fmla="*/ 609 h 774"/>
                <a:gd name="T18" fmla="*/ 276 w 992"/>
                <a:gd name="T19" fmla="*/ 649 h 774"/>
                <a:gd name="T20" fmla="*/ 330 w 992"/>
                <a:gd name="T21" fmla="*/ 735 h 774"/>
                <a:gd name="T22" fmla="*/ 368 w 992"/>
                <a:gd name="T23" fmla="*/ 766 h 774"/>
                <a:gd name="T24" fmla="*/ 424 w 992"/>
                <a:gd name="T25" fmla="*/ 750 h 774"/>
                <a:gd name="T26" fmla="*/ 466 w 992"/>
                <a:gd name="T27" fmla="*/ 755 h 774"/>
                <a:gd name="T28" fmla="*/ 517 w 992"/>
                <a:gd name="T29" fmla="*/ 747 h 774"/>
                <a:gd name="T30" fmla="*/ 563 w 992"/>
                <a:gd name="T31" fmla="*/ 694 h 774"/>
                <a:gd name="T32" fmla="*/ 620 w 992"/>
                <a:gd name="T33" fmla="*/ 676 h 774"/>
                <a:gd name="T34" fmla="*/ 703 w 992"/>
                <a:gd name="T35" fmla="*/ 664 h 774"/>
                <a:gd name="T36" fmla="*/ 778 w 992"/>
                <a:gd name="T37" fmla="*/ 626 h 774"/>
                <a:gd name="T38" fmla="*/ 825 w 992"/>
                <a:gd name="T39" fmla="*/ 595 h 774"/>
                <a:gd name="T40" fmla="*/ 859 w 992"/>
                <a:gd name="T41" fmla="*/ 633 h 774"/>
                <a:gd name="T42" fmla="*/ 897 w 992"/>
                <a:gd name="T43" fmla="*/ 670 h 774"/>
                <a:gd name="T44" fmla="*/ 939 w 992"/>
                <a:gd name="T45" fmla="*/ 629 h 774"/>
                <a:gd name="T46" fmla="*/ 907 w 992"/>
                <a:gd name="T47" fmla="*/ 605 h 774"/>
                <a:gd name="T48" fmla="*/ 859 w 992"/>
                <a:gd name="T49" fmla="*/ 565 h 774"/>
                <a:gd name="T50" fmla="*/ 831 w 992"/>
                <a:gd name="T51" fmla="*/ 522 h 774"/>
                <a:gd name="T52" fmla="*/ 768 w 992"/>
                <a:gd name="T53" fmla="*/ 530 h 774"/>
                <a:gd name="T54" fmla="*/ 713 w 992"/>
                <a:gd name="T55" fmla="*/ 520 h 774"/>
                <a:gd name="T56" fmla="*/ 680 w 992"/>
                <a:gd name="T57" fmla="*/ 526 h 774"/>
                <a:gd name="T58" fmla="*/ 722 w 992"/>
                <a:gd name="T59" fmla="*/ 514 h 774"/>
                <a:gd name="T60" fmla="*/ 791 w 992"/>
                <a:gd name="T61" fmla="*/ 516 h 774"/>
                <a:gd name="T62" fmla="*/ 846 w 992"/>
                <a:gd name="T63" fmla="*/ 507 h 774"/>
                <a:gd name="T64" fmla="*/ 898 w 992"/>
                <a:gd name="T65" fmla="*/ 568 h 774"/>
                <a:gd name="T66" fmla="*/ 942 w 992"/>
                <a:gd name="T67" fmla="*/ 562 h 774"/>
                <a:gd name="T68" fmla="*/ 989 w 992"/>
                <a:gd name="T69" fmla="*/ 588 h 774"/>
                <a:gd name="T70" fmla="*/ 992 w 992"/>
                <a:gd name="T71" fmla="*/ 592 h 774"/>
                <a:gd name="T72" fmla="*/ 934 w 992"/>
                <a:gd name="T73" fmla="*/ 487 h 774"/>
                <a:gd name="T74" fmla="*/ 856 w 992"/>
                <a:gd name="T75" fmla="*/ 332 h 774"/>
                <a:gd name="T76" fmla="*/ 865 w 992"/>
                <a:gd name="T77" fmla="*/ 294 h 774"/>
                <a:gd name="T78" fmla="*/ 896 w 992"/>
                <a:gd name="T79" fmla="*/ 279 h 774"/>
                <a:gd name="T80" fmla="*/ 884 w 992"/>
                <a:gd name="T81" fmla="*/ 255 h 774"/>
                <a:gd name="T82" fmla="*/ 839 w 992"/>
                <a:gd name="T83" fmla="*/ 233 h 774"/>
                <a:gd name="T84" fmla="*/ 839 w 992"/>
                <a:gd name="T85" fmla="*/ 208 h 774"/>
                <a:gd name="T86" fmla="*/ 801 w 992"/>
                <a:gd name="T87" fmla="*/ 188 h 774"/>
                <a:gd name="T88" fmla="*/ 790 w 992"/>
                <a:gd name="T89" fmla="*/ 172 h 774"/>
                <a:gd name="T90" fmla="*/ 787 w 992"/>
                <a:gd name="T91" fmla="*/ 154 h 774"/>
                <a:gd name="T92" fmla="*/ 778 w 992"/>
                <a:gd name="T93" fmla="*/ 132 h 774"/>
                <a:gd name="T94" fmla="*/ 756 w 992"/>
                <a:gd name="T95" fmla="*/ 90 h 774"/>
                <a:gd name="T96" fmla="*/ 745 w 992"/>
                <a:gd name="T97" fmla="*/ 66 h 774"/>
                <a:gd name="T98" fmla="*/ 721 w 992"/>
                <a:gd name="T99" fmla="*/ 40 h 774"/>
                <a:gd name="T100" fmla="*/ 690 w 992"/>
                <a:gd name="T101" fmla="*/ 28 h 774"/>
                <a:gd name="T102" fmla="*/ 672 w 992"/>
                <a:gd name="T103" fmla="*/ 14 h 774"/>
                <a:gd name="T104" fmla="*/ 650 w 992"/>
                <a:gd name="T105" fmla="*/ 4 h 774"/>
                <a:gd name="T106" fmla="*/ 563 w 992"/>
                <a:gd name="T107" fmla="*/ 40 h 774"/>
                <a:gd name="T108" fmla="*/ 466 w 992"/>
                <a:gd name="T109" fmla="*/ 52 h 774"/>
                <a:gd name="T110" fmla="*/ 424 w 992"/>
                <a:gd name="T111" fmla="*/ 52 h 774"/>
                <a:gd name="T112" fmla="*/ 406 w 992"/>
                <a:gd name="T113" fmla="*/ 69 h 774"/>
                <a:gd name="T114" fmla="*/ 379 w 992"/>
                <a:gd name="T115" fmla="*/ 54 h 774"/>
                <a:gd name="T116" fmla="*/ 353 w 992"/>
                <a:gd name="T117" fmla="*/ 28 h 774"/>
                <a:gd name="T118" fmla="*/ 285 w 992"/>
                <a:gd name="T119" fmla="*/ 19 h 774"/>
                <a:gd name="T120" fmla="*/ 187 w 992"/>
                <a:gd name="T121" fmla="*/ 5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92" h="774">
                  <a:moveTo>
                    <a:pt x="116" y="71"/>
                  </a:moveTo>
                  <a:lnTo>
                    <a:pt x="109" y="74"/>
                  </a:lnTo>
                  <a:lnTo>
                    <a:pt x="107" y="78"/>
                  </a:lnTo>
                  <a:lnTo>
                    <a:pt x="99" y="78"/>
                  </a:lnTo>
                  <a:lnTo>
                    <a:pt x="94" y="90"/>
                  </a:lnTo>
                  <a:lnTo>
                    <a:pt x="95" y="104"/>
                  </a:lnTo>
                  <a:lnTo>
                    <a:pt x="99" y="108"/>
                  </a:lnTo>
                  <a:lnTo>
                    <a:pt x="98" y="118"/>
                  </a:lnTo>
                  <a:lnTo>
                    <a:pt x="91" y="118"/>
                  </a:lnTo>
                  <a:lnTo>
                    <a:pt x="82" y="127"/>
                  </a:lnTo>
                  <a:lnTo>
                    <a:pt x="71" y="130"/>
                  </a:lnTo>
                  <a:lnTo>
                    <a:pt x="94" y="149"/>
                  </a:lnTo>
                  <a:lnTo>
                    <a:pt x="88" y="157"/>
                  </a:lnTo>
                  <a:lnTo>
                    <a:pt x="91" y="172"/>
                  </a:lnTo>
                  <a:lnTo>
                    <a:pt x="87" y="176"/>
                  </a:lnTo>
                  <a:lnTo>
                    <a:pt x="91" y="183"/>
                  </a:lnTo>
                  <a:lnTo>
                    <a:pt x="90" y="189"/>
                  </a:lnTo>
                  <a:lnTo>
                    <a:pt x="87" y="200"/>
                  </a:lnTo>
                  <a:lnTo>
                    <a:pt x="83" y="202"/>
                  </a:lnTo>
                  <a:lnTo>
                    <a:pt x="75" y="195"/>
                  </a:lnTo>
                  <a:lnTo>
                    <a:pt x="71" y="196"/>
                  </a:lnTo>
                  <a:lnTo>
                    <a:pt x="71" y="200"/>
                  </a:lnTo>
                  <a:lnTo>
                    <a:pt x="61" y="200"/>
                  </a:lnTo>
                  <a:lnTo>
                    <a:pt x="59" y="210"/>
                  </a:lnTo>
                  <a:lnTo>
                    <a:pt x="48" y="211"/>
                  </a:lnTo>
                  <a:lnTo>
                    <a:pt x="38" y="208"/>
                  </a:lnTo>
                  <a:lnTo>
                    <a:pt x="11" y="250"/>
                  </a:lnTo>
                  <a:lnTo>
                    <a:pt x="2" y="253"/>
                  </a:lnTo>
                  <a:lnTo>
                    <a:pt x="0" y="269"/>
                  </a:lnTo>
                  <a:lnTo>
                    <a:pt x="15" y="284"/>
                  </a:lnTo>
                  <a:lnTo>
                    <a:pt x="15" y="288"/>
                  </a:lnTo>
                  <a:lnTo>
                    <a:pt x="21" y="288"/>
                  </a:lnTo>
                  <a:lnTo>
                    <a:pt x="37" y="301"/>
                  </a:lnTo>
                  <a:lnTo>
                    <a:pt x="37" y="310"/>
                  </a:lnTo>
                  <a:lnTo>
                    <a:pt x="34" y="318"/>
                  </a:lnTo>
                  <a:lnTo>
                    <a:pt x="38" y="322"/>
                  </a:lnTo>
                  <a:lnTo>
                    <a:pt x="50" y="324"/>
                  </a:lnTo>
                  <a:lnTo>
                    <a:pt x="69" y="317"/>
                  </a:lnTo>
                  <a:lnTo>
                    <a:pt x="74" y="322"/>
                  </a:lnTo>
                  <a:lnTo>
                    <a:pt x="75" y="336"/>
                  </a:lnTo>
                  <a:lnTo>
                    <a:pt x="80" y="337"/>
                  </a:lnTo>
                  <a:lnTo>
                    <a:pt x="82" y="341"/>
                  </a:lnTo>
                  <a:lnTo>
                    <a:pt x="78" y="341"/>
                  </a:lnTo>
                  <a:lnTo>
                    <a:pt x="78" y="351"/>
                  </a:lnTo>
                  <a:lnTo>
                    <a:pt x="82" y="354"/>
                  </a:lnTo>
                  <a:lnTo>
                    <a:pt x="90" y="351"/>
                  </a:lnTo>
                  <a:lnTo>
                    <a:pt x="98" y="363"/>
                  </a:lnTo>
                  <a:lnTo>
                    <a:pt x="121" y="359"/>
                  </a:lnTo>
                  <a:lnTo>
                    <a:pt x="125" y="360"/>
                  </a:lnTo>
                  <a:lnTo>
                    <a:pt x="121" y="366"/>
                  </a:lnTo>
                  <a:lnTo>
                    <a:pt x="124" y="371"/>
                  </a:lnTo>
                  <a:lnTo>
                    <a:pt x="133" y="366"/>
                  </a:lnTo>
                  <a:lnTo>
                    <a:pt x="139" y="377"/>
                  </a:lnTo>
                  <a:lnTo>
                    <a:pt x="140" y="381"/>
                  </a:lnTo>
                  <a:lnTo>
                    <a:pt x="139" y="387"/>
                  </a:lnTo>
                  <a:lnTo>
                    <a:pt x="143" y="386"/>
                  </a:lnTo>
                  <a:lnTo>
                    <a:pt x="145" y="392"/>
                  </a:lnTo>
                  <a:lnTo>
                    <a:pt x="160" y="394"/>
                  </a:lnTo>
                  <a:lnTo>
                    <a:pt x="169" y="415"/>
                  </a:lnTo>
                  <a:lnTo>
                    <a:pt x="175" y="423"/>
                  </a:lnTo>
                  <a:lnTo>
                    <a:pt x="173" y="428"/>
                  </a:lnTo>
                  <a:lnTo>
                    <a:pt x="175" y="427"/>
                  </a:lnTo>
                  <a:lnTo>
                    <a:pt x="189" y="439"/>
                  </a:lnTo>
                  <a:lnTo>
                    <a:pt x="189" y="451"/>
                  </a:lnTo>
                  <a:lnTo>
                    <a:pt x="183" y="454"/>
                  </a:lnTo>
                  <a:lnTo>
                    <a:pt x="164" y="466"/>
                  </a:lnTo>
                  <a:lnTo>
                    <a:pt x="158" y="470"/>
                  </a:lnTo>
                  <a:lnTo>
                    <a:pt x="160" y="477"/>
                  </a:lnTo>
                  <a:lnTo>
                    <a:pt x="155" y="482"/>
                  </a:lnTo>
                  <a:lnTo>
                    <a:pt x="158" y="497"/>
                  </a:lnTo>
                  <a:lnTo>
                    <a:pt x="152" y="510"/>
                  </a:lnTo>
                  <a:lnTo>
                    <a:pt x="141" y="518"/>
                  </a:lnTo>
                  <a:lnTo>
                    <a:pt x="145" y="531"/>
                  </a:lnTo>
                  <a:lnTo>
                    <a:pt x="152" y="537"/>
                  </a:lnTo>
                  <a:lnTo>
                    <a:pt x="151" y="542"/>
                  </a:lnTo>
                  <a:lnTo>
                    <a:pt x="154" y="545"/>
                  </a:lnTo>
                  <a:lnTo>
                    <a:pt x="156" y="539"/>
                  </a:lnTo>
                  <a:lnTo>
                    <a:pt x="162" y="549"/>
                  </a:lnTo>
                  <a:lnTo>
                    <a:pt x="171" y="550"/>
                  </a:lnTo>
                  <a:lnTo>
                    <a:pt x="175" y="545"/>
                  </a:lnTo>
                  <a:lnTo>
                    <a:pt x="186" y="541"/>
                  </a:lnTo>
                  <a:lnTo>
                    <a:pt x="186" y="548"/>
                  </a:lnTo>
                  <a:lnTo>
                    <a:pt x="192" y="554"/>
                  </a:lnTo>
                  <a:lnTo>
                    <a:pt x="190" y="568"/>
                  </a:lnTo>
                  <a:lnTo>
                    <a:pt x="194" y="571"/>
                  </a:lnTo>
                  <a:lnTo>
                    <a:pt x="194" y="575"/>
                  </a:lnTo>
                  <a:lnTo>
                    <a:pt x="196" y="577"/>
                  </a:lnTo>
                  <a:lnTo>
                    <a:pt x="197" y="583"/>
                  </a:lnTo>
                  <a:lnTo>
                    <a:pt x="202" y="583"/>
                  </a:lnTo>
                  <a:lnTo>
                    <a:pt x="224" y="609"/>
                  </a:lnTo>
                  <a:lnTo>
                    <a:pt x="227" y="615"/>
                  </a:lnTo>
                  <a:lnTo>
                    <a:pt x="238" y="622"/>
                  </a:lnTo>
                  <a:lnTo>
                    <a:pt x="239" y="630"/>
                  </a:lnTo>
                  <a:lnTo>
                    <a:pt x="244" y="633"/>
                  </a:lnTo>
                  <a:lnTo>
                    <a:pt x="253" y="629"/>
                  </a:lnTo>
                  <a:lnTo>
                    <a:pt x="263" y="641"/>
                  </a:lnTo>
                  <a:lnTo>
                    <a:pt x="272" y="641"/>
                  </a:lnTo>
                  <a:lnTo>
                    <a:pt x="272" y="645"/>
                  </a:lnTo>
                  <a:lnTo>
                    <a:pt x="278" y="647"/>
                  </a:lnTo>
                  <a:lnTo>
                    <a:pt x="276" y="649"/>
                  </a:lnTo>
                  <a:lnTo>
                    <a:pt x="281" y="652"/>
                  </a:lnTo>
                  <a:lnTo>
                    <a:pt x="278" y="666"/>
                  </a:lnTo>
                  <a:lnTo>
                    <a:pt x="291" y="675"/>
                  </a:lnTo>
                  <a:lnTo>
                    <a:pt x="300" y="676"/>
                  </a:lnTo>
                  <a:lnTo>
                    <a:pt x="299" y="698"/>
                  </a:lnTo>
                  <a:lnTo>
                    <a:pt x="306" y="705"/>
                  </a:lnTo>
                  <a:lnTo>
                    <a:pt x="315" y="705"/>
                  </a:lnTo>
                  <a:lnTo>
                    <a:pt x="315" y="712"/>
                  </a:lnTo>
                  <a:lnTo>
                    <a:pt x="333" y="718"/>
                  </a:lnTo>
                  <a:lnTo>
                    <a:pt x="330" y="735"/>
                  </a:lnTo>
                  <a:lnTo>
                    <a:pt x="357" y="747"/>
                  </a:lnTo>
                  <a:lnTo>
                    <a:pt x="349" y="750"/>
                  </a:lnTo>
                  <a:lnTo>
                    <a:pt x="341" y="763"/>
                  </a:lnTo>
                  <a:lnTo>
                    <a:pt x="344" y="766"/>
                  </a:lnTo>
                  <a:lnTo>
                    <a:pt x="350" y="762"/>
                  </a:lnTo>
                  <a:lnTo>
                    <a:pt x="353" y="765"/>
                  </a:lnTo>
                  <a:lnTo>
                    <a:pt x="354" y="769"/>
                  </a:lnTo>
                  <a:lnTo>
                    <a:pt x="360" y="762"/>
                  </a:lnTo>
                  <a:lnTo>
                    <a:pt x="361" y="769"/>
                  </a:lnTo>
                  <a:lnTo>
                    <a:pt x="368" y="766"/>
                  </a:lnTo>
                  <a:lnTo>
                    <a:pt x="368" y="771"/>
                  </a:lnTo>
                  <a:lnTo>
                    <a:pt x="377" y="773"/>
                  </a:lnTo>
                  <a:lnTo>
                    <a:pt x="390" y="765"/>
                  </a:lnTo>
                  <a:lnTo>
                    <a:pt x="398" y="763"/>
                  </a:lnTo>
                  <a:lnTo>
                    <a:pt x="403" y="765"/>
                  </a:lnTo>
                  <a:lnTo>
                    <a:pt x="407" y="762"/>
                  </a:lnTo>
                  <a:lnTo>
                    <a:pt x="406" y="756"/>
                  </a:lnTo>
                  <a:lnTo>
                    <a:pt x="413" y="752"/>
                  </a:lnTo>
                  <a:lnTo>
                    <a:pt x="420" y="754"/>
                  </a:lnTo>
                  <a:lnTo>
                    <a:pt x="424" y="750"/>
                  </a:lnTo>
                  <a:lnTo>
                    <a:pt x="433" y="754"/>
                  </a:lnTo>
                  <a:lnTo>
                    <a:pt x="432" y="763"/>
                  </a:lnTo>
                  <a:lnTo>
                    <a:pt x="441" y="766"/>
                  </a:lnTo>
                  <a:lnTo>
                    <a:pt x="444" y="763"/>
                  </a:lnTo>
                  <a:lnTo>
                    <a:pt x="451" y="765"/>
                  </a:lnTo>
                  <a:lnTo>
                    <a:pt x="456" y="758"/>
                  </a:lnTo>
                  <a:lnTo>
                    <a:pt x="457" y="759"/>
                  </a:lnTo>
                  <a:lnTo>
                    <a:pt x="460" y="754"/>
                  </a:lnTo>
                  <a:lnTo>
                    <a:pt x="466" y="755"/>
                  </a:lnTo>
                  <a:lnTo>
                    <a:pt x="466" y="755"/>
                  </a:lnTo>
                  <a:lnTo>
                    <a:pt x="470" y="759"/>
                  </a:lnTo>
                  <a:lnTo>
                    <a:pt x="467" y="766"/>
                  </a:lnTo>
                  <a:lnTo>
                    <a:pt x="471" y="769"/>
                  </a:lnTo>
                  <a:lnTo>
                    <a:pt x="486" y="774"/>
                  </a:lnTo>
                  <a:lnTo>
                    <a:pt x="490" y="769"/>
                  </a:lnTo>
                  <a:lnTo>
                    <a:pt x="501" y="771"/>
                  </a:lnTo>
                  <a:lnTo>
                    <a:pt x="502" y="767"/>
                  </a:lnTo>
                  <a:lnTo>
                    <a:pt x="524" y="750"/>
                  </a:lnTo>
                  <a:lnTo>
                    <a:pt x="523" y="747"/>
                  </a:lnTo>
                  <a:lnTo>
                    <a:pt x="517" y="747"/>
                  </a:lnTo>
                  <a:lnTo>
                    <a:pt x="514" y="739"/>
                  </a:lnTo>
                  <a:lnTo>
                    <a:pt x="524" y="740"/>
                  </a:lnTo>
                  <a:lnTo>
                    <a:pt x="521" y="732"/>
                  </a:lnTo>
                  <a:lnTo>
                    <a:pt x="527" y="728"/>
                  </a:lnTo>
                  <a:lnTo>
                    <a:pt x="525" y="720"/>
                  </a:lnTo>
                  <a:lnTo>
                    <a:pt x="532" y="716"/>
                  </a:lnTo>
                  <a:lnTo>
                    <a:pt x="532" y="709"/>
                  </a:lnTo>
                  <a:lnTo>
                    <a:pt x="535" y="710"/>
                  </a:lnTo>
                  <a:lnTo>
                    <a:pt x="542" y="698"/>
                  </a:lnTo>
                  <a:lnTo>
                    <a:pt x="563" y="694"/>
                  </a:lnTo>
                  <a:lnTo>
                    <a:pt x="563" y="698"/>
                  </a:lnTo>
                  <a:lnTo>
                    <a:pt x="569" y="697"/>
                  </a:lnTo>
                  <a:lnTo>
                    <a:pt x="576" y="690"/>
                  </a:lnTo>
                  <a:lnTo>
                    <a:pt x="580" y="671"/>
                  </a:lnTo>
                  <a:lnTo>
                    <a:pt x="592" y="663"/>
                  </a:lnTo>
                  <a:lnTo>
                    <a:pt x="597" y="652"/>
                  </a:lnTo>
                  <a:lnTo>
                    <a:pt x="611" y="668"/>
                  </a:lnTo>
                  <a:lnTo>
                    <a:pt x="604" y="675"/>
                  </a:lnTo>
                  <a:lnTo>
                    <a:pt x="605" y="678"/>
                  </a:lnTo>
                  <a:lnTo>
                    <a:pt x="620" y="676"/>
                  </a:lnTo>
                  <a:lnTo>
                    <a:pt x="622" y="674"/>
                  </a:lnTo>
                  <a:lnTo>
                    <a:pt x="649" y="681"/>
                  </a:lnTo>
                  <a:lnTo>
                    <a:pt x="654" y="674"/>
                  </a:lnTo>
                  <a:lnTo>
                    <a:pt x="654" y="667"/>
                  </a:lnTo>
                  <a:lnTo>
                    <a:pt x="658" y="666"/>
                  </a:lnTo>
                  <a:lnTo>
                    <a:pt x="660" y="653"/>
                  </a:lnTo>
                  <a:lnTo>
                    <a:pt x="665" y="652"/>
                  </a:lnTo>
                  <a:lnTo>
                    <a:pt x="671" y="640"/>
                  </a:lnTo>
                  <a:lnTo>
                    <a:pt x="706" y="648"/>
                  </a:lnTo>
                  <a:lnTo>
                    <a:pt x="703" y="664"/>
                  </a:lnTo>
                  <a:lnTo>
                    <a:pt x="706" y="682"/>
                  </a:lnTo>
                  <a:lnTo>
                    <a:pt x="729" y="681"/>
                  </a:lnTo>
                  <a:lnTo>
                    <a:pt x="763" y="670"/>
                  </a:lnTo>
                  <a:lnTo>
                    <a:pt x="757" y="667"/>
                  </a:lnTo>
                  <a:lnTo>
                    <a:pt x="760" y="657"/>
                  </a:lnTo>
                  <a:lnTo>
                    <a:pt x="756" y="652"/>
                  </a:lnTo>
                  <a:lnTo>
                    <a:pt x="787" y="644"/>
                  </a:lnTo>
                  <a:lnTo>
                    <a:pt x="786" y="634"/>
                  </a:lnTo>
                  <a:lnTo>
                    <a:pt x="780" y="633"/>
                  </a:lnTo>
                  <a:lnTo>
                    <a:pt x="778" y="626"/>
                  </a:lnTo>
                  <a:lnTo>
                    <a:pt x="752" y="632"/>
                  </a:lnTo>
                  <a:lnTo>
                    <a:pt x="755" y="626"/>
                  </a:lnTo>
                  <a:lnTo>
                    <a:pt x="764" y="625"/>
                  </a:lnTo>
                  <a:lnTo>
                    <a:pt x="764" y="621"/>
                  </a:lnTo>
                  <a:lnTo>
                    <a:pt x="770" y="619"/>
                  </a:lnTo>
                  <a:lnTo>
                    <a:pt x="778" y="609"/>
                  </a:lnTo>
                  <a:lnTo>
                    <a:pt x="782" y="615"/>
                  </a:lnTo>
                  <a:lnTo>
                    <a:pt x="808" y="617"/>
                  </a:lnTo>
                  <a:lnTo>
                    <a:pt x="812" y="617"/>
                  </a:lnTo>
                  <a:lnTo>
                    <a:pt x="825" y="595"/>
                  </a:lnTo>
                  <a:lnTo>
                    <a:pt x="828" y="576"/>
                  </a:lnTo>
                  <a:lnTo>
                    <a:pt x="833" y="577"/>
                  </a:lnTo>
                  <a:lnTo>
                    <a:pt x="844" y="595"/>
                  </a:lnTo>
                  <a:lnTo>
                    <a:pt x="843" y="600"/>
                  </a:lnTo>
                  <a:lnTo>
                    <a:pt x="850" y="600"/>
                  </a:lnTo>
                  <a:lnTo>
                    <a:pt x="854" y="611"/>
                  </a:lnTo>
                  <a:lnTo>
                    <a:pt x="863" y="609"/>
                  </a:lnTo>
                  <a:lnTo>
                    <a:pt x="867" y="613"/>
                  </a:lnTo>
                  <a:lnTo>
                    <a:pt x="855" y="633"/>
                  </a:lnTo>
                  <a:lnTo>
                    <a:pt x="859" y="633"/>
                  </a:lnTo>
                  <a:lnTo>
                    <a:pt x="862" y="645"/>
                  </a:lnTo>
                  <a:lnTo>
                    <a:pt x="859" y="660"/>
                  </a:lnTo>
                  <a:lnTo>
                    <a:pt x="867" y="662"/>
                  </a:lnTo>
                  <a:lnTo>
                    <a:pt x="870" y="671"/>
                  </a:lnTo>
                  <a:lnTo>
                    <a:pt x="881" y="672"/>
                  </a:lnTo>
                  <a:lnTo>
                    <a:pt x="882" y="685"/>
                  </a:lnTo>
                  <a:lnTo>
                    <a:pt x="889" y="691"/>
                  </a:lnTo>
                  <a:lnTo>
                    <a:pt x="894" y="693"/>
                  </a:lnTo>
                  <a:lnTo>
                    <a:pt x="908" y="681"/>
                  </a:lnTo>
                  <a:lnTo>
                    <a:pt x="897" y="670"/>
                  </a:lnTo>
                  <a:lnTo>
                    <a:pt x="904" y="664"/>
                  </a:lnTo>
                  <a:lnTo>
                    <a:pt x="903" y="660"/>
                  </a:lnTo>
                  <a:lnTo>
                    <a:pt x="909" y="657"/>
                  </a:lnTo>
                  <a:lnTo>
                    <a:pt x="912" y="640"/>
                  </a:lnTo>
                  <a:lnTo>
                    <a:pt x="919" y="638"/>
                  </a:lnTo>
                  <a:lnTo>
                    <a:pt x="922" y="643"/>
                  </a:lnTo>
                  <a:lnTo>
                    <a:pt x="941" y="637"/>
                  </a:lnTo>
                  <a:lnTo>
                    <a:pt x="942" y="636"/>
                  </a:lnTo>
                  <a:lnTo>
                    <a:pt x="942" y="636"/>
                  </a:lnTo>
                  <a:lnTo>
                    <a:pt x="939" y="629"/>
                  </a:lnTo>
                  <a:lnTo>
                    <a:pt x="934" y="624"/>
                  </a:lnTo>
                  <a:lnTo>
                    <a:pt x="928" y="617"/>
                  </a:lnTo>
                  <a:lnTo>
                    <a:pt x="924" y="611"/>
                  </a:lnTo>
                  <a:lnTo>
                    <a:pt x="924" y="611"/>
                  </a:lnTo>
                  <a:lnTo>
                    <a:pt x="920" y="609"/>
                  </a:lnTo>
                  <a:lnTo>
                    <a:pt x="917" y="606"/>
                  </a:lnTo>
                  <a:lnTo>
                    <a:pt x="915" y="603"/>
                  </a:lnTo>
                  <a:lnTo>
                    <a:pt x="912" y="600"/>
                  </a:lnTo>
                  <a:lnTo>
                    <a:pt x="909" y="600"/>
                  </a:lnTo>
                  <a:lnTo>
                    <a:pt x="907" y="605"/>
                  </a:lnTo>
                  <a:lnTo>
                    <a:pt x="905" y="603"/>
                  </a:lnTo>
                  <a:lnTo>
                    <a:pt x="905" y="603"/>
                  </a:lnTo>
                  <a:lnTo>
                    <a:pt x="898" y="598"/>
                  </a:lnTo>
                  <a:lnTo>
                    <a:pt x="892" y="594"/>
                  </a:lnTo>
                  <a:lnTo>
                    <a:pt x="879" y="581"/>
                  </a:lnTo>
                  <a:lnTo>
                    <a:pt x="879" y="581"/>
                  </a:lnTo>
                  <a:lnTo>
                    <a:pt x="878" y="580"/>
                  </a:lnTo>
                  <a:lnTo>
                    <a:pt x="878" y="580"/>
                  </a:lnTo>
                  <a:lnTo>
                    <a:pt x="866" y="571"/>
                  </a:lnTo>
                  <a:lnTo>
                    <a:pt x="859" y="565"/>
                  </a:lnTo>
                  <a:lnTo>
                    <a:pt x="854" y="558"/>
                  </a:lnTo>
                  <a:lnTo>
                    <a:pt x="854" y="558"/>
                  </a:lnTo>
                  <a:lnTo>
                    <a:pt x="850" y="552"/>
                  </a:lnTo>
                  <a:lnTo>
                    <a:pt x="850" y="552"/>
                  </a:lnTo>
                  <a:lnTo>
                    <a:pt x="846" y="546"/>
                  </a:lnTo>
                  <a:lnTo>
                    <a:pt x="846" y="546"/>
                  </a:lnTo>
                  <a:lnTo>
                    <a:pt x="839" y="534"/>
                  </a:lnTo>
                  <a:lnTo>
                    <a:pt x="839" y="534"/>
                  </a:lnTo>
                  <a:lnTo>
                    <a:pt x="835" y="526"/>
                  </a:lnTo>
                  <a:lnTo>
                    <a:pt x="831" y="522"/>
                  </a:lnTo>
                  <a:lnTo>
                    <a:pt x="828" y="520"/>
                  </a:lnTo>
                  <a:lnTo>
                    <a:pt x="828" y="520"/>
                  </a:lnTo>
                  <a:lnTo>
                    <a:pt x="821" y="520"/>
                  </a:lnTo>
                  <a:lnTo>
                    <a:pt x="816" y="522"/>
                  </a:lnTo>
                  <a:lnTo>
                    <a:pt x="803" y="526"/>
                  </a:lnTo>
                  <a:lnTo>
                    <a:pt x="791" y="529"/>
                  </a:lnTo>
                  <a:lnTo>
                    <a:pt x="786" y="530"/>
                  </a:lnTo>
                  <a:lnTo>
                    <a:pt x="779" y="530"/>
                  </a:lnTo>
                  <a:lnTo>
                    <a:pt x="779" y="530"/>
                  </a:lnTo>
                  <a:lnTo>
                    <a:pt x="768" y="530"/>
                  </a:lnTo>
                  <a:lnTo>
                    <a:pt x="763" y="531"/>
                  </a:lnTo>
                  <a:lnTo>
                    <a:pt x="759" y="533"/>
                  </a:lnTo>
                  <a:lnTo>
                    <a:pt x="749" y="541"/>
                  </a:lnTo>
                  <a:lnTo>
                    <a:pt x="749" y="541"/>
                  </a:lnTo>
                  <a:lnTo>
                    <a:pt x="741" y="542"/>
                  </a:lnTo>
                  <a:lnTo>
                    <a:pt x="733" y="541"/>
                  </a:lnTo>
                  <a:lnTo>
                    <a:pt x="727" y="537"/>
                  </a:lnTo>
                  <a:lnTo>
                    <a:pt x="722" y="533"/>
                  </a:lnTo>
                  <a:lnTo>
                    <a:pt x="715" y="523"/>
                  </a:lnTo>
                  <a:lnTo>
                    <a:pt x="713" y="520"/>
                  </a:lnTo>
                  <a:lnTo>
                    <a:pt x="711" y="519"/>
                  </a:lnTo>
                  <a:lnTo>
                    <a:pt x="696" y="525"/>
                  </a:lnTo>
                  <a:lnTo>
                    <a:pt x="696" y="525"/>
                  </a:lnTo>
                  <a:lnTo>
                    <a:pt x="696" y="525"/>
                  </a:lnTo>
                  <a:lnTo>
                    <a:pt x="688" y="527"/>
                  </a:lnTo>
                  <a:lnTo>
                    <a:pt x="683" y="531"/>
                  </a:lnTo>
                  <a:lnTo>
                    <a:pt x="683" y="531"/>
                  </a:lnTo>
                  <a:lnTo>
                    <a:pt x="680" y="529"/>
                  </a:lnTo>
                  <a:lnTo>
                    <a:pt x="680" y="526"/>
                  </a:lnTo>
                  <a:lnTo>
                    <a:pt x="680" y="526"/>
                  </a:lnTo>
                  <a:lnTo>
                    <a:pt x="683" y="523"/>
                  </a:lnTo>
                  <a:lnTo>
                    <a:pt x="685" y="520"/>
                  </a:lnTo>
                  <a:lnTo>
                    <a:pt x="690" y="515"/>
                  </a:lnTo>
                  <a:lnTo>
                    <a:pt x="690" y="515"/>
                  </a:lnTo>
                  <a:lnTo>
                    <a:pt x="699" y="511"/>
                  </a:lnTo>
                  <a:lnTo>
                    <a:pt x="710" y="508"/>
                  </a:lnTo>
                  <a:lnTo>
                    <a:pt x="714" y="510"/>
                  </a:lnTo>
                  <a:lnTo>
                    <a:pt x="714" y="510"/>
                  </a:lnTo>
                  <a:lnTo>
                    <a:pt x="718" y="511"/>
                  </a:lnTo>
                  <a:lnTo>
                    <a:pt x="722" y="514"/>
                  </a:lnTo>
                  <a:lnTo>
                    <a:pt x="727" y="518"/>
                  </a:lnTo>
                  <a:lnTo>
                    <a:pt x="732" y="522"/>
                  </a:lnTo>
                  <a:lnTo>
                    <a:pt x="736" y="522"/>
                  </a:lnTo>
                  <a:lnTo>
                    <a:pt x="740" y="522"/>
                  </a:lnTo>
                  <a:lnTo>
                    <a:pt x="757" y="518"/>
                  </a:lnTo>
                  <a:lnTo>
                    <a:pt x="757" y="518"/>
                  </a:lnTo>
                  <a:lnTo>
                    <a:pt x="765" y="519"/>
                  </a:lnTo>
                  <a:lnTo>
                    <a:pt x="772" y="519"/>
                  </a:lnTo>
                  <a:lnTo>
                    <a:pt x="789" y="515"/>
                  </a:lnTo>
                  <a:lnTo>
                    <a:pt x="791" y="516"/>
                  </a:lnTo>
                  <a:lnTo>
                    <a:pt x="791" y="516"/>
                  </a:lnTo>
                  <a:lnTo>
                    <a:pt x="803" y="512"/>
                  </a:lnTo>
                  <a:lnTo>
                    <a:pt x="809" y="510"/>
                  </a:lnTo>
                  <a:lnTo>
                    <a:pt x="814" y="506"/>
                  </a:lnTo>
                  <a:lnTo>
                    <a:pt x="814" y="506"/>
                  </a:lnTo>
                  <a:lnTo>
                    <a:pt x="822" y="504"/>
                  </a:lnTo>
                  <a:lnTo>
                    <a:pt x="829" y="503"/>
                  </a:lnTo>
                  <a:lnTo>
                    <a:pt x="836" y="504"/>
                  </a:lnTo>
                  <a:lnTo>
                    <a:pt x="843" y="508"/>
                  </a:lnTo>
                  <a:lnTo>
                    <a:pt x="846" y="507"/>
                  </a:lnTo>
                  <a:lnTo>
                    <a:pt x="846" y="507"/>
                  </a:lnTo>
                  <a:lnTo>
                    <a:pt x="848" y="510"/>
                  </a:lnTo>
                  <a:lnTo>
                    <a:pt x="850" y="514"/>
                  </a:lnTo>
                  <a:lnTo>
                    <a:pt x="851" y="522"/>
                  </a:lnTo>
                  <a:lnTo>
                    <a:pt x="851" y="522"/>
                  </a:lnTo>
                  <a:lnTo>
                    <a:pt x="863" y="531"/>
                  </a:lnTo>
                  <a:lnTo>
                    <a:pt x="873" y="542"/>
                  </a:lnTo>
                  <a:lnTo>
                    <a:pt x="893" y="565"/>
                  </a:lnTo>
                  <a:lnTo>
                    <a:pt x="898" y="568"/>
                  </a:lnTo>
                  <a:lnTo>
                    <a:pt x="898" y="568"/>
                  </a:lnTo>
                  <a:lnTo>
                    <a:pt x="907" y="571"/>
                  </a:lnTo>
                  <a:lnTo>
                    <a:pt x="916" y="572"/>
                  </a:lnTo>
                  <a:lnTo>
                    <a:pt x="917" y="571"/>
                  </a:lnTo>
                  <a:lnTo>
                    <a:pt x="917" y="571"/>
                  </a:lnTo>
                  <a:lnTo>
                    <a:pt x="927" y="567"/>
                  </a:lnTo>
                  <a:lnTo>
                    <a:pt x="927" y="567"/>
                  </a:lnTo>
                  <a:lnTo>
                    <a:pt x="931" y="565"/>
                  </a:lnTo>
                  <a:lnTo>
                    <a:pt x="931" y="565"/>
                  </a:lnTo>
                  <a:lnTo>
                    <a:pt x="938" y="562"/>
                  </a:lnTo>
                  <a:lnTo>
                    <a:pt x="942" y="562"/>
                  </a:lnTo>
                  <a:lnTo>
                    <a:pt x="945" y="560"/>
                  </a:lnTo>
                  <a:lnTo>
                    <a:pt x="945" y="560"/>
                  </a:lnTo>
                  <a:lnTo>
                    <a:pt x="947" y="560"/>
                  </a:lnTo>
                  <a:lnTo>
                    <a:pt x="947" y="560"/>
                  </a:lnTo>
                  <a:lnTo>
                    <a:pt x="964" y="564"/>
                  </a:lnTo>
                  <a:lnTo>
                    <a:pt x="978" y="573"/>
                  </a:lnTo>
                  <a:lnTo>
                    <a:pt x="978" y="573"/>
                  </a:lnTo>
                  <a:lnTo>
                    <a:pt x="985" y="579"/>
                  </a:lnTo>
                  <a:lnTo>
                    <a:pt x="988" y="584"/>
                  </a:lnTo>
                  <a:lnTo>
                    <a:pt x="989" y="588"/>
                  </a:lnTo>
                  <a:lnTo>
                    <a:pt x="989" y="588"/>
                  </a:lnTo>
                  <a:lnTo>
                    <a:pt x="988" y="592"/>
                  </a:lnTo>
                  <a:lnTo>
                    <a:pt x="984" y="598"/>
                  </a:lnTo>
                  <a:lnTo>
                    <a:pt x="976" y="606"/>
                  </a:lnTo>
                  <a:lnTo>
                    <a:pt x="976" y="607"/>
                  </a:lnTo>
                  <a:lnTo>
                    <a:pt x="977" y="607"/>
                  </a:lnTo>
                  <a:lnTo>
                    <a:pt x="977" y="607"/>
                  </a:lnTo>
                  <a:lnTo>
                    <a:pt x="985" y="599"/>
                  </a:lnTo>
                  <a:lnTo>
                    <a:pt x="992" y="592"/>
                  </a:lnTo>
                  <a:lnTo>
                    <a:pt x="992" y="592"/>
                  </a:lnTo>
                  <a:lnTo>
                    <a:pt x="992" y="587"/>
                  </a:lnTo>
                  <a:lnTo>
                    <a:pt x="991" y="583"/>
                  </a:lnTo>
                  <a:lnTo>
                    <a:pt x="988" y="573"/>
                  </a:lnTo>
                  <a:lnTo>
                    <a:pt x="988" y="573"/>
                  </a:lnTo>
                  <a:lnTo>
                    <a:pt x="981" y="557"/>
                  </a:lnTo>
                  <a:lnTo>
                    <a:pt x="973" y="543"/>
                  </a:lnTo>
                  <a:lnTo>
                    <a:pt x="964" y="530"/>
                  </a:lnTo>
                  <a:lnTo>
                    <a:pt x="953" y="515"/>
                  </a:lnTo>
                  <a:lnTo>
                    <a:pt x="953" y="515"/>
                  </a:lnTo>
                  <a:lnTo>
                    <a:pt x="934" y="487"/>
                  </a:lnTo>
                  <a:lnTo>
                    <a:pt x="934" y="487"/>
                  </a:lnTo>
                  <a:lnTo>
                    <a:pt x="905" y="447"/>
                  </a:lnTo>
                  <a:lnTo>
                    <a:pt x="892" y="427"/>
                  </a:lnTo>
                  <a:lnTo>
                    <a:pt x="879" y="405"/>
                  </a:lnTo>
                  <a:lnTo>
                    <a:pt x="879" y="405"/>
                  </a:lnTo>
                  <a:lnTo>
                    <a:pt x="877" y="398"/>
                  </a:lnTo>
                  <a:lnTo>
                    <a:pt x="877" y="398"/>
                  </a:lnTo>
                  <a:lnTo>
                    <a:pt x="865" y="362"/>
                  </a:lnTo>
                  <a:lnTo>
                    <a:pt x="858" y="340"/>
                  </a:lnTo>
                  <a:lnTo>
                    <a:pt x="856" y="332"/>
                  </a:lnTo>
                  <a:lnTo>
                    <a:pt x="856" y="324"/>
                  </a:lnTo>
                  <a:lnTo>
                    <a:pt x="856" y="324"/>
                  </a:lnTo>
                  <a:lnTo>
                    <a:pt x="859" y="309"/>
                  </a:lnTo>
                  <a:lnTo>
                    <a:pt x="859" y="309"/>
                  </a:lnTo>
                  <a:lnTo>
                    <a:pt x="859" y="305"/>
                  </a:lnTo>
                  <a:lnTo>
                    <a:pt x="859" y="305"/>
                  </a:lnTo>
                  <a:lnTo>
                    <a:pt x="862" y="301"/>
                  </a:lnTo>
                  <a:lnTo>
                    <a:pt x="863" y="298"/>
                  </a:lnTo>
                  <a:lnTo>
                    <a:pt x="863" y="295"/>
                  </a:lnTo>
                  <a:lnTo>
                    <a:pt x="865" y="294"/>
                  </a:lnTo>
                  <a:lnTo>
                    <a:pt x="867" y="294"/>
                  </a:lnTo>
                  <a:lnTo>
                    <a:pt x="869" y="291"/>
                  </a:lnTo>
                  <a:lnTo>
                    <a:pt x="869" y="288"/>
                  </a:lnTo>
                  <a:lnTo>
                    <a:pt x="873" y="284"/>
                  </a:lnTo>
                  <a:lnTo>
                    <a:pt x="873" y="284"/>
                  </a:lnTo>
                  <a:lnTo>
                    <a:pt x="877" y="280"/>
                  </a:lnTo>
                  <a:lnTo>
                    <a:pt x="879" y="279"/>
                  </a:lnTo>
                  <a:lnTo>
                    <a:pt x="886" y="278"/>
                  </a:lnTo>
                  <a:lnTo>
                    <a:pt x="892" y="279"/>
                  </a:lnTo>
                  <a:lnTo>
                    <a:pt x="896" y="279"/>
                  </a:lnTo>
                  <a:lnTo>
                    <a:pt x="896" y="279"/>
                  </a:lnTo>
                  <a:lnTo>
                    <a:pt x="907" y="274"/>
                  </a:lnTo>
                  <a:lnTo>
                    <a:pt x="908" y="269"/>
                  </a:lnTo>
                  <a:lnTo>
                    <a:pt x="908" y="269"/>
                  </a:lnTo>
                  <a:lnTo>
                    <a:pt x="904" y="267"/>
                  </a:lnTo>
                  <a:lnTo>
                    <a:pt x="901" y="263"/>
                  </a:lnTo>
                  <a:lnTo>
                    <a:pt x="901" y="263"/>
                  </a:lnTo>
                  <a:lnTo>
                    <a:pt x="886" y="259"/>
                  </a:lnTo>
                  <a:lnTo>
                    <a:pt x="886" y="259"/>
                  </a:lnTo>
                  <a:lnTo>
                    <a:pt x="884" y="255"/>
                  </a:lnTo>
                  <a:lnTo>
                    <a:pt x="884" y="255"/>
                  </a:lnTo>
                  <a:lnTo>
                    <a:pt x="878" y="253"/>
                  </a:lnTo>
                  <a:lnTo>
                    <a:pt x="875" y="252"/>
                  </a:lnTo>
                  <a:lnTo>
                    <a:pt x="874" y="249"/>
                  </a:lnTo>
                  <a:lnTo>
                    <a:pt x="874" y="249"/>
                  </a:lnTo>
                  <a:lnTo>
                    <a:pt x="860" y="246"/>
                  </a:lnTo>
                  <a:lnTo>
                    <a:pt x="854" y="244"/>
                  </a:lnTo>
                  <a:lnTo>
                    <a:pt x="848" y="241"/>
                  </a:lnTo>
                  <a:lnTo>
                    <a:pt x="843" y="237"/>
                  </a:lnTo>
                  <a:lnTo>
                    <a:pt x="839" y="233"/>
                  </a:lnTo>
                  <a:lnTo>
                    <a:pt x="835" y="226"/>
                  </a:lnTo>
                  <a:lnTo>
                    <a:pt x="832" y="219"/>
                  </a:lnTo>
                  <a:lnTo>
                    <a:pt x="832" y="219"/>
                  </a:lnTo>
                  <a:lnTo>
                    <a:pt x="832" y="214"/>
                  </a:lnTo>
                  <a:lnTo>
                    <a:pt x="832" y="211"/>
                  </a:lnTo>
                  <a:lnTo>
                    <a:pt x="833" y="208"/>
                  </a:lnTo>
                  <a:lnTo>
                    <a:pt x="835" y="208"/>
                  </a:lnTo>
                  <a:lnTo>
                    <a:pt x="837" y="210"/>
                  </a:lnTo>
                  <a:lnTo>
                    <a:pt x="839" y="210"/>
                  </a:lnTo>
                  <a:lnTo>
                    <a:pt x="839" y="208"/>
                  </a:lnTo>
                  <a:lnTo>
                    <a:pt x="839" y="208"/>
                  </a:lnTo>
                  <a:lnTo>
                    <a:pt x="831" y="206"/>
                  </a:lnTo>
                  <a:lnTo>
                    <a:pt x="822" y="202"/>
                  </a:lnTo>
                  <a:lnTo>
                    <a:pt x="821" y="199"/>
                  </a:lnTo>
                  <a:lnTo>
                    <a:pt x="821" y="199"/>
                  </a:lnTo>
                  <a:lnTo>
                    <a:pt x="816" y="196"/>
                  </a:lnTo>
                  <a:lnTo>
                    <a:pt x="812" y="194"/>
                  </a:lnTo>
                  <a:lnTo>
                    <a:pt x="808" y="194"/>
                  </a:lnTo>
                  <a:lnTo>
                    <a:pt x="802" y="189"/>
                  </a:lnTo>
                  <a:lnTo>
                    <a:pt x="801" y="188"/>
                  </a:lnTo>
                  <a:lnTo>
                    <a:pt x="802" y="187"/>
                  </a:lnTo>
                  <a:lnTo>
                    <a:pt x="802" y="185"/>
                  </a:lnTo>
                  <a:lnTo>
                    <a:pt x="799" y="184"/>
                  </a:lnTo>
                  <a:lnTo>
                    <a:pt x="799" y="180"/>
                  </a:lnTo>
                  <a:lnTo>
                    <a:pt x="799" y="180"/>
                  </a:lnTo>
                  <a:lnTo>
                    <a:pt x="795" y="179"/>
                  </a:lnTo>
                  <a:lnTo>
                    <a:pt x="793" y="177"/>
                  </a:lnTo>
                  <a:lnTo>
                    <a:pt x="793" y="177"/>
                  </a:lnTo>
                  <a:lnTo>
                    <a:pt x="791" y="173"/>
                  </a:lnTo>
                  <a:lnTo>
                    <a:pt x="790" y="172"/>
                  </a:lnTo>
                  <a:lnTo>
                    <a:pt x="791" y="169"/>
                  </a:lnTo>
                  <a:lnTo>
                    <a:pt x="791" y="169"/>
                  </a:lnTo>
                  <a:lnTo>
                    <a:pt x="794" y="166"/>
                  </a:lnTo>
                  <a:lnTo>
                    <a:pt x="795" y="164"/>
                  </a:lnTo>
                  <a:lnTo>
                    <a:pt x="794" y="164"/>
                  </a:lnTo>
                  <a:lnTo>
                    <a:pt x="791" y="165"/>
                  </a:lnTo>
                  <a:lnTo>
                    <a:pt x="791" y="165"/>
                  </a:lnTo>
                  <a:lnTo>
                    <a:pt x="787" y="161"/>
                  </a:lnTo>
                  <a:lnTo>
                    <a:pt x="786" y="158"/>
                  </a:lnTo>
                  <a:lnTo>
                    <a:pt x="787" y="154"/>
                  </a:lnTo>
                  <a:lnTo>
                    <a:pt x="783" y="151"/>
                  </a:lnTo>
                  <a:lnTo>
                    <a:pt x="782" y="147"/>
                  </a:lnTo>
                  <a:lnTo>
                    <a:pt x="783" y="145"/>
                  </a:lnTo>
                  <a:lnTo>
                    <a:pt x="782" y="142"/>
                  </a:lnTo>
                  <a:lnTo>
                    <a:pt x="782" y="142"/>
                  </a:lnTo>
                  <a:lnTo>
                    <a:pt x="783" y="141"/>
                  </a:lnTo>
                  <a:lnTo>
                    <a:pt x="783" y="138"/>
                  </a:lnTo>
                  <a:lnTo>
                    <a:pt x="782" y="135"/>
                  </a:lnTo>
                  <a:lnTo>
                    <a:pt x="780" y="132"/>
                  </a:lnTo>
                  <a:lnTo>
                    <a:pt x="778" y="132"/>
                  </a:lnTo>
                  <a:lnTo>
                    <a:pt x="779" y="128"/>
                  </a:lnTo>
                  <a:lnTo>
                    <a:pt x="776" y="123"/>
                  </a:lnTo>
                  <a:lnTo>
                    <a:pt x="772" y="120"/>
                  </a:lnTo>
                  <a:lnTo>
                    <a:pt x="772" y="112"/>
                  </a:lnTo>
                  <a:lnTo>
                    <a:pt x="772" y="112"/>
                  </a:lnTo>
                  <a:lnTo>
                    <a:pt x="768" y="108"/>
                  </a:lnTo>
                  <a:lnTo>
                    <a:pt x="765" y="103"/>
                  </a:lnTo>
                  <a:lnTo>
                    <a:pt x="763" y="96"/>
                  </a:lnTo>
                  <a:lnTo>
                    <a:pt x="760" y="93"/>
                  </a:lnTo>
                  <a:lnTo>
                    <a:pt x="756" y="90"/>
                  </a:lnTo>
                  <a:lnTo>
                    <a:pt x="752" y="90"/>
                  </a:lnTo>
                  <a:lnTo>
                    <a:pt x="751" y="89"/>
                  </a:lnTo>
                  <a:lnTo>
                    <a:pt x="746" y="88"/>
                  </a:lnTo>
                  <a:lnTo>
                    <a:pt x="746" y="88"/>
                  </a:lnTo>
                  <a:lnTo>
                    <a:pt x="742" y="81"/>
                  </a:lnTo>
                  <a:lnTo>
                    <a:pt x="741" y="77"/>
                  </a:lnTo>
                  <a:lnTo>
                    <a:pt x="741" y="74"/>
                  </a:lnTo>
                  <a:lnTo>
                    <a:pt x="745" y="69"/>
                  </a:lnTo>
                  <a:lnTo>
                    <a:pt x="745" y="66"/>
                  </a:lnTo>
                  <a:lnTo>
                    <a:pt x="745" y="66"/>
                  </a:lnTo>
                  <a:lnTo>
                    <a:pt x="742" y="63"/>
                  </a:lnTo>
                  <a:lnTo>
                    <a:pt x="740" y="61"/>
                  </a:lnTo>
                  <a:lnTo>
                    <a:pt x="737" y="58"/>
                  </a:lnTo>
                  <a:lnTo>
                    <a:pt x="733" y="55"/>
                  </a:lnTo>
                  <a:lnTo>
                    <a:pt x="733" y="55"/>
                  </a:lnTo>
                  <a:lnTo>
                    <a:pt x="732" y="51"/>
                  </a:lnTo>
                  <a:lnTo>
                    <a:pt x="729" y="47"/>
                  </a:lnTo>
                  <a:lnTo>
                    <a:pt x="726" y="44"/>
                  </a:lnTo>
                  <a:lnTo>
                    <a:pt x="722" y="43"/>
                  </a:lnTo>
                  <a:lnTo>
                    <a:pt x="721" y="40"/>
                  </a:lnTo>
                  <a:lnTo>
                    <a:pt x="718" y="40"/>
                  </a:lnTo>
                  <a:lnTo>
                    <a:pt x="714" y="39"/>
                  </a:lnTo>
                  <a:lnTo>
                    <a:pt x="711" y="40"/>
                  </a:lnTo>
                  <a:lnTo>
                    <a:pt x="711" y="39"/>
                  </a:lnTo>
                  <a:lnTo>
                    <a:pt x="711" y="39"/>
                  </a:lnTo>
                  <a:lnTo>
                    <a:pt x="706" y="36"/>
                  </a:lnTo>
                  <a:lnTo>
                    <a:pt x="700" y="35"/>
                  </a:lnTo>
                  <a:lnTo>
                    <a:pt x="695" y="33"/>
                  </a:lnTo>
                  <a:lnTo>
                    <a:pt x="690" y="29"/>
                  </a:lnTo>
                  <a:lnTo>
                    <a:pt x="690" y="28"/>
                  </a:lnTo>
                  <a:lnTo>
                    <a:pt x="691" y="27"/>
                  </a:lnTo>
                  <a:lnTo>
                    <a:pt x="691" y="25"/>
                  </a:lnTo>
                  <a:lnTo>
                    <a:pt x="685" y="20"/>
                  </a:lnTo>
                  <a:lnTo>
                    <a:pt x="683" y="20"/>
                  </a:lnTo>
                  <a:lnTo>
                    <a:pt x="679" y="16"/>
                  </a:lnTo>
                  <a:lnTo>
                    <a:pt x="677" y="13"/>
                  </a:lnTo>
                  <a:lnTo>
                    <a:pt x="676" y="12"/>
                  </a:lnTo>
                  <a:lnTo>
                    <a:pt x="675" y="12"/>
                  </a:lnTo>
                  <a:lnTo>
                    <a:pt x="673" y="14"/>
                  </a:lnTo>
                  <a:lnTo>
                    <a:pt x="672" y="14"/>
                  </a:lnTo>
                  <a:lnTo>
                    <a:pt x="672" y="14"/>
                  </a:lnTo>
                  <a:lnTo>
                    <a:pt x="669" y="16"/>
                  </a:lnTo>
                  <a:lnTo>
                    <a:pt x="665" y="16"/>
                  </a:lnTo>
                  <a:lnTo>
                    <a:pt x="662" y="13"/>
                  </a:lnTo>
                  <a:lnTo>
                    <a:pt x="662" y="10"/>
                  </a:lnTo>
                  <a:lnTo>
                    <a:pt x="661" y="6"/>
                  </a:lnTo>
                  <a:lnTo>
                    <a:pt x="657" y="5"/>
                  </a:lnTo>
                  <a:lnTo>
                    <a:pt x="656" y="1"/>
                  </a:lnTo>
                  <a:lnTo>
                    <a:pt x="654" y="0"/>
                  </a:lnTo>
                  <a:lnTo>
                    <a:pt x="650" y="4"/>
                  </a:lnTo>
                  <a:lnTo>
                    <a:pt x="641" y="5"/>
                  </a:lnTo>
                  <a:lnTo>
                    <a:pt x="633" y="17"/>
                  </a:lnTo>
                  <a:lnTo>
                    <a:pt x="631" y="33"/>
                  </a:lnTo>
                  <a:lnTo>
                    <a:pt x="635" y="42"/>
                  </a:lnTo>
                  <a:lnTo>
                    <a:pt x="616" y="38"/>
                  </a:lnTo>
                  <a:lnTo>
                    <a:pt x="596" y="44"/>
                  </a:lnTo>
                  <a:lnTo>
                    <a:pt x="589" y="38"/>
                  </a:lnTo>
                  <a:lnTo>
                    <a:pt x="576" y="35"/>
                  </a:lnTo>
                  <a:lnTo>
                    <a:pt x="569" y="35"/>
                  </a:lnTo>
                  <a:lnTo>
                    <a:pt x="563" y="40"/>
                  </a:lnTo>
                  <a:lnTo>
                    <a:pt x="542" y="32"/>
                  </a:lnTo>
                  <a:lnTo>
                    <a:pt x="533" y="38"/>
                  </a:lnTo>
                  <a:lnTo>
                    <a:pt x="523" y="36"/>
                  </a:lnTo>
                  <a:lnTo>
                    <a:pt x="491" y="31"/>
                  </a:lnTo>
                  <a:lnTo>
                    <a:pt x="490" y="31"/>
                  </a:lnTo>
                  <a:lnTo>
                    <a:pt x="487" y="36"/>
                  </a:lnTo>
                  <a:lnTo>
                    <a:pt x="482" y="38"/>
                  </a:lnTo>
                  <a:lnTo>
                    <a:pt x="482" y="46"/>
                  </a:lnTo>
                  <a:lnTo>
                    <a:pt x="472" y="44"/>
                  </a:lnTo>
                  <a:lnTo>
                    <a:pt x="466" y="52"/>
                  </a:lnTo>
                  <a:lnTo>
                    <a:pt x="460" y="52"/>
                  </a:lnTo>
                  <a:lnTo>
                    <a:pt x="449" y="61"/>
                  </a:lnTo>
                  <a:lnTo>
                    <a:pt x="448" y="55"/>
                  </a:lnTo>
                  <a:lnTo>
                    <a:pt x="441" y="59"/>
                  </a:lnTo>
                  <a:lnTo>
                    <a:pt x="439" y="55"/>
                  </a:lnTo>
                  <a:lnTo>
                    <a:pt x="440" y="47"/>
                  </a:lnTo>
                  <a:lnTo>
                    <a:pt x="434" y="42"/>
                  </a:lnTo>
                  <a:lnTo>
                    <a:pt x="430" y="47"/>
                  </a:lnTo>
                  <a:lnTo>
                    <a:pt x="425" y="43"/>
                  </a:lnTo>
                  <a:lnTo>
                    <a:pt x="424" y="52"/>
                  </a:lnTo>
                  <a:lnTo>
                    <a:pt x="417" y="51"/>
                  </a:lnTo>
                  <a:lnTo>
                    <a:pt x="418" y="47"/>
                  </a:lnTo>
                  <a:lnTo>
                    <a:pt x="414" y="44"/>
                  </a:lnTo>
                  <a:lnTo>
                    <a:pt x="406" y="36"/>
                  </a:lnTo>
                  <a:lnTo>
                    <a:pt x="401" y="38"/>
                  </a:lnTo>
                  <a:lnTo>
                    <a:pt x="406" y="43"/>
                  </a:lnTo>
                  <a:lnTo>
                    <a:pt x="405" y="54"/>
                  </a:lnTo>
                  <a:lnTo>
                    <a:pt x="409" y="59"/>
                  </a:lnTo>
                  <a:lnTo>
                    <a:pt x="405" y="62"/>
                  </a:lnTo>
                  <a:lnTo>
                    <a:pt x="406" y="69"/>
                  </a:lnTo>
                  <a:lnTo>
                    <a:pt x="402" y="66"/>
                  </a:lnTo>
                  <a:lnTo>
                    <a:pt x="401" y="63"/>
                  </a:lnTo>
                  <a:lnTo>
                    <a:pt x="403" y="63"/>
                  </a:lnTo>
                  <a:lnTo>
                    <a:pt x="399" y="55"/>
                  </a:lnTo>
                  <a:lnTo>
                    <a:pt x="391" y="54"/>
                  </a:lnTo>
                  <a:lnTo>
                    <a:pt x="394" y="47"/>
                  </a:lnTo>
                  <a:lnTo>
                    <a:pt x="387" y="54"/>
                  </a:lnTo>
                  <a:lnTo>
                    <a:pt x="386" y="48"/>
                  </a:lnTo>
                  <a:lnTo>
                    <a:pt x="380" y="47"/>
                  </a:lnTo>
                  <a:lnTo>
                    <a:pt x="379" y="54"/>
                  </a:lnTo>
                  <a:lnTo>
                    <a:pt x="383" y="57"/>
                  </a:lnTo>
                  <a:lnTo>
                    <a:pt x="373" y="57"/>
                  </a:lnTo>
                  <a:lnTo>
                    <a:pt x="369" y="48"/>
                  </a:lnTo>
                  <a:lnTo>
                    <a:pt x="360" y="40"/>
                  </a:lnTo>
                  <a:lnTo>
                    <a:pt x="361" y="35"/>
                  </a:lnTo>
                  <a:lnTo>
                    <a:pt x="356" y="36"/>
                  </a:lnTo>
                  <a:lnTo>
                    <a:pt x="360" y="35"/>
                  </a:lnTo>
                  <a:lnTo>
                    <a:pt x="360" y="31"/>
                  </a:lnTo>
                  <a:lnTo>
                    <a:pt x="352" y="32"/>
                  </a:lnTo>
                  <a:lnTo>
                    <a:pt x="353" y="28"/>
                  </a:lnTo>
                  <a:lnTo>
                    <a:pt x="349" y="27"/>
                  </a:lnTo>
                  <a:lnTo>
                    <a:pt x="341" y="29"/>
                  </a:lnTo>
                  <a:lnTo>
                    <a:pt x="341" y="23"/>
                  </a:lnTo>
                  <a:lnTo>
                    <a:pt x="333" y="24"/>
                  </a:lnTo>
                  <a:lnTo>
                    <a:pt x="331" y="17"/>
                  </a:lnTo>
                  <a:lnTo>
                    <a:pt x="322" y="19"/>
                  </a:lnTo>
                  <a:lnTo>
                    <a:pt x="316" y="16"/>
                  </a:lnTo>
                  <a:lnTo>
                    <a:pt x="307" y="13"/>
                  </a:lnTo>
                  <a:lnTo>
                    <a:pt x="303" y="21"/>
                  </a:lnTo>
                  <a:lnTo>
                    <a:pt x="285" y="19"/>
                  </a:lnTo>
                  <a:lnTo>
                    <a:pt x="288" y="35"/>
                  </a:lnTo>
                  <a:lnTo>
                    <a:pt x="281" y="48"/>
                  </a:lnTo>
                  <a:lnTo>
                    <a:pt x="263" y="33"/>
                  </a:lnTo>
                  <a:lnTo>
                    <a:pt x="257" y="38"/>
                  </a:lnTo>
                  <a:lnTo>
                    <a:pt x="257" y="50"/>
                  </a:lnTo>
                  <a:lnTo>
                    <a:pt x="225" y="67"/>
                  </a:lnTo>
                  <a:lnTo>
                    <a:pt x="215" y="69"/>
                  </a:lnTo>
                  <a:lnTo>
                    <a:pt x="205" y="59"/>
                  </a:lnTo>
                  <a:lnTo>
                    <a:pt x="186" y="55"/>
                  </a:lnTo>
                  <a:lnTo>
                    <a:pt x="187" y="50"/>
                  </a:lnTo>
                  <a:lnTo>
                    <a:pt x="159" y="62"/>
                  </a:lnTo>
                  <a:lnTo>
                    <a:pt x="143" y="66"/>
                  </a:lnTo>
                  <a:lnTo>
                    <a:pt x="137" y="73"/>
                  </a:lnTo>
                  <a:lnTo>
                    <a:pt x="116" y="71"/>
                  </a:lnTo>
                  <a:close/>
                  <a:moveTo>
                    <a:pt x="388" y="763"/>
                  </a:moveTo>
                  <a:lnTo>
                    <a:pt x="388" y="763"/>
                  </a:lnTo>
                  <a:lnTo>
                    <a:pt x="386" y="759"/>
                  </a:lnTo>
                  <a:lnTo>
                    <a:pt x="388" y="76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nvGrpSpPr>
            <p:cNvPr id="99" name="Group 98">
              <a:extLst>
                <a:ext uri="{FF2B5EF4-FFF2-40B4-BE49-F238E27FC236}">
                  <a16:creationId xmlns:a16="http://schemas.microsoft.com/office/drawing/2014/main" id="{0F63EFF7-5B5E-41CF-AD50-594AD843D5B6}"/>
                </a:ext>
              </a:extLst>
            </p:cNvPr>
            <p:cNvGrpSpPr/>
            <p:nvPr/>
          </p:nvGrpSpPr>
          <p:grpSpPr>
            <a:xfrm>
              <a:off x="2381250" y="4532381"/>
              <a:ext cx="768350" cy="1006476"/>
              <a:chOff x="2381250" y="4532381"/>
              <a:chExt cx="768350" cy="1006476"/>
            </a:xfrm>
            <a:grpFill/>
          </p:grpSpPr>
          <p:sp>
            <p:nvSpPr>
              <p:cNvPr id="280" name="Freeform 271">
                <a:extLst>
                  <a:ext uri="{FF2B5EF4-FFF2-40B4-BE49-F238E27FC236}">
                    <a16:creationId xmlns:a16="http://schemas.microsoft.com/office/drawing/2014/main" id="{B27218E5-4847-4B63-ADCC-E9F32434D0AC}"/>
                  </a:ext>
                </a:extLst>
              </p:cNvPr>
              <p:cNvSpPr>
                <a:spLocks/>
              </p:cNvSpPr>
              <p:nvPr/>
            </p:nvSpPr>
            <p:spPr bwMode="auto">
              <a:xfrm>
                <a:off x="2592388" y="4532381"/>
                <a:ext cx="158750" cy="147638"/>
              </a:xfrm>
              <a:custGeom>
                <a:avLst/>
                <a:gdLst>
                  <a:gd name="T0" fmla="*/ 0 w 199"/>
                  <a:gd name="T1" fmla="*/ 93 h 186"/>
                  <a:gd name="T2" fmla="*/ 9 w 199"/>
                  <a:gd name="T3" fmla="*/ 80 h 186"/>
                  <a:gd name="T4" fmla="*/ 8 w 199"/>
                  <a:gd name="T5" fmla="*/ 80 h 186"/>
                  <a:gd name="T6" fmla="*/ 5 w 199"/>
                  <a:gd name="T7" fmla="*/ 66 h 186"/>
                  <a:gd name="T8" fmla="*/ 4 w 199"/>
                  <a:gd name="T9" fmla="*/ 60 h 186"/>
                  <a:gd name="T10" fmla="*/ 7 w 199"/>
                  <a:gd name="T11" fmla="*/ 45 h 186"/>
                  <a:gd name="T12" fmla="*/ 8 w 199"/>
                  <a:gd name="T13" fmla="*/ 29 h 186"/>
                  <a:gd name="T14" fmla="*/ 5 w 199"/>
                  <a:gd name="T15" fmla="*/ 19 h 186"/>
                  <a:gd name="T16" fmla="*/ 12 w 199"/>
                  <a:gd name="T17" fmla="*/ 15 h 186"/>
                  <a:gd name="T18" fmla="*/ 22 w 199"/>
                  <a:gd name="T19" fmla="*/ 11 h 186"/>
                  <a:gd name="T20" fmla="*/ 26 w 199"/>
                  <a:gd name="T21" fmla="*/ 13 h 186"/>
                  <a:gd name="T22" fmla="*/ 37 w 199"/>
                  <a:gd name="T23" fmla="*/ 7 h 186"/>
                  <a:gd name="T24" fmla="*/ 46 w 199"/>
                  <a:gd name="T25" fmla="*/ 9 h 186"/>
                  <a:gd name="T26" fmla="*/ 49 w 199"/>
                  <a:gd name="T27" fmla="*/ 3 h 186"/>
                  <a:gd name="T28" fmla="*/ 58 w 199"/>
                  <a:gd name="T29" fmla="*/ 0 h 186"/>
                  <a:gd name="T30" fmla="*/ 66 w 199"/>
                  <a:gd name="T31" fmla="*/ 4 h 186"/>
                  <a:gd name="T32" fmla="*/ 79 w 199"/>
                  <a:gd name="T33" fmla="*/ 3 h 186"/>
                  <a:gd name="T34" fmla="*/ 89 w 199"/>
                  <a:gd name="T35" fmla="*/ 6 h 186"/>
                  <a:gd name="T36" fmla="*/ 95 w 199"/>
                  <a:gd name="T37" fmla="*/ 9 h 186"/>
                  <a:gd name="T38" fmla="*/ 107 w 199"/>
                  <a:gd name="T39" fmla="*/ 9 h 186"/>
                  <a:gd name="T40" fmla="*/ 113 w 199"/>
                  <a:gd name="T41" fmla="*/ 17 h 186"/>
                  <a:gd name="T42" fmla="*/ 108 w 199"/>
                  <a:gd name="T43" fmla="*/ 40 h 186"/>
                  <a:gd name="T44" fmla="*/ 117 w 199"/>
                  <a:gd name="T45" fmla="*/ 37 h 186"/>
                  <a:gd name="T46" fmla="*/ 126 w 199"/>
                  <a:gd name="T47" fmla="*/ 45 h 186"/>
                  <a:gd name="T48" fmla="*/ 130 w 199"/>
                  <a:gd name="T49" fmla="*/ 53 h 186"/>
                  <a:gd name="T50" fmla="*/ 134 w 199"/>
                  <a:gd name="T51" fmla="*/ 70 h 186"/>
                  <a:gd name="T52" fmla="*/ 137 w 199"/>
                  <a:gd name="T53" fmla="*/ 79 h 186"/>
                  <a:gd name="T54" fmla="*/ 145 w 199"/>
                  <a:gd name="T55" fmla="*/ 82 h 186"/>
                  <a:gd name="T56" fmla="*/ 156 w 199"/>
                  <a:gd name="T57" fmla="*/ 78 h 186"/>
                  <a:gd name="T58" fmla="*/ 169 w 199"/>
                  <a:gd name="T59" fmla="*/ 70 h 186"/>
                  <a:gd name="T60" fmla="*/ 194 w 199"/>
                  <a:gd name="T61" fmla="*/ 71 h 186"/>
                  <a:gd name="T62" fmla="*/ 193 w 199"/>
                  <a:gd name="T63" fmla="*/ 80 h 186"/>
                  <a:gd name="T64" fmla="*/ 183 w 199"/>
                  <a:gd name="T65" fmla="*/ 95 h 186"/>
                  <a:gd name="T66" fmla="*/ 176 w 199"/>
                  <a:gd name="T67" fmla="*/ 109 h 186"/>
                  <a:gd name="T68" fmla="*/ 155 w 199"/>
                  <a:gd name="T69" fmla="*/ 127 h 186"/>
                  <a:gd name="T70" fmla="*/ 144 w 199"/>
                  <a:gd name="T71" fmla="*/ 132 h 186"/>
                  <a:gd name="T72" fmla="*/ 136 w 199"/>
                  <a:gd name="T73" fmla="*/ 147 h 186"/>
                  <a:gd name="T74" fmla="*/ 118 w 199"/>
                  <a:gd name="T75" fmla="*/ 160 h 186"/>
                  <a:gd name="T76" fmla="*/ 107 w 199"/>
                  <a:gd name="T77" fmla="*/ 173 h 186"/>
                  <a:gd name="T78" fmla="*/ 91 w 199"/>
                  <a:gd name="T79" fmla="*/ 178 h 186"/>
                  <a:gd name="T80" fmla="*/ 89 w 199"/>
                  <a:gd name="T81" fmla="*/ 186 h 186"/>
                  <a:gd name="T82" fmla="*/ 70 w 199"/>
                  <a:gd name="T83" fmla="*/ 178 h 186"/>
                  <a:gd name="T84" fmla="*/ 65 w 199"/>
                  <a:gd name="T85" fmla="*/ 177 h 186"/>
                  <a:gd name="T86" fmla="*/ 70 w 199"/>
                  <a:gd name="T87" fmla="*/ 160 h 186"/>
                  <a:gd name="T88" fmla="*/ 69 w 199"/>
                  <a:gd name="T89" fmla="*/ 151 h 186"/>
                  <a:gd name="T90" fmla="*/ 64 w 199"/>
                  <a:gd name="T91" fmla="*/ 159 h 186"/>
                  <a:gd name="T92" fmla="*/ 57 w 199"/>
                  <a:gd name="T93" fmla="*/ 167 h 186"/>
                  <a:gd name="T94" fmla="*/ 50 w 199"/>
                  <a:gd name="T95" fmla="*/ 165 h 186"/>
                  <a:gd name="T96" fmla="*/ 43 w 199"/>
                  <a:gd name="T97" fmla="*/ 152 h 186"/>
                  <a:gd name="T98" fmla="*/ 37 w 199"/>
                  <a:gd name="T99" fmla="*/ 151 h 186"/>
                  <a:gd name="T100" fmla="*/ 30 w 199"/>
                  <a:gd name="T101" fmla="*/ 137 h 186"/>
                  <a:gd name="T102" fmla="*/ 23 w 199"/>
                  <a:gd name="T103" fmla="*/ 128 h 186"/>
                  <a:gd name="T104" fmla="*/ 19 w 199"/>
                  <a:gd name="T105" fmla="*/ 118 h 186"/>
                  <a:gd name="T106" fmla="*/ 11 w 199"/>
                  <a:gd name="T107" fmla="*/ 106 h 186"/>
                  <a:gd name="T108" fmla="*/ 11 w 199"/>
                  <a:gd name="T109" fmla="*/ 10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9" h="186">
                    <a:moveTo>
                      <a:pt x="7" y="99"/>
                    </a:moveTo>
                    <a:lnTo>
                      <a:pt x="8" y="98"/>
                    </a:lnTo>
                    <a:lnTo>
                      <a:pt x="8" y="98"/>
                    </a:lnTo>
                    <a:lnTo>
                      <a:pt x="3" y="95"/>
                    </a:lnTo>
                    <a:lnTo>
                      <a:pt x="0" y="93"/>
                    </a:lnTo>
                    <a:lnTo>
                      <a:pt x="4" y="89"/>
                    </a:lnTo>
                    <a:lnTo>
                      <a:pt x="4" y="89"/>
                    </a:lnTo>
                    <a:lnTo>
                      <a:pt x="5" y="86"/>
                    </a:lnTo>
                    <a:lnTo>
                      <a:pt x="9" y="83"/>
                    </a:lnTo>
                    <a:lnTo>
                      <a:pt x="9" y="80"/>
                    </a:lnTo>
                    <a:lnTo>
                      <a:pt x="15" y="80"/>
                    </a:lnTo>
                    <a:lnTo>
                      <a:pt x="15" y="76"/>
                    </a:lnTo>
                    <a:lnTo>
                      <a:pt x="15" y="76"/>
                    </a:lnTo>
                    <a:lnTo>
                      <a:pt x="11" y="78"/>
                    </a:lnTo>
                    <a:lnTo>
                      <a:pt x="8" y="80"/>
                    </a:lnTo>
                    <a:lnTo>
                      <a:pt x="9" y="71"/>
                    </a:lnTo>
                    <a:lnTo>
                      <a:pt x="8" y="70"/>
                    </a:lnTo>
                    <a:lnTo>
                      <a:pt x="8" y="70"/>
                    </a:lnTo>
                    <a:lnTo>
                      <a:pt x="5" y="68"/>
                    </a:lnTo>
                    <a:lnTo>
                      <a:pt x="5" y="66"/>
                    </a:lnTo>
                    <a:lnTo>
                      <a:pt x="1" y="64"/>
                    </a:lnTo>
                    <a:lnTo>
                      <a:pt x="3" y="63"/>
                    </a:lnTo>
                    <a:lnTo>
                      <a:pt x="1" y="61"/>
                    </a:lnTo>
                    <a:lnTo>
                      <a:pt x="3" y="59"/>
                    </a:lnTo>
                    <a:lnTo>
                      <a:pt x="4" y="60"/>
                    </a:lnTo>
                    <a:lnTo>
                      <a:pt x="5" y="60"/>
                    </a:lnTo>
                    <a:lnTo>
                      <a:pt x="7" y="53"/>
                    </a:lnTo>
                    <a:lnTo>
                      <a:pt x="7" y="52"/>
                    </a:lnTo>
                    <a:lnTo>
                      <a:pt x="7" y="45"/>
                    </a:lnTo>
                    <a:lnTo>
                      <a:pt x="7" y="45"/>
                    </a:lnTo>
                    <a:lnTo>
                      <a:pt x="8" y="44"/>
                    </a:lnTo>
                    <a:lnTo>
                      <a:pt x="9" y="40"/>
                    </a:lnTo>
                    <a:lnTo>
                      <a:pt x="11" y="34"/>
                    </a:lnTo>
                    <a:lnTo>
                      <a:pt x="9" y="33"/>
                    </a:lnTo>
                    <a:lnTo>
                      <a:pt x="8" y="29"/>
                    </a:lnTo>
                    <a:lnTo>
                      <a:pt x="8" y="25"/>
                    </a:lnTo>
                    <a:lnTo>
                      <a:pt x="5" y="23"/>
                    </a:lnTo>
                    <a:lnTo>
                      <a:pt x="7" y="22"/>
                    </a:lnTo>
                    <a:lnTo>
                      <a:pt x="7" y="22"/>
                    </a:lnTo>
                    <a:lnTo>
                      <a:pt x="5" y="19"/>
                    </a:lnTo>
                    <a:lnTo>
                      <a:pt x="4" y="18"/>
                    </a:lnTo>
                    <a:lnTo>
                      <a:pt x="4" y="18"/>
                    </a:lnTo>
                    <a:lnTo>
                      <a:pt x="5" y="15"/>
                    </a:lnTo>
                    <a:lnTo>
                      <a:pt x="8" y="14"/>
                    </a:lnTo>
                    <a:lnTo>
                      <a:pt x="12" y="15"/>
                    </a:lnTo>
                    <a:lnTo>
                      <a:pt x="13" y="14"/>
                    </a:lnTo>
                    <a:lnTo>
                      <a:pt x="13" y="14"/>
                    </a:lnTo>
                    <a:lnTo>
                      <a:pt x="18" y="15"/>
                    </a:lnTo>
                    <a:lnTo>
                      <a:pt x="22" y="14"/>
                    </a:lnTo>
                    <a:lnTo>
                      <a:pt x="22" y="11"/>
                    </a:lnTo>
                    <a:lnTo>
                      <a:pt x="27" y="9"/>
                    </a:lnTo>
                    <a:lnTo>
                      <a:pt x="24" y="13"/>
                    </a:lnTo>
                    <a:lnTo>
                      <a:pt x="26" y="14"/>
                    </a:lnTo>
                    <a:lnTo>
                      <a:pt x="27" y="14"/>
                    </a:lnTo>
                    <a:lnTo>
                      <a:pt x="26" y="13"/>
                    </a:lnTo>
                    <a:lnTo>
                      <a:pt x="28" y="13"/>
                    </a:lnTo>
                    <a:lnTo>
                      <a:pt x="32" y="10"/>
                    </a:lnTo>
                    <a:lnTo>
                      <a:pt x="34" y="11"/>
                    </a:lnTo>
                    <a:lnTo>
                      <a:pt x="35" y="11"/>
                    </a:lnTo>
                    <a:lnTo>
                      <a:pt x="37" y="7"/>
                    </a:lnTo>
                    <a:lnTo>
                      <a:pt x="41" y="4"/>
                    </a:lnTo>
                    <a:lnTo>
                      <a:pt x="42" y="6"/>
                    </a:lnTo>
                    <a:lnTo>
                      <a:pt x="41" y="7"/>
                    </a:lnTo>
                    <a:lnTo>
                      <a:pt x="43" y="10"/>
                    </a:lnTo>
                    <a:lnTo>
                      <a:pt x="46" y="9"/>
                    </a:lnTo>
                    <a:lnTo>
                      <a:pt x="50" y="10"/>
                    </a:lnTo>
                    <a:lnTo>
                      <a:pt x="50" y="9"/>
                    </a:lnTo>
                    <a:lnTo>
                      <a:pt x="49" y="7"/>
                    </a:lnTo>
                    <a:lnTo>
                      <a:pt x="51" y="4"/>
                    </a:lnTo>
                    <a:lnTo>
                      <a:pt x="49" y="3"/>
                    </a:lnTo>
                    <a:lnTo>
                      <a:pt x="49" y="3"/>
                    </a:lnTo>
                    <a:lnTo>
                      <a:pt x="51" y="3"/>
                    </a:lnTo>
                    <a:lnTo>
                      <a:pt x="54" y="0"/>
                    </a:lnTo>
                    <a:lnTo>
                      <a:pt x="57" y="2"/>
                    </a:lnTo>
                    <a:lnTo>
                      <a:pt x="58" y="0"/>
                    </a:lnTo>
                    <a:lnTo>
                      <a:pt x="62" y="2"/>
                    </a:lnTo>
                    <a:lnTo>
                      <a:pt x="65" y="2"/>
                    </a:lnTo>
                    <a:lnTo>
                      <a:pt x="66" y="2"/>
                    </a:lnTo>
                    <a:lnTo>
                      <a:pt x="65" y="4"/>
                    </a:lnTo>
                    <a:lnTo>
                      <a:pt x="66" y="4"/>
                    </a:lnTo>
                    <a:lnTo>
                      <a:pt x="69" y="3"/>
                    </a:lnTo>
                    <a:lnTo>
                      <a:pt x="69" y="3"/>
                    </a:lnTo>
                    <a:lnTo>
                      <a:pt x="75" y="2"/>
                    </a:lnTo>
                    <a:lnTo>
                      <a:pt x="79" y="3"/>
                    </a:lnTo>
                    <a:lnTo>
                      <a:pt x="79" y="3"/>
                    </a:lnTo>
                    <a:lnTo>
                      <a:pt x="80" y="7"/>
                    </a:lnTo>
                    <a:lnTo>
                      <a:pt x="83" y="10"/>
                    </a:lnTo>
                    <a:lnTo>
                      <a:pt x="83" y="10"/>
                    </a:lnTo>
                    <a:lnTo>
                      <a:pt x="87" y="9"/>
                    </a:lnTo>
                    <a:lnTo>
                      <a:pt x="89" y="6"/>
                    </a:lnTo>
                    <a:lnTo>
                      <a:pt x="91" y="7"/>
                    </a:lnTo>
                    <a:lnTo>
                      <a:pt x="92" y="9"/>
                    </a:lnTo>
                    <a:lnTo>
                      <a:pt x="95" y="7"/>
                    </a:lnTo>
                    <a:lnTo>
                      <a:pt x="95" y="9"/>
                    </a:lnTo>
                    <a:lnTo>
                      <a:pt x="95" y="9"/>
                    </a:lnTo>
                    <a:lnTo>
                      <a:pt x="99" y="9"/>
                    </a:lnTo>
                    <a:lnTo>
                      <a:pt x="102" y="10"/>
                    </a:lnTo>
                    <a:lnTo>
                      <a:pt x="103" y="9"/>
                    </a:lnTo>
                    <a:lnTo>
                      <a:pt x="106" y="10"/>
                    </a:lnTo>
                    <a:lnTo>
                      <a:pt x="107" y="9"/>
                    </a:lnTo>
                    <a:lnTo>
                      <a:pt x="108" y="7"/>
                    </a:lnTo>
                    <a:lnTo>
                      <a:pt x="110" y="13"/>
                    </a:lnTo>
                    <a:lnTo>
                      <a:pt x="108" y="14"/>
                    </a:lnTo>
                    <a:lnTo>
                      <a:pt x="111" y="15"/>
                    </a:lnTo>
                    <a:lnTo>
                      <a:pt x="113" y="17"/>
                    </a:lnTo>
                    <a:lnTo>
                      <a:pt x="113" y="19"/>
                    </a:lnTo>
                    <a:lnTo>
                      <a:pt x="115" y="22"/>
                    </a:lnTo>
                    <a:lnTo>
                      <a:pt x="115" y="26"/>
                    </a:lnTo>
                    <a:lnTo>
                      <a:pt x="107" y="38"/>
                    </a:lnTo>
                    <a:lnTo>
                      <a:pt x="108" y="40"/>
                    </a:lnTo>
                    <a:lnTo>
                      <a:pt x="113" y="37"/>
                    </a:lnTo>
                    <a:lnTo>
                      <a:pt x="111" y="33"/>
                    </a:lnTo>
                    <a:lnTo>
                      <a:pt x="114" y="34"/>
                    </a:lnTo>
                    <a:lnTo>
                      <a:pt x="114" y="36"/>
                    </a:lnTo>
                    <a:lnTo>
                      <a:pt x="117" y="37"/>
                    </a:lnTo>
                    <a:lnTo>
                      <a:pt x="117" y="41"/>
                    </a:lnTo>
                    <a:lnTo>
                      <a:pt x="119" y="44"/>
                    </a:lnTo>
                    <a:lnTo>
                      <a:pt x="122" y="42"/>
                    </a:lnTo>
                    <a:lnTo>
                      <a:pt x="125" y="44"/>
                    </a:lnTo>
                    <a:lnTo>
                      <a:pt x="126" y="45"/>
                    </a:lnTo>
                    <a:lnTo>
                      <a:pt x="127" y="45"/>
                    </a:lnTo>
                    <a:lnTo>
                      <a:pt x="129" y="44"/>
                    </a:lnTo>
                    <a:lnTo>
                      <a:pt x="130" y="45"/>
                    </a:lnTo>
                    <a:lnTo>
                      <a:pt x="127" y="48"/>
                    </a:lnTo>
                    <a:lnTo>
                      <a:pt x="130" y="53"/>
                    </a:lnTo>
                    <a:lnTo>
                      <a:pt x="129" y="55"/>
                    </a:lnTo>
                    <a:lnTo>
                      <a:pt x="129" y="57"/>
                    </a:lnTo>
                    <a:lnTo>
                      <a:pt x="132" y="56"/>
                    </a:lnTo>
                    <a:lnTo>
                      <a:pt x="132" y="57"/>
                    </a:lnTo>
                    <a:lnTo>
                      <a:pt x="134" y="70"/>
                    </a:lnTo>
                    <a:lnTo>
                      <a:pt x="140" y="72"/>
                    </a:lnTo>
                    <a:lnTo>
                      <a:pt x="140" y="72"/>
                    </a:lnTo>
                    <a:lnTo>
                      <a:pt x="138" y="75"/>
                    </a:lnTo>
                    <a:lnTo>
                      <a:pt x="137" y="76"/>
                    </a:lnTo>
                    <a:lnTo>
                      <a:pt x="137" y="79"/>
                    </a:lnTo>
                    <a:lnTo>
                      <a:pt x="136" y="82"/>
                    </a:lnTo>
                    <a:lnTo>
                      <a:pt x="140" y="85"/>
                    </a:lnTo>
                    <a:lnTo>
                      <a:pt x="141" y="82"/>
                    </a:lnTo>
                    <a:lnTo>
                      <a:pt x="145" y="82"/>
                    </a:lnTo>
                    <a:lnTo>
                      <a:pt x="145" y="82"/>
                    </a:lnTo>
                    <a:lnTo>
                      <a:pt x="148" y="80"/>
                    </a:lnTo>
                    <a:lnTo>
                      <a:pt x="150" y="80"/>
                    </a:lnTo>
                    <a:lnTo>
                      <a:pt x="152" y="78"/>
                    </a:lnTo>
                    <a:lnTo>
                      <a:pt x="152" y="78"/>
                    </a:lnTo>
                    <a:lnTo>
                      <a:pt x="156" y="78"/>
                    </a:lnTo>
                    <a:lnTo>
                      <a:pt x="160" y="78"/>
                    </a:lnTo>
                    <a:lnTo>
                      <a:pt x="161" y="74"/>
                    </a:lnTo>
                    <a:lnTo>
                      <a:pt x="164" y="74"/>
                    </a:lnTo>
                    <a:lnTo>
                      <a:pt x="164" y="71"/>
                    </a:lnTo>
                    <a:lnTo>
                      <a:pt x="169" y="70"/>
                    </a:lnTo>
                    <a:lnTo>
                      <a:pt x="169" y="70"/>
                    </a:lnTo>
                    <a:lnTo>
                      <a:pt x="179" y="70"/>
                    </a:lnTo>
                    <a:lnTo>
                      <a:pt x="188" y="74"/>
                    </a:lnTo>
                    <a:lnTo>
                      <a:pt x="193" y="71"/>
                    </a:lnTo>
                    <a:lnTo>
                      <a:pt x="194" y="71"/>
                    </a:lnTo>
                    <a:lnTo>
                      <a:pt x="195" y="72"/>
                    </a:lnTo>
                    <a:lnTo>
                      <a:pt x="199" y="74"/>
                    </a:lnTo>
                    <a:lnTo>
                      <a:pt x="197" y="78"/>
                    </a:lnTo>
                    <a:lnTo>
                      <a:pt x="194" y="79"/>
                    </a:lnTo>
                    <a:lnTo>
                      <a:pt x="193" y="80"/>
                    </a:lnTo>
                    <a:lnTo>
                      <a:pt x="193" y="83"/>
                    </a:lnTo>
                    <a:lnTo>
                      <a:pt x="188" y="86"/>
                    </a:lnTo>
                    <a:lnTo>
                      <a:pt x="188" y="86"/>
                    </a:lnTo>
                    <a:lnTo>
                      <a:pt x="186" y="91"/>
                    </a:lnTo>
                    <a:lnTo>
                      <a:pt x="183" y="95"/>
                    </a:lnTo>
                    <a:lnTo>
                      <a:pt x="182" y="105"/>
                    </a:lnTo>
                    <a:lnTo>
                      <a:pt x="179" y="104"/>
                    </a:lnTo>
                    <a:lnTo>
                      <a:pt x="176" y="108"/>
                    </a:lnTo>
                    <a:lnTo>
                      <a:pt x="176" y="109"/>
                    </a:lnTo>
                    <a:lnTo>
                      <a:pt x="176" y="109"/>
                    </a:lnTo>
                    <a:lnTo>
                      <a:pt x="174" y="110"/>
                    </a:lnTo>
                    <a:lnTo>
                      <a:pt x="174" y="110"/>
                    </a:lnTo>
                    <a:lnTo>
                      <a:pt x="161" y="118"/>
                    </a:lnTo>
                    <a:lnTo>
                      <a:pt x="157" y="124"/>
                    </a:lnTo>
                    <a:lnTo>
                      <a:pt x="155" y="127"/>
                    </a:lnTo>
                    <a:lnTo>
                      <a:pt x="155" y="129"/>
                    </a:lnTo>
                    <a:lnTo>
                      <a:pt x="149" y="128"/>
                    </a:lnTo>
                    <a:lnTo>
                      <a:pt x="149" y="128"/>
                    </a:lnTo>
                    <a:lnTo>
                      <a:pt x="145" y="132"/>
                    </a:lnTo>
                    <a:lnTo>
                      <a:pt x="144" y="132"/>
                    </a:lnTo>
                    <a:lnTo>
                      <a:pt x="144" y="132"/>
                    </a:lnTo>
                    <a:lnTo>
                      <a:pt x="138" y="135"/>
                    </a:lnTo>
                    <a:lnTo>
                      <a:pt x="136" y="137"/>
                    </a:lnTo>
                    <a:lnTo>
                      <a:pt x="136" y="142"/>
                    </a:lnTo>
                    <a:lnTo>
                      <a:pt x="136" y="147"/>
                    </a:lnTo>
                    <a:lnTo>
                      <a:pt x="133" y="151"/>
                    </a:lnTo>
                    <a:lnTo>
                      <a:pt x="123" y="156"/>
                    </a:lnTo>
                    <a:lnTo>
                      <a:pt x="123" y="156"/>
                    </a:lnTo>
                    <a:lnTo>
                      <a:pt x="121" y="159"/>
                    </a:lnTo>
                    <a:lnTo>
                      <a:pt x="118" y="160"/>
                    </a:lnTo>
                    <a:lnTo>
                      <a:pt x="117" y="163"/>
                    </a:lnTo>
                    <a:lnTo>
                      <a:pt x="114" y="165"/>
                    </a:lnTo>
                    <a:lnTo>
                      <a:pt x="114" y="165"/>
                    </a:lnTo>
                    <a:lnTo>
                      <a:pt x="111" y="169"/>
                    </a:lnTo>
                    <a:lnTo>
                      <a:pt x="107" y="173"/>
                    </a:lnTo>
                    <a:lnTo>
                      <a:pt x="96" y="178"/>
                    </a:lnTo>
                    <a:lnTo>
                      <a:pt x="95" y="177"/>
                    </a:lnTo>
                    <a:lnTo>
                      <a:pt x="96" y="174"/>
                    </a:lnTo>
                    <a:lnTo>
                      <a:pt x="91" y="175"/>
                    </a:lnTo>
                    <a:lnTo>
                      <a:pt x="91" y="178"/>
                    </a:lnTo>
                    <a:lnTo>
                      <a:pt x="84" y="184"/>
                    </a:lnTo>
                    <a:lnTo>
                      <a:pt x="84" y="184"/>
                    </a:lnTo>
                    <a:lnTo>
                      <a:pt x="87" y="185"/>
                    </a:lnTo>
                    <a:lnTo>
                      <a:pt x="89" y="185"/>
                    </a:lnTo>
                    <a:lnTo>
                      <a:pt x="89" y="186"/>
                    </a:lnTo>
                    <a:lnTo>
                      <a:pt x="89" y="186"/>
                    </a:lnTo>
                    <a:lnTo>
                      <a:pt x="87" y="186"/>
                    </a:lnTo>
                    <a:lnTo>
                      <a:pt x="83" y="185"/>
                    </a:lnTo>
                    <a:lnTo>
                      <a:pt x="77" y="181"/>
                    </a:lnTo>
                    <a:lnTo>
                      <a:pt x="70" y="178"/>
                    </a:lnTo>
                    <a:lnTo>
                      <a:pt x="68" y="177"/>
                    </a:lnTo>
                    <a:lnTo>
                      <a:pt x="65" y="178"/>
                    </a:lnTo>
                    <a:lnTo>
                      <a:pt x="65" y="181"/>
                    </a:lnTo>
                    <a:lnTo>
                      <a:pt x="64" y="182"/>
                    </a:lnTo>
                    <a:lnTo>
                      <a:pt x="65" y="177"/>
                    </a:lnTo>
                    <a:lnTo>
                      <a:pt x="65" y="177"/>
                    </a:lnTo>
                    <a:lnTo>
                      <a:pt x="62" y="171"/>
                    </a:lnTo>
                    <a:lnTo>
                      <a:pt x="62" y="169"/>
                    </a:lnTo>
                    <a:lnTo>
                      <a:pt x="62" y="166"/>
                    </a:lnTo>
                    <a:lnTo>
                      <a:pt x="70" y="160"/>
                    </a:lnTo>
                    <a:lnTo>
                      <a:pt x="73" y="162"/>
                    </a:lnTo>
                    <a:lnTo>
                      <a:pt x="75" y="152"/>
                    </a:lnTo>
                    <a:lnTo>
                      <a:pt x="73" y="148"/>
                    </a:lnTo>
                    <a:lnTo>
                      <a:pt x="73" y="148"/>
                    </a:lnTo>
                    <a:lnTo>
                      <a:pt x="69" y="151"/>
                    </a:lnTo>
                    <a:lnTo>
                      <a:pt x="66" y="152"/>
                    </a:lnTo>
                    <a:lnTo>
                      <a:pt x="66" y="155"/>
                    </a:lnTo>
                    <a:lnTo>
                      <a:pt x="64" y="156"/>
                    </a:lnTo>
                    <a:lnTo>
                      <a:pt x="64" y="156"/>
                    </a:lnTo>
                    <a:lnTo>
                      <a:pt x="64" y="159"/>
                    </a:lnTo>
                    <a:lnTo>
                      <a:pt x="62" y="162"/>
                    </a:lnTo>
                    <a:lnTo>
                      <a:pt x="60" y="162"/>
                    </a:lnTo>
                    <a:lnTo>
                      <a:pt x="58" y="165"/>
                    </a:lnTo>
                    <a:lnTo>
                      <a:pt x="57" y="167"/>
                    </a:lnTo>
                    <a:lnTo>
                      <a:pt x="57" y="167"/>
                    </a:lnTo>
                    <a:lnTo>
                      <a:pt x="54" y="169"/>
                    </a:lnTo>
                    <a:lnTo>
                      <a:pt x="51" y="170"/>
                    </a:lnTo>
                    <a:lnTo>
                      <a:pt x="53" y="167"/>
                    </a:lnTo>
                    <a:lnTo>
                      <a:pt x="53" y="167"/>
                    </a:lnTo>
                    <a:lnTo>
                      <a:pt x="50" y="165"/>
                    </a:lnTo>
                    <a:lnTo>
                      <a:pt x="49" y="160"/>
                    </a:lnTo>
                    <a:lnTo>
                      <a:pt x="47" y="160"/>
                    </a:lnTo>
                    <a:lnTo>
                      <a:pt x="46" y="155"/>
                    </a:lnTo>
                    <a:lnTo>
                      <a:pt x="43" y="152"/>
                    </a:lnTo>
                    <a:lnTo>
                      <a:pt x="43" y="152"/>
                    </a:lnTo>
                    <a:lnTo>
                      <a:pt x="41" y="155"/>
                    </a:lnTo>
                    <a:lnTo>
                      <a:pt x="35" y="156"/>
                    </a:lnTo>
                    <a:lnTo>
                      <a:pt x="35" y="155"/>
                    </a:lnTo>
                    <a:lnTo>
                      <a:pt x="37" y="151"/>
                    </a:lnTo>
                    <a:lnTo>
                      <a:pt x="37" y="151"/>
                    </a:lnTo>
                    <a:lnTo>
                      <a:pt x="30" y="150"/>
                    </a:lnTo>
                    <a:lnTo>
                      <a:pt x="30" y="150"/>
                    </a:lnTo>
                    <a:lnTo>
                      <a:pt x="30" y="144"/>
                    </a:lnTo>
                    <a:lnTo>
                      <a:pt x="31" y="139"/>
                    </a:lnTo>
                    <a:lnTo>
                      <a:pt x="30" y="137"/>
                    </a:lnTo>
                    <a:lnTo>
                      <a:pt x="30" y="135"/>
                    </a:lnTo>
                    <a:lnTo>
                      <a:pt x="30" y="135"/>
                    </a:lnTo>
                    <a:lnTo>
                      <a:pt x="27" y="131"/>
                    </a:lnTo>
                    <a:lnTo>
                      <a:pt x="26" y="129"/>
                    </a:lnTo>
                    <a:lnTo>
                      <a:pt x="23" y="128"/>
                    </a:lnTo>
                    <a:lnTo>
                      <a:pt x="24" y="127"/>
                    </a:lnTo>
                    <a:lnTo>
                      <a:pt x="23" y="125"/>
                    </a:lnTo>
                    <a:lnTo>
                      <a:pt x="23" y="123"/>
                    </a:lnTo>
                    <a:lnTo>
                      <a:pt x="23" y="120"/>
                    </a:lnTo>
                    <a:lnTo>
                      <a:pt x="19" y="118"/>
                    </a:lnTo>
                    <a:lnTo>
                      <a:pt x="12" y="112"/>
                    </a:lnTo>
                    <a:lnTo>
                      <a:pt x="12" y="110"/>
                    </a:lnTo>
                    <a:lnTo>
                      <a:pt x="13" y="109"/>
                    </a:lnTo>
                    <a:lnTo>
                      <a:pt x="12" y="108"/>
                    </a:lnTo>
                    <a:lnTo>
                      <a:pt x="11" y="106"/>
                    </a:lnTo>
                    <a:lnTo>
                      <a:pt x="11" y="104"/>
                    </a:lnTo>
                    <a:lnTo>
                      <a:pt x="12" y="102"/>
                    </a:lnTo>
                    <a:lnTo>
                      <a:pt x="12" y="101"/>
                    </a:lnTo>
                    <a:lnTo>
                      <a:pt x="11" y="101"/>
                    </a:lnTo>
                    <a:lnTo>
                      <a:pt x="11" y="102"/>
                    </a:lnTo>
                    <a:lnTo>
                      <a:pt x="7" y="99"/>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81" name="Freeform 358">
                <a:extLst>
                  <a:ext uri="{FF2B5EF4-FFF2-40B4-BE49-F238E27FC236}">
                    <a16:creationId xmlns:a16="http://schemas.microsoft.com/office/drawing/2014/main" id="{144CDC6B-9C2C-4D94-B0E7-D185CC2152AC}"/>
                  </a:ext>
                </a:extLst>
              </p:cNvPr>
              <p:cNvSpPr>
                <a:spLocks/>
              </p:cNvSpPr>
              <p:nvPr/>
            </p:nvSpPr>
            <p:spPr bwMode="auto">
              <a:xfrm>
                <a:off x="2381250" y="4568894"/>
                <a:ext cx="768350" cy="969963"/>
              </a:xfrm>
              <a:custGeom>
                <a:avLst/>
                <a:gdLst>
                  <a:gd name="T0" fmla="*/ 962 w 969"/>
                  <a:gd name="T1" fmla="*/ 1002 h 1220"/>
                  <a:gd name="T2" fmla="*/ 948 w 969"/>
                  <a:gd name="T3" fmla="*/ 938 h 1220"/>
                  <a:gd name="T4" fmla="*/ 882 w 969"/>
                  <a:gd name="T5" fmla="*/ 885 h 1220"/>
                  <a:gd name="T6" fmla="*/ 802 w 969"/>
                  <a:gd name="T7" fmla="*/ 775 h 1220"/>
                  <a:gd name="T8" fmla="*/ 818 w 969"/>
                  <a:gd name="T9" fmla="*/ 694 h 1220"/>
                  <a:gd name="T10" fmla="*/ 859 w 969"/>
                  <a:gd name="T11" fmla="*/ 628 h 1220"/>
                  <a:gd name="T12" fmla="*/ 761 w 969"/>
                  <a:gd name="T13" fmla="*/ 561 h 1220"/>
                  <a:gd name="T14" fmla="*/ 817 w 969"/>
                  <a:gd name="T15" fmla="*/ 497 h 1220"/>
                  <a:gd name="T16" fmla="*/ 822 w 969"/>
                  <a:gd name="T17" fmla="*/ 439 h 1220"/>
                  <a:gd name="T18" fmla="*/ 847 w 969"/>
                  <a:gd name="T19" fmla="*/ 386 h 1220"/>
                  <a:gd name="T20" fmla="*/ 792 w 969"/>
                  <a:gd name="T21" fmla="*/ 351 h 1220"/>
                  <a:gd name="T22" fmla="*/ 834 w 969"/>
                  <a:gd name="T23" fmla="*/ 259 h 1220"/>
                  <a:gd name="T24" fmla="*/ 944 w 969"/>
                  <a:gd name="T25" fmla="*/ 260 h 1220"/>
                  <a:gd name="T26" fmla="*/ 893 w 969"/>
                  <a:gd name="T27" fmla="*/ 195 h 1220"/>
                  <a:gd name="T28" fmla="*/ 879 w 969"/>
                  <a:gd name="T29" fmla="*/ 151 h 1220"/>
                  <a:gd name="T30" fmla="*/ 851 w 969"/>
                  <a:gd name="T31" fmla="*/ 81 h 1220"/>
                  <a:gd name="T32" fmla="*/ 814 w 969"/>
                  <a:gd name="T33" fmla="*/ 69 h 1220"/>
                  <a:gd name="T34" fmla="*/ 733 w 969"/>
                  <a:gd name="T35" fmla="*/ 5 h 1220"/>
                  <a:gd name="T36" fmla="*/ 574 w 969"/>
                  <a:gd name="T37" fmla="*/ 25 h 1220"/>
                  <a:gd name="T38" fmla="*/ 554 w 969"/>
                  <a:gd name="T39" fmla="*/ 48 h 1220"/>
                  <a:gd name="T40" fmla="*/ 495 w 969"/>
                  <a:gd name="T41" fmla="*/ 55 h 1220"/>
                  <a:gd name="T42" fmla="*/ 403 w 969"/>
                  <a:gd name="T43" fmla="*/ 93 h 1220"/>
                  <a:gd name="T44" fmla="*/ 357 w 969"/>
                  <a:gd name="T45" fmla="*/ 168 h 1220"/>
                  <a:gd name="T46" fmla="*/ 290 w 969"/>
                  <a:gd name="T47" fmla="*/ 256 h 1220"/>
                  <a:gd name="T48" fmla="*/ 229 w 969"/>
                  <a:gd name="T49" fmla="*/ 302 h 1220"/>
                  <a:gd name="T50" fmla="*/ 233 w 969"/>
                  <a:gd name="T51" fmla="*/ 341 h 1220"/>
                  <a:gd name="T52" fmla="*/ 300 w 969"/>
                  <a:gd name="T53" fmla="*/ 337 h 1220"/>
                  <a:gd name="T54" fmla="*/ 362 w 969"/>
                  <a:gd name="T55" fmla="*/ 282 h 1220"/>
                  <a:gd name="T56" fmla="*/ 442 w 969"/>
                  <a:gd name="T57" fmla="*/ 275 h 1220"/>
                  <a:gd name="T58" fmla="*/ 430 w 969"/>
                  <a:gd name="T59" fmla="*/ 335 h 1220"/>
                  <a:gd name="T60" fmla="*/ 492 w 969"/>
                  <a:gd name="T61" fmla="*/ 378 h 1220"/>
                  <a:gd name="T62" fmla="*/ 446 w 969"/>
                  <a:gd name="T63" fmla="*/ 424 h 1220"/>
                  <a:gd name="T64" fmla="*/ 495 w 969"/>
                  <a:gd name="T65" fmla="*/ 493 h 1220"/>
                  <a:gd name="T66" fmla="*/ 452 w 969"/>
                  <a:gd name="T67" fmla="*/ 572 h 1220"/>
                  <a:gd name="T68" fmla="*/ 408 w 969"/>
                  <a:gd name="T69" fmla="*/ 670 h 1220"/>
                  <a:gd name="T70" fmla="*/ 322 w 969"/>
                  <a:gd name="T71" fmla="*/ 731 h 1220"/>
                  <a:gd name="T72" fmla="*/ 231 w 969"/>
                  <a:gd name="T73" fmla="*/ 759 h 1220"/>
                  <a:gd name="T74" fmla="*/ 193 w 969"/>
                  <a:gd name="T75" fmla="*/ 804 h 1220"/>
                  <a:gd name="T76" fmla="*/ 130 w 969"/>
                  <a:gd name="T77" fmla="*/ 838 h 1220"/>
                  <a:gd name="T78" fmla="*/ 85 w 969"/>
                  <a:gd name="T79" fmla="*/ 849 h 1220"/>
                  <a:gd name="T80" fmla="*/ 33 w 969"/>
                  <a:gd name="T81" fmla="*/ 880 h 1220"/>
                  <a:gd name="T82" fmla="*/ 27 w 969"/>
                  <a:gd name="T83" fmla="*/ 917 h 1220"/>
                  <a:gd name="T84" fmla="*/ 79 w 969"/>
                  <a:gd name="T85" fmla="*/ 974 h 1220"/>
                  <a:gd name="T86" fmla="*/ 34 w 969"/>
                  <a:gd name="T87" fmla="*/ 1009 h 1220"/>
                  <a:gd name="T88" fmla="*/ 61 w 969"/>
                  <a:gd name="T89" fmla="*/ 1014 h 1220"/>
                  <a:gd name="T90" fmla="*/ 142 w 969"/>
                  <a:gd name="T91" fmla="*/ 1017 h 1220"/>
                  <a:gd name="T92" fmla="*/ 98 w 969"/>
                  <a:gd name="T93" fmla="*/ 1030 h 1220"/>
                  <a:gd name="T94" fmla="*/ 115 w 969"/>
                  <a:gd name="T95" fmla="*/ 1079 h 1220"/>
                  <a:gd name="T96" fmla="*/ 175 w 969"/>
                  <a:gd name="T97" fmla="*/ 1058 h 1220"/>
                  <a:gd name="T98" fmla="*/ 229 w 969"/>
                  <a:gd name="T99" fmla="*/ 1022 h 1220"/>
                  <a:gd name="T100" fmla="*/ 309 w 969"/>
                  <a:gd name="T101" fmla="*/ 968 h 1220"/>
                  <a:gd name="T102" fmla="*/ 343 w 969"/>
                  <a:gd name="T103" fmla="*/ 982 h 1220"/>
                  <a:gd name="T104" fmla="*/ 377 w 969"/>
                  <a:gd name="T105" fmla="*/ 1043 h 1220"/>
                  <a:gd name="T106" fmla="*/ 437 w 969"/>
                  <a:gd name="T107" fmla="*/ 1048 h 1220"/>
                  <a:gd name="T108" fmla="*/ 393 w 969"/>
                  <a:gd name="T109" fmla="*/ 1066 h 1220"/>
                  <a:gd name="T110" fmla="*/ 404 w 969"/>
                  <a:gd name="T111" fmla="*/ 1124 h 1220"/>
                  <a:gd name="T112" fmla="*/ 471 w 969"/>
                  <a:gd name="T113" fmla="*/ 1108 h 1220"/>
                  <a:gd name="T114" fmla="*/ 541 w 969"/>
                  <a:gd name="T115" fmla="*/ 1068 h 1220"/>
                  <a:gd name="T116" fmla="*/ 579 w 969"/>
                  <a:gd name="T117" fmla="*/ 1154 h 1220"/>
                  <a:gd name="T118" fmla="*/ 674 w 969"/>
                  <a:gd name="T119" fmla="*/ 1214 h 1220"/>
                  <a:gd name="T120" fmla="*/ 784 w 969"/>
                  <a:gd name="T121" fmla="*/ 1204 h 1220"/>
                  <a:gd name="T122" fmla="*/ 855 w 969"/>
                  <a:gd name="T123" fmla="*/ 1111 h 1220"/>
                  <a:gd name="T124" fmla="*/ 959 w 969"/>
                  <a:gd name="T125" fmla="*/ 1082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1220">
                    <a:moveTo>
                      <a:pt x="966" y="1067"/>
                    </a:moveTo>
                    <a:lnTo>
                      <a:pt x="966" y="1067"/>
                    </a:lnTo>
                    <a:lnTo>
                      <a:pt x="965" y="1064"/>
                    </a:lnTo>
                    <a:lnTo>
                      <a:pt x="966" y="1059"/>
                    </a:lnTo>
                    <a:lnTo>
                      <a:pt x="966" y="1059"/>
                    </a:lnTo>
                    <a:lnTo>
                      <a:pt x="963" y="1058"/>
                    </a:lnTo>
                    <a:lnTo>
                      <a:pt x="962" y="1058"/>
                    </a:lnTo>
                    <a:lnTo>
                      <a:pt x="962" y="1058"/>
                    </a:lnTo>
                    <a:lnTo>
                      <a:pt x="961" y="1056"/>
                    </a:lnTo>
                    <a:lnTo>
                      <a:pt x="962" y="1054"/>
                    </a:lnTo>
                    <a:lnTo>
                      <a:pt x="963" y="1051"/>
                    </a:lnTo>
                    <a:lnTo>
                      <a:pt x="965" y="1048"/>
                    </a:lnTo>
                    <a:lnTo>
                      <a:pt x="966" y="1045"/>
                    </a:lnTo>
                    <a:lnTo>
                      <a:pt x="965" y="1044"/>
                    </a:lnTo>
                    <a:lnTo>
                      <a:pt x="962" y="1048"/>
                    </a:lnTo>
                    <a:lnTo>
                      <a:pt x="961" y="1048"/>
                    </a:lnTo>
                    <a:lnTo>
                      <a:pt x="959" y="1047"/>
                    </a:lnTo>
                    <a:lnTo>
                      <a:pt x="959" y="1043"/>
                    </a:lnTo>
                    <a:lnTo>
                      <a:pt x="967" y="1041"/>
                    </a:lnTo>
                    <a:lnTo>
                      <a:pt x="969" y="1040"/>
                    </a:lnTo>
                    <a:lnTo>
                      <a:pt x="969" y="1037"/>
                    </a:lnTo>
                    <a:lnTo>
                      <a:pt x="963" y="1035"/>
                    </a:lnTo>
                    <a:lnTo>
                      <a:pt x="965" y="1029"/>
                    </a:lnTo>
                    <a:lnTo>
                      <a:pt x="965" y="1028"/>
                    </a:lnTo>
                    <a:lnTo>
                      <a:pt x="959" y="1022"/>
                    </a:lnTo>
                    <a:lnTo>
                      <a:pt x="959" y="1022"/>
                    </a:lnTo>
                    <a:lnTo>
                      <a:pt x="965" y="1022"/>
                    </a:lnTo>
                    <a:lnTo>
                      <a:pt x="965" y="1018"/>
                    </a:lnTo>
                    <a:lnTo>
                      <a:pt x="961" y="1013"/>
                    </a:lnTo>
                    <a:lnTo>
                      <a:pt x="961" y="1007"/>
                    </a:lnTo>
                    <a:lnTo>
                      <a:pt x="958" y="1003"/>
                    </a:lnTo>
                    <a:lnTo>
                      <a:pt x="962" y="1002"/>
                    </a:lnTo>
                    <a:lnTo>
                      <a:pt x="965" y="999"/>
                    </a:lnTo>
                    <a:lnTo>
                      <a:pt x="965" y="995"/>
                    </a:lnTo>
                    <a:lnTo>
                      <a:pt x="966" y="990"/>
                    </a:lnTo>
                    <a:lnTo>
                      <a:pt x="966" y="988"/>
                    </a:lnTo>
                    <a:lnTo>
                      <a:pt x="963" y="986"/>
                    </a:lnTo>
                    <a:lnTo>
                      <a:pt x="961" y="983"/>
                    </a:lnTo>
                    <a:lnTo>
                      <a:pt x="959" y="979"/>
                    </a:lnTo>
                    <a:lnTo>
                      <a:pt x="962" y="974"/>
                    </a:lnTo>
                    <a:lnTo>
                      <a:pt x="962" y="969"/>
                    </a:lnTo>
                    <a:lnTo>
                      <a:pt x="962" y="968"/>
                    </a:lnTo>
                    <a:lnTo>
                      <a:pt x="962" y="965"/>
                    </a:lnTo>
                    <a:lnTo>
                      <a:pt x="961" y="963"/>
                    </a:lnTo>
                    <a:lnTo>
                      <a:pt x="959" y="961"/>
                    </a:lnTo>
                    <a:lnTo>
                      <a:pt x="959" y="960"/>
                    </a:lnTo>
                    <a:lnTo>
                      <a:pt x="961" y="959"/>
                    </a:lnTo>
                    <a:lnTo>
                      <a:pt x="966" y="955"/>
                    </a:lnTo>
                    <a:lnTo>
                      <a:pt x="966" y="955"/>
                    </a:lnTo>
                    <a:lnTo>
                      <a:pt x="967" y="953"/>
                    </a:lnTo>
                    <a:lnTo>
                      <a:pt x="967" y="949"/>
                    </a:lnTo>
                    <a:lnTo>
                      <a:pt x="969" y="944"/>
                    </a:lnTo>
                    <a:lnTo>
                      <a:pt x="969" y="941"/>
                    </a:lnTo>
                    <a:lnTo>
                      <a:pt x="967" y="940"/>
                    </a:lnTo>
                    <a:lnTo>
                      <a:pt x="961" y="938"/>
                    </a:lnTo>
                    <a:lnTo>
                      <a:pt x="959" y="938"/>
                    </a:lnTo>
                    <a:lnTo>
                      <a:pt x="958" y="940"/>
                    </a:lnTo>
                    <a:lnTo>
                      <a:pt x="955" y="941"/>
                    </a:lnTo>
                    <a:lnTo>
                      <a:pt x="955" y="941"/>
                    </a:lnTo>
                    <a:lnTo>
                      <a:pt x="954" y="936"/>
                    </a:lnTo>
                    <a:lnTo>
                      <a:pt x="952" y="934"/>
                    </a:lnTo>
                    <a:lnTo>
                      <a:pt x="950" y="936"/>
                    </a:lnTo>
                    <a:lnTo>
                      <a:pt x="948" y="938"/>
                    </a:lnTo>
                    <a:lnTo>
                      <a:pt x="948" y="938"/>
                    </a:lnTo>
                    <a:lnTo>
                      <a:pt x="942" y="937"/>
                    </a:lnTo>
                    <a:lnTo>
                      <a:pt x="937" y="938"/>
                    </a:lnTo>
                    <a:lnTo>
                      <a:pt x="933" y="933"/>
                    </a:lnTo>
                    <a:lnTo>
                      <a:pt x="931" y="926"/>
                    </a:lnTo>
                    <a:lnTo>
                      <a:pt x="925" y="921"/>
                    </a:lnTo>
                    <a:lnTo>
                      <a:pt x="925" y="921"/>
                    </a:lnTo>
                    <a:lnTo>
                      <a:pt x="925" y="915"/>
                    </a:lnTo>
                    <a:lnTo>
                      <a:pt x="925" y="911"/>
                    </a:lnTo>
                    <a:lnTo>
                      <a:pt x="921" y="910"/>
                    </a:lnTo>
                    <a:lnTo>
                      <a:pt x="916" y="904"/>
                    </a:lnTo>
                    <a:lnTo>
                      <a:pt x="914" y="903"/>
                    </a:lnTo>
                    <a:lnTo>
                      <a:pt x="912" y="900"/>
                    </a:lnTo>
                    <a:lnTo>
                      <a:pt x="909" y="898"/>
                    </a:lnTo>
                    <a:lnTo>
                      <a:pt x="905" y="896"/>
                    </a:lnTo>
                    <a:lnTo>
                      <a:pt x="904" y="891"/>
                    </a:lnTo>
                    <a:lnTo>
                      <a:pt x="901" y="889"/>
                    </a:lnTo>
                    <a:lnTo>
                      <a:pt x="897" y="891"/>
                    </a:lnTo>
                    <a:lnTo>
                      <a:pt x="894" y="891"/>
                    </a:lnTo>
                    <a:lnTo>
                      <a:pt x="900" y="888"/>
                    </a:lnTo>
                    <a:lnTo>
                      <a:pt x="901" y="885"/>
                    </a:lnTo>
                    <a:lnTo>
                      <a:pt x="895" y="883"/>
                    </a:lnTo>
                    <a:lnTo>
                      <a:pt x="893" y="883"/>
                    </a:lnTo>
                    <a:lnTo>
                      <a:pt x="891" y="881"/>
                    </a:lnTo>
                    <a:lnTo>
                      <a:pt x="890" y="879"/>
                    </a:lnTo>
                    <a:lnTo>
                      <a:pt x="887" y="879"/>
                    </a:lnTo>
                    <a:lnTo>
                      <a:pt x="887" y="879"/>
                    </a:lnTo>
                    <a:lnTo>
                      <a:pt x="886" y="879"/>
                    </a:lnTo>
                    <a:lnTo>
                      <a:pt x="886" y="880"/>
                    </a:lnTo>
                    <a:lnTo>
                      <a:pt x="885" y="880"/>
                    </a:lnTo>
                    <a:lnTo>
                      <a:pt x="883" y="884"/>
                    </a:lnTo>
                    <a:lnTo>
                      <a:pt x="882" y="884"/>
                    </a:lnTo>
                    <a:lnTo>
                      <a:pt x="882" y="885"/>
                    </a:lnTo>
                    <a:lnTo>
                      <a:pt x="882" y="885"/>
                    </a:lnTo>
                    <a:lnTo>
                      <a:pt x="876" y="887"/>
                    </a:lnTo>
                    <a:lnTo>
                      <a:pt x="867" y="892"/>
                    </a:lnTo>
                    <a:lnTo>
                      <a:pt x="862" y="896"/>
                    </a:lnTo>
                    <a:lnTo>
                      <a:pt x="860" y="896"/>
                    </a:lnTo>
                    <a:lnTo>
                      <a:pt x="859" y="896"/>
                    </a:lnTo>
                    <a:lnTo>
                      <a:pt x="855" y="896"/>
                    </a:lnTo>
                    <a:lnTo>
                      <a:pt x="855" y="885"/>
                    </a:lnTo>
                    <a:lnTo>
                      <a:pt x="849" y="885"/>
                    </a:lnTo>
                    <a:lnTo>
                      <a:pt x="845" y="887"/>
                    </a:lnTo>
                    <a:lnTo>
                      <a:pt x="843" y="885"/>
                    </a:lnTo>
                    <a:lnTo>
                      <a:pt x="840" y="883"/>
                    </a:lnTo>
                    <a:lnTo>
                      <a:pt x="840" y="881"/>
                    </a:lnTo>
                    <a:lnTo>
                      <a:pt x="840" y="876"/>
                    </a:lnTo>
                    <a:lnTo>
                      <a:pt x="830" y="862"/>
                    </a:lnTo>
                    <a:lnTo>
                      <a:pt x="828" y="858"/>
                    </a:lnTo>
                    <a:lnTo>
                      <a:pt x="818" y="849"/>
                    </a:lnTo>
                    <a:lnTo>
                      <a:pt x="811" y="830"/>
                    </a:lnTo>
                    <a:lnTo>
                      <a:pt x="810" y="827"/>
                    </a:lnTo>
                    <a:lnTo>
                      <a:pt x="811" y="823"/>
                    </a:lnTo>
                    <a:lnTo>
                      <a:pt x="813" y="816"/>
                    </a:lnTo>
                    <a:lnTo>
                      <a:pt x="814" y="815"/>
                    </a:lnTo>
                    <a:lnTo>
                      <a:pt x="811" y="812"/>
                    </a:lnTo>
                    <a:lnTo>
                      <a:pt x="811" y="807"/>
                    </a:lnTo>
                    <a:lnTo>
                      <a:pt x="806" y="803"/>
                    </a:lnTo>
                    <a:lnTo>
                      <a:pt x="803" y="799"/>
                    </a:lnTo>
                    <a:lnTo>
                      <a:pt x="799" y="792"/>
                    </a:lnTo>
                    <a:lnTo>
                      <a:pt x="799" y="790"/>
                    </a:lnTo>
                    <a:lnTo>
                      <a:pt x="800" y="788"/>
                    </a:lnTo>
                    <a:lnTo>
                      <a:pt x="800" y="780"/>
                    </a:lnTo>
                    <a:lnTo>
                      <a:pt x="802" y="778"/>
                    </a:lnTo>
                    <a:lnTo>
                      <a:pt x="802" y="775"/>
                    </a:lnTo>
                    <a:lnTo>
                      <a:pt x="802" y="774"/>
                    </a:lnTo>
                    <a:lnTo>
                      <a:pt x="806" y="774"/>
                    </a:lnTo>
                    <a:lnTo>
                      <a:pt x="807" y="773"/>
                    </a:lnTo>
                    <a:lnTo>
                      <a:pt x="807" y="773"/>
                    </a:lnTo>
                    <a:lnTo>
                      <a:pt x="807" y="771"/>
                    </a:lnTo>
                    <a:lnTo>
                      <a:pt x="806" y="769"/>
                    </a:lnTo>
                    <a:lnTo>
                      <a:pt x="805" y="766"/>
                    </a:lnTo>
                    <a:lnTo>
                      <a:pt x="805" y="765"/>
                    </a:lnTo>
                    <a:lnTo>
                      <a:pt x="800" y="763"/>
                    </a:lnTo>
                    <a:lnTo>
                      <a:pt x="795" y="756"/>
                    </a:lnTo>
                    <a:lnTo>
                      <a:pt x="796" y="754"/>
                    </a:lnTo>
                    <a:lnTo>
                      <a:pt x="798" y="754"/>
                    </a:lnTo>
                    <a:lnTo>
                      <a:pt x="803" y="754"/>
                    </a:lnTo>
                    <a:lnTo>
                      <a:pt x="810" y="751"/>
                    </a:lnTo>
                    <a:lnTo>
                      <a:pt x="815" y="747"/>
                    </a:lnTo>
                    <a:lnTo>
                      <a:pt x="817" y="744"/>
                    </a:lnTo>
                    <a:lnTo>
                      <a:pt x="815" y="740"/>
                    </a:lnTo>
                    <a:lnTo>
                      <a:pt x="815" y="739"/>
                    </a:lnTo>
                    <a:lnTo>
                      <a:pt x="813" y="740"/>
                    </a:lnTo>
                    <a:lnTo>
                      <a:pt x="809" y="744"/>
                    </a:lnTo>
                    <a:lnTo>
                      <a:pt x="800" y="740"/>
                    </a:lnTo>
                    <a:lnTo>
                      <a:pt x="800" y="737"/>
                    </a:lnTo>
                    <a:lnTo>
                      <a:pt x="809" y="729"/>
                    </a:lnTo>
                    <a:lnTo>
                      <a:pt x="810" y="727"/>
                    </a:lnTo>
                    <a:lnTo>
                      <a:pt x="809" y="723"/>
                    </a:lnTo>
                    <a:lnTo>
                      <a:pt x="810" y="716"/>
                    </a:lnTo>
                    <a:lnTo>
                      <a:pt x="811" y="713"/>
                    </a:lnTo>
                    <a:lnTo>
                      <a:pt x="817" y="705"/>
                    </a:lnTo>
                    <a:lnTo>
                      <a:pt x="817" y="702"/>
                    </a:lnTo>
                    <a:lnTo>
                      <a:pt x="818" y="698"/>
                    </a:lnTo>
                    <a:lnTo>
                      <a:pt x="818" y="697"/>
                    </a:lnTo>
                    <a:lnTo>
                      <a:pt x="818" y="694"/>
                    </a:lnTo>
                    <a:lnTo>
                      <a:pt x="828" y="693"/>
                    </a:lnTo>
                    <a:lnTo>
                      <a:pt x="828" y="691"/>
                    </a:lnTo>
                    <a:lnTo>
                      <a:pt x="825" y="686"/>
                    </a:lnTo>
                    <a:lnTo>
                      <a:pt x="826" y="685"/>
                    </a:lnTo>
                    <a:lnTo>
                      <a:pt x="828" y="683"/>
                    </a:lnTo>
                    <a:lnTo>
                      <a:pt x="834" y="682"/>
                    </a:lnTo>
                    <a:lnTo>
                      <a:pt x="843" y="676"/>
                    </a:lnTo>
                    <a:lnTo>
                      <a:pt x="849" y="679"/>
                    </a:lnTo>
                    <a:lnTo>
                      <a:pt x="853" y="679"/>
                    </a:lnTo>
                    <a:lnTo>
                      <a:pt x="855" y="679"/>
                    </a:lnTo>
                    <a:lnTo>
                      <a:pt x="857" y="675"/>
                    </a:lnTo>
                    <a:lnTo>
                      <a:pt x="857" y="675"/>
                    </a:lnTo>
                    <a:lnTo>
                      <a:pt x="860" y="675"/>
                    </a:lnTo>
                    <a:lnTo>
                      <a:pt x="860" y="674"/>
                    </a:lnTo>
                    <a:lnTo>
                      <a:pt x="857" y="672"/>
                    </a:lnTo>
                    <a:lnTo>
                      <a:pt x="855" y="672"/>
                    </a:lnTo>
                    <a:lnTo>
                      <a:pt x="848" y="672"/>
                    </a:lnTo>
                    <a:lnTo>
                      <a:pt x="848" y="671"/>
                    </a:lnTo>
                    <a:lnTo>
                      <a:pt x="843" y="670"/>
                    </a:lnTo>
                    <a:lnTo>
                      <a:pt x="841" y="668"/>
                    </a:lnTo>
                    <a:lnTo>
                      <a:pt x="841" y="667"/>
                    </a:lnTo>
                    <a:lnTo>
                      <a:pt x="841" y="666"/>
                    </a:lnTo>
                    <a:lnTo>
                      <a:pt x="840" y="663"/>
                    </a:lnTo>
                    <a:lnTo>
                      <a:pt x="840" y="662"/>
                    </a:lnTo>
                    <a:lnTo>
                      <a:pt x="840" y="662"/>
                    </a:lnTo>
                    <a:lnTo>
                      <a:pt x="841" y="659"/>
                    </a:lnTo>
                    <a:lnTo>
                      <a:pt x="841" y="657"/>
                    </a:lnTo>
                    <a:lnTo>
                      <a:pt x="844" y="652"/>
                    </a:lnTo>
                    <a:lnTo>
                      <a:pt x="841" y="648"/>
                    </a:lnTo>
                    <a:lnTo>
                      <a:pt x="843" y="643"/>
                    </a:lnTo>
                    <a:lnTo>
                      <a:pt x="855" y="636"/>
                    </a:lnTo>
                    <a:lnTo>
                      <a:pt x="859" y="628"/>
                    </a:lnTo>
                    <a:lnTo>
                      <a:pt x="857" y="625"/>
                    </a:lnTo>
                    <a:lnTo>
                      <a:pt x="857" y="624"/>
                    </a:lnTo>
                    <a:lnTo>
                      <a:pt x="855" y="622"/>
                    </a:lnTo>
                    <a:lnTo>
                      <a:pt x="853" y="622"/>
                    </a:lnTo>
                    <a:lnTo>
                      <a:pt x="851" y="621"/>
                    </a:lnTo>
                    <a:lnTo>
                      <a:pt x="841" y="622"/>
                    </a:lnTo>
                    <a:lnTo>
                      <a:pt x="832" y="625"/>
                    </a:lnTo>
                    <a:lnTo>
                      <a:pt x="828" y="626"/>
                    </a:lnTo>
                    <a:lnTo>
                      <a:pt x="828" y="626"/>
                    </a:lnTo>
                    <a:lnTo>
                      <a:pt x="826" y="625"/>
                    </a:lnTo>
                    <a:lnTo>
                      <a:pt x="822" y="625"/>
                    </a:lnTo>
                    <a:lnTo>
                      <a:pt x="818" y="622"/>
                    </a:lnTo>
                    <a:lnTo>
                      <a:pt x="817" y="621"/>
                    </a:lnTo>
                    <a:lnTo>
                      <a:pt x="814" y="619"/>
                    </a:lnTo>
                    <a:lnTo>
                      <a:pt x="809" y="614"/>
                    </a:lnTo>
                    <a:lnTo>
                      <a:pt x="807" y="610"/>
                    </a:lnTo>
                    <a:lnTo>
                      <a:pt x="798" y="605"/>
                    </a:lnTo>
                    <a:lnTo>
                      <a:pt x="796" y="602"/>
                    </a:lnTo>
                    <a:lnTo>
                      <a:pt x="796" y="602"/>
                    </a:lnTo>
                    <a:lnTo>
                      <a:pt x="795" y="600"/>
                    </a:lnTo>
                    <a:lnTo>
                      <a:pt x="791" y="599"/>
                    </a:lnTo>
                    <a:lnTo>
                      <a:pt x="788" y="599"/>
                    </a:lnTo>
                    <a:lnTo>
                      <a:pt x="788" y="598"/>
                    </a:lnTo>
                    <a:lnTo>
                      <a:pt x="787" y="594"/>
                    </a:lnTo>
                    <a:lnTo>
                      <a:pt x="787" y="594"/>
                    </a:lnTo>
                    <a:lnTo>
                      <a:pt x="783" y="590"/>
                    </a:lnTo>
                    <a:lnTo>
                      <a:pt x="765" y="580"/>
                    </a:lnTo>
                    <a:lnTo>
                      <a:pt x="762" y="575"/>
                    </a:lnTo>
                    <a:lnTo>
                      <a:pt x="762" y="575"/>
                    </a:lnTo>
                    <a:lnTo>
                      <a:pt x="761" y="569"/>
                    </a:lnTo>
                    <a:lnTo>
                      <a:pt x="760" y="567"/>
                    </a:lnTo>
                    <a:lnTo>
                      <a:pt x="761" y="561"/>
                    </a:lnTo>
                    <a:lnTo>
                      <a:pt x="765" y="556"/>
                    </a:lnTo>
                    <a:lnTo>
                      <a:pt x="767" y="552"/>
                    </a:lnTo>
                    <a:lnTo>
                      <a:pt x="769" y="549"/>
                    </a:lnTo>
                    <a:lnTo>
                      <a:pt x="773" y="546"/>
                    </a:lnTo>
                    <a:lnTo>
                      <a:pt x="773" y="546"/>
                    </a:lnTo>
                    <a:lnTo>
                      <a:pt x="779" y="546"/>
                    </a:lnTo>
                    <a:lnTo>
                      <a:pt x="792" y="537"/>
                    </a:lnTo>
                    <a:lnTo>
                      <a:pt x="800" y="535"/>
                    </a:lnTo>
                    <a:lnTo>
                      <a:pt x="807" y="531"/>
                    </a:lnTo>
                    <a:lnTo>
                      <a:pt x="814" y="531"/>
                    </a:lnTo>
                    <a:lnTo>
                      <a:pt x="821" y="530"/>
                    </a:lnTo>
                    <a:lnTo>
                      <a:pt x="828" y="531"/>
                    </a:lnTo>
                    <a:lnTo>
                      <a:pt x="830" y="531"/>
                    </a:lnTo>
                    <a:lnTo>
                      <a:pt x="832" y="530"/>
                    </a:lnTo>
                    <a:lnTo>
                      <a:pt x="830" y="525"/>
                    </a:lnTo>
                    <a:lnTo>
                      <a:pt x="830" y="522"/>
                    </a:lnTo>
                    <a:lnTo>
                      <a:pt x="832" y="519"/>
                    </a:lnTo>
                    <a:lnTo>
                      <a:pt x="833" y="516"/>
                    </a:lnTo>
                    <a:lnTo>
                      <a:pt x="834" y="516"/>
                    </a:lnTo>
                    <a:lnTo>
                      <a:pt x="840" y="519"/>
                    </a:lnTo>
                    <a:lnTo>
                      <a:pt x="844" y="520"/>
                    </a:lnTo>
                    <a:lnTo>
                      <a:pt x="844" y="515"/>
                    </a:lnTo>
                    <a:lnTo>
                      <a:pt x="843" y="508"/>
                    </a:lnTo>
                    <a:lnTo>
                      <a:pt x="845" y="495"/>
                    </a:lnTo>
                    <a:lnTo>
                      <a:pt x="844" y="488"/>
                    </a:lnTo>
                    <a:lnTo>
                      <a:pt x="840" y="484"/>
                    </a:lnTo>
                    <a:lnTo>
                      <a:pt x="838" y="484"/>
                    </a:lnTo>
                    <a:lnTo>
                      <a:pt x="834" y="485"/>
                    </a:lnTo>
                    <a:lnTo>
                      <a:pt x="825" y="493"/>
                    </a:lnTo>
                    <a:lnTo>
                      <a:pt x="822" y="495"/>
                    </a:lnTo>
                    <a:lnTo>
                      <a:pt x="819" y="496"/>
                    </a:lnTo>
                    <a:lnTo>
                      <a:pt x="817" y="497"/>
                    </a:lnTo>
                    <a:lnTo>
                      <a:pt x="810" y="501"/>
                    </a:lnTo>
                    <a:lnTo>
                      <a:pt x="814" y="504"/>
                    </a:lnTo>
                    <a:lnTo>
                      <a:pt x="814" y="506"/>
                    </a:lnTo>
                    <a:lnTo>
                      <a:pt x="813" y="508"/>
                    </a:lnTo>
                    <a:lnTo>
                      <a:pt x="809" y="510"/>
                    </a:lnTo>
                    <a:lnTo>
                      <a:pt x="800" y="514"/>
                    </a:lnTo>
                    <a:lnTo>
                      <a:pt x="798" y="514"/>
                    </a:lnTo>
                    <a:lnTo>
                      <a:pt x="796" y="514"/>
                    </a:lnTo>
                    <a:lnTo>
                      <a:pt x="796" y="514"/>
                    </a:lnTo>
                    <a:lnTo>
                      <a:pt x="795" y="512"/>
                    </a:lnTo>
                    <a:lnTo>
                      <a:pt x="795" y="511"/>
                    </a:lnTo>
                    <a:lnTo>
                      <a:pt x="795" y="511"/>
                    </a:lnTo>
                    <a:lnTo>
                      <a:pt x="796" y="508"/>
                    </a:lnTo>
                    <a:lnTo>
                      <a:pt x="802" y="507"/>
                    </a:lnTo>
                    <a:lnTo>
                      <a:pt x="802" y="499"/>
                    </a:lnTo>
                    <a:lnTo>
                      <a:pt x="798" y="489"/>
                    </a:lnTo>
                    <a:lnTo>
                      <a:pt x="795" y="485"/>
                    </a:lnTo>
                    <a:lnTo>
                      <a:pt x="795" y="485"/>
                    </a:lnTo>
                    <a:lnTo>
                      <a:pt x="795" y="477"/>
                    </a:lnTo>
                    <a:lnTo>
                      <a:pt x="800" y="476"/>
                    </a:lnTo>
                    <a:lnTo>
                      <a:pt x="802" y="476"/>
                    </a:lnTo>
                    <a:lnTo>
                      <a:pt x="805" y="473"/>
                    </a:lnTo>
                    <a:lnTo>
                      <a:pt x="807" y="472"/>
                    </a:lnTo>
                    <a:lnTo>
                      <a:pt x="810" y="470"/>
                    </a:lnTo>
                    <a:lnTo>
                      <a:pt x="810" y="468"/>
                    </a:lnTo>
                    <a:lnTo>
                      <a:pt x="811" y="461"/>
                    </a:lnTo>
                    <a:lnTo>
                      <a:pt x="813" y="459"/>
                    </a:lnTo>
                    <a:lnTo>
                      <a:pt x="818" y="450"/>
                    </a:lnTo>
                    <a:lnTo>
                      <a:pt x="815" y="444"/>
                    </a:lnTo>
                    <a:lnTo>
                      <a:pt x="814" y="443"/>
                    </a:lnTo>
                    <a:lnTo>
                      <a:pt x="815" y="442"/>
                    </a:lnTo>
                    <a:lnTo>
                      <a:pt x="822" y="439"/>
                    </a:lnTo>
                    <a:lnTo>
                      <a:pt x="825" y="436"/>
                    </a:lnTo>
                    <a:lnTo>
                      <a:pt x="825" y="436"/>
                    </a:lnTo>
                    <a:lnTo>
                      <a:pt x="826" y="435"/>
                    </a:lnTo>
                    <a:lnTo>
                      <a:pt x="828" y="430"/>
                    </a:lnTo>
                    <a:lnTo>
                      <a:pt x="828" y="424"/>
                    </a:lnTo>
                    <a:lnTo>
                      <a:pt x="828" y="423"/>
                    </a:lnTo>
                    <a:lnTo>
                      <a:pt x="828" y="416"/>
                    </a:lnTo>
                    <a:lnTo>
                      <a:pt x="828" y="413"/>
                    </a:lnTo>
                    <a:lnTo>
                      <a:pt x="828" y="411"/>
                    </a:lnTo>
                    <a:lnTo>
                      <a:pt x="826" y="411"/>
                    </a:lnTo>
                    <a:lnTo>
                      <a:pt x="829" y="408"/>
                    </a:lnTo>
                    <a:lnTo>
                      <a:pt x="833" y="407"/>
                    </a:lnTo>
                    <a:lnTo>
                      <a:pt x="834" y="404"/>
                    </a:lnTo>
                    <a:lnTo>
                      <a:pt x="836" y="401"/>
                    </a:lnTo>
                    <a:lnTo>
                      <a:pt x="834" y="400"/>
                    </a:lnTo>
                    <a:lnTo>
                      <a:pt x="834" y="400"/>
                    </a:lnTo>
                    <a:lnTo>
                      <a:pt x="834" y="396"/>
                    </a:lnTo>
                    <a:lnTo>
                      <a:pt x="836" y="393"/>
                    </a:lnTo>
                    <a:lnTo>
                      <a:pt x="847" y="393"/>
                    </a:lnTo>
                    <a:lnTo>
                      <a:pt x="849" y="390"/>
                    </a:lnTo>
                    <a:lnTo>
                      <a:pt x="851" y="390"/>
                    </a:lnTo>
                    <a:lnTo>
                      <a:pt x="853" y="390"/>
                    </a:lnTo>
                    <a:lnTo>
                      <a:pt x="852" y="394"/>
                    </a:lnTo>
                    <a:lnTo>
                      <a:pt x="853" y="396"/>
                    </a:lnTo>
                    <a:lnTo>
                      <a:pt x="855" y="396"/>
                    </a:lnTo>
                    <a:lnTo>
                      <a:pt x="857" y="396"/>
                    </a:lnTo>
                    <a:lnTo>
                      <a:pt x="859" y="393"/>
                    </a:lnTo>
                    <a:lnTo>
                      <a:pt x="856" y="390"/>
                    </a:lnTo>
                    <a:lnTo>
                      <a:pt x="856" y="386"/>
                    </a:lnTo>
                    <a:lnTo>
                      <a:pt x="855" y="385"/>
                    </a:lnTo>
                    <a:lnTo>
                      <a:pt x="852" y="386"/>
                    </a:lnTo>
                    <a:lnTo>
                      <a:pt x="847" y="386"/>
                    </a:lnTo>
                    <a:lnTo>
                      <a:pt x="845" y="383"/>
                    </a:lnTo>
                    <a:lnTo>
                      <a:pt x="845" y="383"/>
                    </a:lnTo>
                    <a:lnTo>
                      <a:pt x="845" y="382"/>
                    </a:lnTo>
                    <a:lnTo>
                      <a:pt x="847" y="382"/>
                    </a:lnTo>
                    <a:lnTo>
                      <a:pt x="847" y="381"/>
                    </a:lnTo>
                    <a:lnTo>
                      <a:pt x="837" y="375"/>
                    </a:lnTo>
                    <a:lnTo>
                      <a:pt x="837" y="374"/>
                    </a:lnTo>
                    <a:lnTo>
                      <a:pt x="837" y="373"/>
                    </a:lnTo>
                    <a:lnTo>
                      <a:pt x="837" y="373"/>
                    </a:lnTo>
                    <a:lnTo>
                      <a:pt x="833" y="367"/>
                    </a:lnTo>
                    <a:lnTo>
                      <a:pt x="829" y="364"/>
                    </a:lnTo>
                    <a:lnTo>
                      <a:pt x="826" y="364"/>
                    </a:lnTo>
                    <a:lnTo>
                      <a:pt x="826" y="364"/>
                    </a:lnTo>
                    <a:lnTo>
                      <a:pt x="825" y="363"/>
                    </a:lnTo>
                    <a:lnTo>
                      <a:pt x="822" y="363"/>
                    </a:lnTo>
                    <a:lnTo>
                      <a:pt x="821" y="363"/>
                    </a:lnTo>
                    <a:lnTo>
                      <a:pt x="818" y="364"/>
                    </a:lnTo>
                    <a:lnTo>
                      <a:pt x="815" y="363"/>
                    </a:lnTo>
                    <a:lnTo>
                      <a:pt x="815" y="362"/>
                    </a:lnTo>
                    <a:lnTo>
                      <a:pt x="814" y="359"/>
                    </a:lnTo>
                    <a:lnTo>
                      <a:pt x="814" y="359"/>
                    </a:lnTo>
                    <a:lnTo>
                      <a:pt x="813" y="352"/>
                    </a:lnTo>
                    <a:lnTo>
                      <a:pt x="813" y="351"/>
                    </a:lnTo>
                    <a:lnTo>
                      <a:pt x="811" y="347"/>
                    </a:lnTo>
                    <a:lnTo>
                      <a:pt x="806" y="350"/>
                    </a:lnTo>
                    <a:lnTo>
                      <a:pt x="806" y="351"/>
                    </a:lnTo>
                    <a:lnTo>
                      <a:pt x="805" y="354"/>
                    </a:lnTo>
                    <a:lnTo>
                      <a:pt x="803" y="354"/>
                    </a:lnTo>
                    <a:lnTo>
                      <a:pt x="802" y="354"/>
                    </a:lnTo>
                    <a:lnTo>
                      <a:pt x="802" y="354"/>
                    </a:lnTo>
                    <a:lnTo>
                      <a:pt x="800" y="354"/>
                    </a:lnTo>
                    <a:lnTo>
                      <a:pt x="792" y="351"/>
                    </a:lnTo>
                    <a:lnTo>
                      <a:pt x="788" y="348"/>
                    </a:lnTo>
                    <a:lnTo>
                      <a:pt x="787" y="347"/>
                    </a:lnTo>
                    <a:lnTo>
                      <a:pt x="790" y="341"/>
                    </a:lnTo>
                    <a:lnTo>
                      <a:pt x="788" y="340"/>
                    </a:lnTo>
                    <a:lnTo>
                      <a:pt x="788" y="340"/>
                    </a:lnTo>
                    <a:lnTo>
                      <a:pt x="784" y="340"/>
                    </a:lnTo>
                    <a:lnTo>
                      <a:pt x="784" y="333"/>
                    </a:lnTo>
                    <a:lnTo>
                      <a:pt x="790" y="318"/>
                    </a:lnTo>
                    <a:lnTo>
                      <a:pt x="787" y="314"/>
                    </a:lnTo>
                    <a:lnTo>
                      <a:pt x="794" y="307"/>
                    </a:lnTo>
                    <a:lnTo>
                      <a:pt x="798" y="305"/>
                    </a:lnTo>
                    <a:lnTo>
                      <a:pt x="794" y="299"/>
                    </a:lnTo>
                    <a:lnTo>
                      <a:pt x="790" y="295"/>
                    </a:lnTo>
                    <a:lnTo>
                      <a:pt x="792" y="293"/>
                    </a:lnTo>
                    <a:lnTo>
                      <a:pt x="795" y="291"/>
                    </a:lnTo>
                    <a:lnTo>
                      <a:pt x="792" y="288"/>
                    </a:lnTo>
                    <a:lnTo>
                      <a:pt x="794" y="286"/>
                    </a:lnTo>
                    <a:lnTo>
                      <a:pt x="800" y="286"/>
                    </a:lnTo>
                    <a:lnTo>
                      <a:pt x="803" y="284"/>
                    </a:lnTo>
                    <a:lnTo>
                      <a:pt x="803" y="279"/>
                    </a:lnTo>
                    <a:lnTo>
                      <a:pt x="805" y="272"/>
                    </a:lnTo>
                    <a:lnTo>
                      <a:pt x="807" y="267"/>
                    </a:lnTo>
                    <a:lnTo>
                      <a:pt x="810" y="264"/>
                    </a:lnTo>
                    <a:lnTo>
                      <a:pt x="814" y="265"/>
                    </a:lnTo>
                    <a:lnTo>
                      <a:pt x="821" y="265"/>
                    </a:lnTo>
                    <a:lnTo>
                      <a:pt x="822" y="265"/>
                    </a:lnTo>
                    <a:lnTo>
                      <a:pt x="822" y="265"/>
                    </a:lnTo>
                    <a:lnTo>
                      <a:pt x="824" y="265"/>
                    </a:lnTo>
                    <a:lnTo>
                      <a:pt x="828" y="264"/>
                    </a:lnTo>
                    <a:lnTo>
                      <a:pt x="829" y="264"/>
                    </a:lnTo>
                    <a:lnTo>
                      <a:pt x="834" y="260"/>
                    </a:lnTo>
                    <a:lnTo>
                      <a:pt x="834" y="259"/>
                    </a:lnTo>
                    <a:lnTo>
                      <a:pt x="838" y="252"/>
                    </a:lnTo>
                    <a:lnTo>
                      <a:pt x="840" y="251"/>
                    </a:lnTo>
                    <a:lnTo>
                      <a:pt x="840" y="251"/>
                    </a:lnTo>
                    <a:lnTo>
                      <a:pt x="841" y="248"/>
                    </a:lnTo>
                    <a:lnTo>
                      <a:pt x="843" y="246"/>
                    </a:lnTo>
                    <a:lnTo>
                      <a:pt x="849" y="245"/>
                    </a:lnTo>
                    <a:lnTo>
                      <a:pt x="853" y="241"/>
                    </a:lnTo>
                    <a:lnTo>
                      <a:pt x="853" y="241"/>
                    </a:lnTo>
                    <a:lnTo>
                      <a:pt x="855" y="241"/>
                    </a:lnTo>
                    <a:lnTo>
                      <a:pt x="855" y="245"/>
                    </a:lnTo>
                    <a:lnTo>
                      <a:pt x="859" y="251"/>
                    </a:lnTo>
                    <a:lnTo>
                      <a:pt x="868" y="257"/>
                    </a:lnTo>
                    <a:lnTo>
                      <a:pt x="872" y="256"/>
                    </a:lnTo>
                    <a:lnTo>
                      <a:pt x="878" y="255"/>
                    </a:lnTo>
                    <a:lnTo>
                      <a:pt x="883" y="251"/>
                    </a:lnTo>
                    <a:lnTo>
                      <a:pt x="889" y="253"/>
                    </a:lnTo>
                    <a:lnTo>
                      <a:pt x="890" y="253"/>
                    </a:lnTo>
                    <a:lnTo>
                      <a:pt x="897" y="255"/>
                    </a:lnTo>
                    <a:lnTo>
                      <a:pt x="904" y="260"/>
                    </a:lnTo>
                    <a:lnTo>
                      <a:pt x="906" y="265"/>
                    </a:lnTo>
                    <a:lnTo>
                      <a:pt x="908" y="268"/>
                    </a:lnTo>
                    <a:lnTo>
                      <a:pt x="910" y="271"/>
                    </a:lnTo>
                    <a:lnTo>
                      <a:pt x="913" y="275"/>
                    </a:lnTo>
                    <a:lnTo>
                      <a:pt x="916" y="280"/>
                    </a:lnTo>
                    <a:lnTo>
                      <a:pt x="916" y="284"/>
                    </a:lnTo>
                    <a:lnTo>
                      <a:pt x="917" y="284"/>
                    </a:lnTo>
                    <a:lnTo>
                      <a:pt x="921" y="278"/>
                    </a:lnTo>
                    <a:lnTo>
                      <a:pt x="925" y="274"/>
                    </a:lnTo>
                    <a:lnTo>
                      <a:pt x="932" y="267"/>
                    </a:lnTo>
                    <a:lnTo>
                      <a:pt x="942" y="267"/>
                    </a:lnTo>
                    <a:lnTo>
                      <a:pt x="943" y="261"/>
                    </a:lnTo>
                    <a:lnTo>
                      <a:pt x="944" y="260"/>
                    </a:lnTo>
                    <a:lnTo>
                      <a:pt x="944" y="259"/>
                    </a:lnTo>
                    <a:lnTo>
                      <a:pt x="944" y="253"/>
                    </a:lnTo>
                    <a:lnTo>
                      <a:pt x="947" y="249"/>
                    </a:lnTo>
                    <a:lnTo>
                      <a:pt x="947" y="244"/>
                    </a:lnTo>
                    <a:lnTo>
                      <a:pt x="948" y="241"/>
                    </a:lnTo>
                    <a:lnTo>
                      <a:pt x="950" y="240"/>
                    </a:lnTo>
                    <a:lnTo>
                      <a:pt x="950" y="240"/>
                    </a:lnTo>
                    <a:lnTo>
                      <a:pt x="950" y="238"/>
                    </a:lnTo>
                    <a:lnTo>
                      <a:pt x="948" y="234"/>
                    </a:lnTo>
                    <a:lnTo>
                      <a:pt x="947" y="232"/>
                    </a:lnTo>
                    <a:lnTo>
                      <a:pt x="929" y="227"/>
                    </a:lnTo>
                    <a:lnTo>
                      <a:pt x="929" y="226"/>
                    </a:lnTo>
                    <a:lnTo>
                      <a:pt x="924" y="223"/>
                    </a:lnTo>
                    <a:lnTo>
                      <a:pt x="921" y="223"/>
                    </a:lnTo>
                    <a:lnTo>
                      <a:pt x="919" y="226"/>
                    </a:lnTo>
                    <a:lnTo>
                      <a:pt x="914" y="226"/>
                    </a:lnTo>
                    <a:lnTo>
                      <a:pt x="908" y="223"/>
                    </a:lnTo>
                    <a:lnTo>
                      <a:pt x="905" y="222"/>
                    </a:lnTo>
                    <a:lnTo>
                      <a:pt x="904" y="221"/>
                    </a:lnTo>
                    <a:lnTo>
                      <a:pt x="902" y="218"/>
                    </a:lnTo>
                    <a:lnTo>
                      <a:pt x="902" y="217"/>
                    </a:lnTo>
                    <a:lnTo>
                      <a:pt x="904" y="214"/>
                    </a:lnTo>
                    <a:lnTo>
                      <a:pt x="901" y="208"/>
                    </a:lnTo>
                    <a:lnTo>
                      <a:pt x="895" y="208"/>
                    </a:lnTo>
                    <a:lnTo>
                      <a:pt x="894" y="206"/>
                    </a:lnTo>
                    <a:lnTo>
                      <a:pt x="894" y="203"/>
                    </a:lnTo>
                    <a:lnTo>
                      <a:pt x="895" y="200"/>
                    </a:lnTo>
                    <a:lnTo>
                      <a:pt x="895" y="198"/>
                    </a:lnTo>
                    <a:lnTo>
                      <a:pt x="893" y="196"/>
                    </a:lnTo>
                    <a:lnTo>
                      <a:pt x="893" y="196"/>
                    </a:lnTo>
                    <a:lnTo>
                      <a:pt x="893" y="196"/>
                    </a:lnTo>
                    <a:lnTo>
                      <a:pt x="893" y="195"/>
                    </a:lnTo>
                    <a:lnTo>
                      <a:pt x="894" y="194"/>
                    </a:lnTo>
                    <a:lnTo>
                      <a:pt x="897" y="192"/>
                    </a:lnTo>
                    <a:lnTo>
                      <a:pt x="895" y="191"/>
                    </a:lnTo>
                    <a:lnTo>
                      <a:pt x="893" y="189"/>
                    </a:lnTo>
                    <a:lnTo>
                      <a:pt x="894" y="187"/>
                    </a:lnTo>
                    <a:lnTo>
                      <a:pt x="893" y="185"/>
                    </a:lnTo>
                    <a:lnTo>
                      <a:pt x="894" y="183"/>
                    </a:lnTo>
                    <a:lnTo>
                      <a:pt x="894" y="181"/>
                    </a:lnTo>
                    <a:lnTo>
                      <a:pt x="894" y="181"/>
                    </a:lnTo>
                    <a:lnTo>
                      <a:pt x="893" y="179"/>
                    </a:lnTo>
                    <a:lnTo>
                      <a:pt x="887" y="177"/>
                    </a:lnTo>
                    <a:lnTo>
                      <a:pt x="886" y="176"/>
                    </a:lnTo>
                    <a:lnTo>
                      <a:pt x="887" y="173"/>
                    </a:lnTo>
                    <a:lnTo>
                      <a:pt x="889" y="169"/>
                    </a:lnTo>
                    <a:lnTo>
                      <a:pt x="887" y="169"/>
                    </a:lnTo>
                    <a:lnTo>
                      <a:pt x="885" y="168"/>
                    </a:lnTo>
                    <a:lnTo>
                      <a:pt x="879" y="164"/>
                    </a:lnTo>
                    <a:lnTo>
                      <a:pt x="881" y="161"/>
                    </a:lnTo>
                    <a:lnTo>
                      <a:pt x="881" y="161"/>
                    </a:lnTo>
                    <a:lnTo>
                      <a:pt x="882" y="161"/>
                    </a:lnTo>
                    <a:lnTo>
                      <a:pt x="883" y="160"/>
                    </a:lnTo>
                    <a:lnTo>
                      <a:pt x="885" y="156"/>
                    </a:lnTo>
                    <a:lnTo>
                      <a:pt x="885" y="153"/>
                    </a:lnTo>
                    <a:lnTo>
                      <a:pt x="885" y="153"/>
                    </a:lnTo>
                    <a:lnTo>
                      <a:pt x="886" y="151"/>
                    </a:lnTo>
                    <a:lnTo>
                      <a:pt x="887" y="150"/>
                    </a:lnTo>
                    <a:lnTo>
                      <a:pt x="887" y="147"/>
                    </a:lnTo>
                    <a:lnTo>
                      <a:pt x="887" y="147"/>
                    </a:lnTo>
                    <a:lnTo>
                      <a:pt x="887" y="146"/>
                    </a:lnTo>
                    <a:lnTo>
                      <a:pt x="885" y="146"/>
                    </a:lnTo>
                    <a:lnTo>
                      <a:pt x="883" y="147"/>
                    </a:lnTo>
                    <a:lnTo>
                      <a:pt x="879" y="151"/>
                    </a:lnTo>
                    <a:lnTo>
                      <a:pt x="876" y="151"/>
                    </a:lnTo>
                    <a:lnTo>
                      <a:pt x="871" y="147"/>
                    </a:lnTo>
                    <a:lnTo>
                      <a:pt x="867" y="146"/>
                    </a:lnTo>
                    <a:lnTo>
                      <a:pt x="867" y="146"/>
                    </a:lnTo>
                    <a:lnTo>
                      <a:pt x="864" y="146"/>
                    </a:lnTo>
                    <a:lnTo>
                      <a:pt x="863" y="143"/>
                    </a:lnTo>
                    <a:lnTo>
                      <a:pt x="860" y="141"/>
                    </a:lnTo>
                    <a:lnTo>
                      <a:pt x="856" y="138"/>
                    </a:lnTo>
                    <a:lnTo>
                      <a:pt x="853" y="131"/>
                    </a:lnTo>
                    <a:lnTo>
                      <a:pt x="851" y="131"/>
                    </a:lnTo>
                    <a:lnTo>
                      <a:pt x="851" y="130"/>
                    </a:lnTo>
                    <a:lnTo>
                      <a:pt x="849" y="128"/>
                    </a:lnTo>
                    <a:lnTo>
                      <a:pt x="847" y="124"/>
                    </a:lnTo>
                    <a:lnTo>
                      <a:pt x="848" y="122"/>
                    </a:lnTo>
                    <a:lnTo>
                      <a:pt x="852" y="123"/>
                    </a:lnTo>
                    <a:lnTo>
                      <a:pt x="853" y="123"/>
                    </a:lnTo>
                    <a:lnTo>
                      <a:pt x="862" y="119"/>
                    </a:lnTo>
                    <a:lnTo>
                      <a:pt x="870" y="115"/>
                    </a:lnTo>
                    <a:lnTo>
                      <a:pt x="871" y="113"/>
                    </a:lnTo>
                    <a:lnTo>
                      <a:pt x="872" y="112"/>
                    </a:lnTo>
                    <a:lnTo>
                      <a:pt x="872" y="108"/>
                    </a:lnTo>
                    <a:lnTo>
                      <a:pt x="872" y="108"/>
                    </a:lnTo>
                    <a:lnTo>
                      <a:pt x="872" y="107"/>
                    </a:lnTo>
                    <a:lnTo>
                      <a:pt x="872" y="107"/>
                    </a:lnTo>
                    <a:lnTo>
                      <a:pt x="872" y="105"/>
                    </a:lnTo>
                    <a:lnTo>
                      <a:pt x="868" y="100"/>
                    </a:lnTo>
                    <a:lnTo>
                      <a:pt x="866" y="99"/>
                    </a:lnTo>
                    <a:lnTo>
                      <a:pt x="863" y="92"/>
                    </a:lnTo>
                    <a:lnTo>
                      <a:pt x="862" y="90"/>
                    </a:lnTo>
                    <a:lnTo>
                      <a:pt x="860" y="88"/>
                    </a:lnTo>
                    <a:lnTo>
                      <a:pt x="857" y="85"/>
                    </a:lnTo>
                    <a:lnTo>
                      <a:pt x="851" y="81"/>
                    </a:lnTo>
                    <a:lnTo>
                      <a:pt x="848" y="78"/>
                    </a:lnTo>
                    <a:lnTo>
                      <a:pt x="848" y="78"/>
                    </a:lnTo>
                    <a:lnTo>
                      <a:pt x="844" y="76"/>
                    </a:lnTo>
                    <a:lnTo>
                      <a:pt x="843" y="74"/>
                    </a:lnTo>
                    <a:lnTo>
                      <a:pt x="837" y="69"/>
                    </a:lnTo>
                    <a:lnTo>
                      <a:pt x="834" y="67"/>
                    </a:lnTo>
                    <a:lnTo>
                      <a:pt x="829" y="66"/>
                    </a:lnTo>
                    <a:lnTo>
                      <a:pt x="818" y="63"/>
                    </a:lnTo>
                    <a:lnTo>
                      <a:pt x="818" y="63"/>
                    </a:lnTo>
                    <a:lnTo>
                      <a:pt x="815" y="65"/>
                    </a:lnTo>
                    <a:lnTo>
                      <a:pt x="814" y="63"/>
                    </a:lnTo>
                    <a:lnTo>
                      <a:pt x="814" y="63"/>
                    </a:lnTo>
                    <a:lnTo>
                      <a:pt x="811" y="62"/>
                    </a:lnTo>
                    <a:lnTo>
                      <a:pt x="809" y="63"/>
                    </a:lnTo>
                    <a:lnTo>
                      <a:pt x="810" y="66"/>
                    </a:lnTo>
                    <a:lnTo>
                      <a:pt x="813" y="66"/>
                    </a:lnTo>
                    <a:lnTo>
                      <a:pt x="814" y="69"/>
                    </a:lnTo>
                    <a:lnTo>
                      <a:pt x="815" y="69"/>
                    </a:lnTo>
                    <a:lnTo>
                      <a:pt x="821" y="67"/>
                    </a:lnTo>
                    <a:lnTo>
                      <a:pt x="822" y="67"/>
                    </a:lnTo>
                    <a:lnTo>
                      <a:pt x="824" y="69"/>
                    </a:lnTo>
                    <a:lnTo>
                      <a:pt x="822" y="70"/>
                    </a:lnTo>
                    <a:lnTo>
                      <a:pt x="822" y="69"/>
                    </a:lnTo>
                    <a:lnTo>
                      <a:pt x="822" y="69"/>
                    </a:lnTo>
                    <a:lnTo>
                      <a:pt x="819" y="70"/>
                    </a:lnTo>
                    <a:lnTo>
                      <a:pt x="818" y="70"/>
                    </a:lnTo>
                    <a:lnTo>
                      <a:pt x="818" y="71"/>
                    </a:lnTo>
                    <a:lnTo>
                      <a:pt x="821" y="71"/>
                    </a:lnTo>
                    <a:lnTo>
                      <a:pt x="818" y="74"/>
                    </a:lnTo>
                    <a:lnTo>
                      <a:pt x="815" y="73"/>
                    </a:lnTo>
                    <a:lnTo>
                      <a:pt x="815" y="71"/>
                    </a:lnTo>
                    <a:lnTo>
                      <a:pt x="814" y="69"/>
                    </a:lnTo>
                    <a:lnTo>
                      <a:pt x="811" y="70"/>
                    </a:lnTo>
                    <a:lnTo>
                      <a:pt x="811" y="70"/>
                    </a:lnTo>
                    <a:lnTo>
                      <a:pt x="817" y="76"/>
                    </a:lnTo>
                    <a:lnTo>
                      <a:pt x="824" y="80"/>
                    </a:lnTo>
                    <a:lnTo>
                      <a:pt x="824" y="81"/>
                    </a:lnTo>
                    <a:lnTo>
                      <a:pt x="824" y="81"/>
                    </a:lnTo>
                    <a:lnTo>
                      <a:pt x="821" y="80"/>
                    </a:lnTo>
                    <a:lnTo>
                      <a:pt x="821" y="80"/>
                    </a:lnTo>
                    <a:lnTo>
                      <a:pt x="811" y="73"/>
                    </a:lnTo>
                    <a:lnTo>
                      <a:pt x="811" y="73"/>
                    </a:lnTo>
                    <a:lnTo>
                      <a:pt x="809" y="71"/>
                    </a:lnTo>
                    <a:lnTo>
                      <a:pt x="809" y="71"/>
                    </a:lnTo>
                    <a:lnTo>
                      <a:pt x="800" y="66"/>
                    </a:lnTo>
                    <a:lnTo>
                      <a:pt x="800" y="66"/>
                    </a:lnTo>
                    <a:lnTo>
                      <a:pt x="798" y="61"/>
                    </a:lnTo>
                    <a:lnTo>
                      <a:pt x="791" y="58"/>
                    </a:lnTo>
                    <a:lnTo>
                      <a:pt x="791" y="58"/>
                    </a:lnTo>
                    <a:lnTo>
                      <a:pt x="781" y="47"/>
                    </a:lnTo>
                    <a:lnTo>
                      <a:pt x="771" y="36"/>
                    </a:lnTo>
                    <a:lnTo>
                      <a:pt x="771" y="36"/>
                    </a:lnTo>
                    <a:lnTo>
                      <a:pt x="758" y="29"/>
                    </a:lnTo>
                    <a:lnTo>
                      <a:pt x="758" y="29"/>
                    </a:lnTo>
                    <a:lnTo>
                      <a:pt x="756" y="27"/>
                    </a:lnTo>
                    <a:lnTo>
                      <a:pt x="753" y="25"/>
                    </a:lnTo>
                    <a:lnTo>
                      <a:pt x="748" y="21"/>
                    </a:lnTo>
                    <a:lnTo>
                      <a:pt x="742" y="20"/>
                    </a:lnTo>
                    <a:lnTo>
                      <a:pt x="742" y="17"/>
                    </a:lnTo>
                    <a:lnTo>
                      <a:pt x="742" y="17"/>
                    </a:lnTo>
                    <a:lnTo>
                      <a:pt x="737" y="14"/>
                    </a:lnTo>
                    <a:lnTo>
                      <a:pt x="733" y="9"/>
                    </a:lnTo>
                    <a:lnTo>
                      <a:pt x="733" y="9"/>
                    </a:lnTo>
                    <a:lnTo>
                      <a:pt x="733" y="5"/>
                    </a:lnTo>
                    <a:lnTo>
                      <a:pt x="731" y="0"/>
                    </a:lnTo>
                    <a:lnTo>
                      <a:pt x="730" y="0"/>
                    </a:lnTo>
                    <a:lnTo>
                      <a:pt x="730" y="0"/>
                    </a:lnTo>
                    <a:lnTo>
                      <a:pt x="705" y="5"/>
                    </a:lnTo>
                    <a:lnTo>
                      <a:pt x="693" y="9"/>
                    </a:lnTo>
                    <a:lnTo>
                      <a:pt x="681" y="14"/>
                    </a:lnTo>
                    <a:lnTo>
                      <a:pt x="681" y="14"/>
                    </a:lnTo>
                    <a:lnTo>
                      <a:pt x="672" y="19"/>
                    </a:lnTo>
                    <a:lnTo>
                      <a:pt x="667" y="21"/>
                    </a:lnTo>
                    <a:lnTo>
                      <a:pt x="662" y="25"/>
                    </a:lnTo>
                    <a:lnTo>
                      <a:pt x="662" y="25"/>
                    </a:lnTo>
                    <a:lnTo>
                      <a:pt x="658" y="27"/>
                    </a:lnTo>
                    <a:lnTo>
                      <a:pt x="658" y="27"/>
                    </a:lnTo>
                    <a:lnTo>
                      <a:pt x="651" y="28"/>
                    </a:lnTo>
                    <a:lnTo>
                      <a:pt x="644" y="31"/>
                    </a:lnTo>
                    <a:lnTo>
                      <a:pt x="625" y="39"/>
                    </a:lnTo>
                    <a:lnTo>
                      <a:pt x="625" y="39"/>
                    </a:lnTo>
                    <a:lnTo>
                      <a:pt x="621" y="39"/>
                    </a:lnTo>
                    <a:lnTo>
                      <a:pt x="619" y="39"/>
                    </a:lnTo>
                    <a:lnTo>
                      <a:pt x="612" y="38"/>
                    </a:lnTo>
                    <a:lnTo>
                      <a:pt x="612" y="38"/>
                    </a:lnTo>
                    <a:lnTo>
                      <a:pt x="604" y="38"/>
                    </a:lnTo>
                    <a:lnTo>
                      <a:pt x="604" y="38"/>
                    </a:lnTo>
                    <a:lnTo>
                      <a:pt x="596" y="38"/>
                    </a:lnTo>
                    <a:lnTo>
                      <a:pt x="587" y="36"/>
                    </a:lnTo>
                    <a:lnTo>
                      <a:pt x="587" y="36"/>
                    </a:lnTo>
                    <a:lnTo>
                      <a:pt x="582" y="35"/>
                    </a:lnTo>
                    <a:lnTo>
                      <a:pt x="578" y="33"/>
                    </a:lnTo>
                    <a:lnTo>
                      <a:pt x="579" y="31"/>
                    </a:lnTo>
                    <a:lnTo>
                      <a:pt x="579" y="29"/>
                    </a:lnTo>
                    <a:lnTo>
                      <a:pt x="579" y="29"/>
                    </a:lnTo>
                    <a:lnTo>
                      <a:pt x="574" y="25"/>
                    </a:lnTo>
                    <a:lnTo>
                      <a:pt x="574" y="25"/>
                    </a:lnTo>
                    <a:lnTo>
                      <a:pt x="568" y="23"/>
                    </a:lnTo>
                    <a:lnTo>
                      <a:pt x="564" y="21"/>
                    </a:lnTo>
                    <a:lnTo>
                      <a:pt x="563" y="20"/>
                    </a:lnTo>
                    <a:lnTo>
                      <a:pt x="563" y="17"/>
                    </a:lnTo>
                    <a:lnTo>
                      <a:pt x="560" y="17"/>
                    </a:lnTo>
                    <a:lnTo>
                      <a:pt x="560" y="17"/>
                    </a:lnTo>
                    <a:lnTo>
                      <a:pt x="556" y="19"/>
                    </a:lnTo>
                    <a:lnTo>
                      <a:pt x="552" y="20"/>
                    </a:lnTo>
                    <a:lnTo>
                      <a:pt x="544" y="19"/>
                    </a:lnTo>
                    <a:lnTo>
                      <a:pt x="543" y="17"/>
                    </a:lnTo>
                    <a:lnTo>
                      <a:pt x="544" y="14"/>
                    </a:lnTo>
                    <a:lnTo>
                      <a:pt x="541" y="14"/>
                    </a:lnTo>
                    <a:lnTo>
                      <a:pt x="541" y="10"/>
                    </a:lnTo>
                    <a:lnTo>
                      <a:pt x="539" y="10"/>
                    </a:lnTo>
                    <a:lnTo>
                      <a:pt x="533" y="9"/>
                    </a:lnTo>
                    <a:lnTo>
                      <a:pt x="532" y="9"/>
                    </a:lnTo>
                    <a:lnTo>
                      <a:pt x="528" y="9"/>
                    </a:lnTo>
                    <a:lnTo>
                      <a:pt x="525" y="9"/>
                    </a:lnTo>
                    <a:lnTo>
                      <a:pt x="524" y="10"/>
                    </a:lnTo>
                    <a:lnTo>
                      <a:pt x="525" y="14"/>
                    </a:lnTo>
                    <a:lnTo>
                      <a:pt x="525" y="14"/>
                    </a:lnTo>
                    <a:lnTo>
                      <a:pt x="532" y="19"/>
                    </a:lnTo>
                    <a:lnTo>
                      <a:pt x="536" y="21"/>
                    </a:lnTo>
                    <a:lnTo>
                      <a:pt x="537" y="27"/>
                    </a:lnTo>
                    <a:lnTo>
                      <a:pt x="539" y="35"/>
                    </a:lnTo>
                    <a:lnTo>
                      <a:pt x="539" y="35"/>
                    </a:lnTo>
                    <a:lnTo>
                      <a:pt x="541" y="38"/>
                    </a:lnTo>
                    <a:lnTo>
                      <a:pt x="544" y="40"/>
                    </a:lnTo>
                    <a:lnTo>
                      <a:pt x="544" y="40"/>
                    </a:lnTo>
                    <a:lnTo>
                      <a:pt x="547" y="44"/>
                    </a:lnTo>
                    <a:lnTo>
                      <a:pt x="554" y="48"/>
                    </a:lnTo>
                    <a:lnTo>
                      <a:pt x="552" y="55"/>
                    </a:lnTo>
                    <a:lnTo>
                      <a:pt x="552" y="55"/>
                    </a:lnTo>
                    <a:lnTo>
                      <a:pt x="548" y="59"/>
                    </a:lnTo>
                    <a:lnTo>
                      <a:pt x="547" y="62"/>
                    </a:lnTo>
                    <a:lnTo>
                      <a:pt x="545" y="65"/>
                    </a:lnTo>
                    <a:lnTo>
                      <a:pt x="545" y="65"/>
                    </a:lnTo>
                    <a:lnTo>
                      <a:pt x="549" y="70"/>
                    </a:lnTo>
                    <a:lnTo>
                      <a:pt x="549" y="74"/>
                    </a:lnTo>
                    <a:lnTo>
                      <a:pt x="548" y="76"/>
                    </a:lnTo>
                    <a:lnTo>
                      <a:pt x="548" y="69"/>
                    </a:lnTo>
                    <a:lnTo>
                      <a:pt x="543" y="65"/>
                    </a:lnTo>
                    <a:lnTo>
                      <a:pt x="543" y="62"/>
                    </a:lnTo>
                    <a:lnTo>
                      <a:pt x="549" y="57"/>
                    </a:lnTo>
                    <a:lnTo>
                      <a:pt x="547" y="50"/>
                    </a:lnTo>
                    <a:lnTo>
                      <a:pt x="547" y="50"/>
                    </a:lnTo>
                    <a:lnTo>
                      <a:pt x="544" y="47"/>
                    </a:lnTo>
                    <a:lnTo>
                      <a:pt x="543" y="43"/>
                    </a:lnTo>
                    <a:lnTo>
                      <a:pt x="537" y="40"/>
                    </a:lnTo>
                    <a:lnTo>
                      <a:pt x="539" y="38"/>
                    </a:lnTo>
                    <a:lnTo>
                      <a:pt x="537" y="36"/>
                    </a:lnTo>
                    <a:lnTo>
                      <a:pt x="535" y="36"/>
                    </a:lnTo>
                    <a:lnTo>
                      <a:pt x="535" y="36"/>
                    </a:lnTo>
                    <a:lnTo>
                      <a:pt x="530" y="39"/>
                    </a:lnTo>
                    <a:lnTo>
                      <a:pt x="529" y="40"/>
                    </a:lnTo>
                    <a:lnTo>
                      <a:pt x="522" y="40"/>
                    </a:lnTo>
                    <a:lnTo>
                      <a:pt x="522" y="40"/>
                    </a:lnTo>
                    <a:lnTo>
                      <a:pt x="514" y="47"/>
                    </a:lnTo>
                    <a:lnTo>
                      <a:pt x="509" y="51"/>
                    </a:lnTo>
                    <a:lnTo>
                      <a:pt x="505" y="52"/>
                    </a:lnTo>
                    <a:lnTo>
                      <a:pt x="505" y="52"/>
                    </a:lnTo>
                    <a:lnTo>
                      <a:pt x="501" y="54"/>
                    </a:lnTo>
                    <a:lnTo>
                      <a:pt x="495" y="55"/>
                    </a:lnTo>
                    <a:lnTo>
                      <a:pt x="495" y="55"/>
                    </a:lnTo>
                    <a:lnTo>
                      <a:pt x="487" y="59"/>
                    </a:lnTo>
                    <a:lnTo>
                      <a:pt x="479" y="63"/>
                    </a:lnTo>
                    <a:lnTo>
                      <a:pt x="479" y="65"/>
                    </a:lnTo>
                    <a:lnTo>
                      <a:pt x="476" y="66"/>
                    </a:lnTo>
                    <a:lnTo>
                      <a:pt x="476" y="69"/>
                    </a:lnTo>
                    <a:lnTo>
                      <a:pt x="469" y="70"/>
                    </a:lnTo>
                    <a:lnTo>
                      <a:pt x="469" y="70"/>
                    </a:lnTo>
                    <a:lnTo>
                      <a:pt x="468" y="71"/>
                    </a:lnTo>
                    <a:lnTo>
                      <a:pt x="465" y="73"/>
                    </a:lnTo>
                    <a:lnTo>
                      <a:pt x="460" y="74"/>
                    </a:lnTo>
                    <a:lnTo>
                      <a:pt x="454" y="76"/>
                    </a:lnTo>
                    <a:lnTo>
                      <a:pt x="452" y="77"/>
                    </a:lnTo>
                    <a:lnTo>
                      <a:pt x="449" y="78"/>
                    </a:lnTo>
                    <a:lnTo>
                      <a:pt x="448" y="77"/>
                    </a:lnTo>
                    <a:lnTo>
                      <a:pt x="446" y="74"/>
                    </a:lnTo>
                    <a:lnTo>
                      <a:pt x="446" y="74"/>
                    </a:lnTo>
                    <a:lnTo>
                      <a:pt x="445" y="73"/>
                    </a:lnTo>
                    <a:lnTo>
                      <a:pt x="441" y="74"/>
                    </a:lnTo>
                    <a:lnTo>
                      <a:pt x="438" y="74"/>
                    </a:lnTo>
                    <a:lnTo>
                      <a:pt x="437" y="76"/>
                    </a:lnTo>
                    <a:lnTo>
                      <a:pt x="434" y="73"/>
                    </a:lnTo>
                    <a:lnTo>
                      <a:pt x="434" y="73"/>
                    </a:lnTo>
                    <a:lnTo>
                      <a:pt x="431" y="74"/>
                    </a:lnTo>
                    <a:lnTo>
                      <a:pt x="430" y="77"/>
                    </a:lnTo>
                    <a:lnTo>
                      <a:pt x="427" y="77"/>
                    </a:lnTo>
                    <a:lnTo>
                      <a:pt x="427" y="77"/>
                    </a:lnTo>
                    <a:lnTo>
                      <a:pt x="421" y="84"/>
                    </a:lnTo>
                    <a:lnTo>
                      <a:pt x="421" y="84"/>
                    </a:lnTo>
                    <a:lnTo>
                      <a:pt x="411" y="86"/>
                    </a:lnTo>
                    <a:lnTo>
                      <a:pt x="407" y="89"/>
                    </a:lnTo>
                    <a:lnTo>
                      <a:pt x="403" y="93"/>
                    </a:lnTo>
                    <a:lnTo>
                      <a:pt x="403" y="93"/>
                    </a:lnTo>
                    <a:lnTo>
                      <a:pt x="403" y="100"/>
                    </a:lnTo>
                    <a:lnTo>
                      <a:pt x="402" y="107"/>
                    </a:lnTo>
                    <a:lnTo>
                      <a:pt x="402" y="107"/>
                    </a:lnTo>
                    <a:lnTo>
                      <a:pt x="395" y="112"/>
                    </a:lnTo>
                    <a:lnTo>
                      <a:pt x="389" y="116"/>
                    </a:lnTo>
                    <a:lnTo>
                      <a:pt x="384" y="122"/>
                    </a:lnTo>
                    <a:lnTo>
                      <a:pt x="380" y="128"/>
                    </a:lnTo>
                    <a:lnTo>
                      <a:pt x="379" y="130"/>
                    </a:lnTo>
                    <a:lnTo>
                      <a:pt x="377" y="132"/>
                    </a:lnTo>
                    <a:lnTo>
                      <a:pt x="377" y="132"/>
                    </a:lnTo>
                    <a:lnTo>
                      <a:pt x="370" y="137"/>
                    </a:lnTo>
                    <a:lnTo>
                      <a:pt x="365" y="142"/>
                    </a:lnTo>
                    <a:lnTo>
                      <a:pt x="365" y="142"/>
                    </a:lnTo>
                    <a:lnTo>
                      <a:pt x="366" y="149"/>
                    </a:lnTo>
                    <a:lnTo>
                      <a:pt x="365" y="157"/>
                    </a:lnTo>
                    <a:lnTo>
                      <a:pt x="364" y="158"/>
                    </a:lnTo>
                    <a:lnTo>
                      <a:pt x="362" y="157"/>
                    </a:lnTo>
                    <a:lnTo>
                      <a:pt x="360" y="150"/>
                    </a:lnTo>
                    <a:lnTo>
                      <a:pt x="358" y="149"/>
                    </a:lnTo>
                    <a:lnTo>
                      <a:pt x="358" y="149"/>
                    </a:lnTo>
                    <a:lnTo>
                      <a:pt x="360" y="147"/>
                    </a:lnTo>
                    <a:lnTo>
                      <a:pt x="362" y="145"/>
                    </a:lnTo>
                    <a:lnTo>
                      <a:pt x="362" y="145"/>
                    </a:lnTo>
                    <a:lnTo>
                      <a:pt x="361" y="145"/>
                    </a:lnTo>
                    <a:lnTo>
                      <a:pt x="358" y="143"/>
                    </a:lnTo>
                    <a:lnTo>
                      <a:pt x="355" y="145"/>
                    </a:lnTo>
                    <a:lnTo>
                      <a:pt x="355" y="145"/>
                    </a:lnTo>
                    <a:lnTo>
                      <a:pt x="354" y="147"/>
                    </a:lnTo>
                    <a:lnTo>
                      <a:pt x="353" y="150"/>
                    </a:lnTo>
                    <a:lnTo>
                      <a:pt x="353" y="156"/>
                    </a:lnTo>
                    <a:lnTo>
                      <a:pt x="357" y="168"/>
                    </a:lnTo>
                    <a:lnTo>
                      <a:pt x="357" y="168"/>
                    </a:lnTo>
                    <a:lnTo>
                      <a:pt x="357" y="177"/>
                    </a:lnTo>
                    <a:lnTo>
                      <a:pt x="355" y="187"/>
                    </a:lnTo>
                    <a:lnTo>
                      <a:pt x="355" y="187"/>
                    </a:lnTo>
                    <a:lnTo>
                      <a:pt x="355" y="191"/>
                    </a:lnTo>
                    <a:lnTo>
                      <a:pt x="353" y="192"/>
                    </a:lnTo>
                    <a:lnTo>
                      <a:pt x="353" y="192"/>
                    </a:lnTo>
                    <a:lnTo>
                      <a:pt x="351" y="196"/>
                    </a:lnTo>
                    <a:lnTo>
                      <a:pt x="350" y="199"/>
                    </a:lnTo>
                    <a:lnTo>
                      <a:pt x="347" y="202"/>
                    </a:lnTo>
                    <a:lnTo>
                      <a:pt x="347" y="203"/>
                    </a:lnTo>
                    <a:lnTo>
                      <a:pt x="345" y="203"/>
                    </a:lnTo>
                    <a:lnTo>
                      <a:pt x="345" y="203"/>
                    </a:lnTo>
                    <a:lnTo>
                      <a:pt x="342" y="208"/>
                    </a:lnTo>
                    <a:lnTo>
                      <a:pt x="339" y="210"/>
                    </a:lnTo>
                    <a:lnTo>
                      <a:pt x="336" y="211"/>
                    </a:lnTo>
                    <a:lnTo>
                      <a:pt x="336" y="213"/>
                    </a:lnTo>
                    <a:lnTo>
                      <a:pt x="331" y="221"/>
                    </a:lnTo>
                    <a:lnTo>
                      <a:pt x="330" y="222"/>
                    </a:lnTo>
                    <a:lnTo>
                      <a:pt x="324" y="221"/>
                    </a:lnTo>
                    <a:lnTo>
                      <a:pt x="320" y="222"/>
                    </a:lnTo>
                    <a:lnTo>
                      <a:pt x="319" y="226"/>
                    </a:lnTo>
                    <a:lnTo>
                      <a:pt x="313" y="230"/>
                    </a:lnTo>
                    <a:lnTo>
                      <a:pt x="313" y="230"/>
                    </a:lnTo>
                    <a:lnTo>
                      <a:pt x="312" y="236"/>
                    </a:lnTo>
                    <a:lnTo>
                      <a:pt x="308" y="241"/>
                    </a:lnTo>
                    <a:lnTo>
                      <a:pt x="305" y="241"/>
                    </a:lnTo>
                    <a:lnTo>
                      <a:pt x="305" y="241"/>
                    </a:lnTo>
                    <a:lnTo>
                      <a:pt x="303" y="244"/>
                    </a:lnTo>
                    <a:lnTo>
                      <a:pt x="300" y="249"/>
                    </a:lnTo>
                    <a:lnTo>
                      <a:pt x="294" y="255"/>
                    </a:lnTo>
                    <a:lnTo>
                      <a:pt x="290" y="256"/>
                    </a:lnTo>
                    <a:lnTo>
                      <a:pt x="286" y="259"/>
                    </a:lnTo>
                    <a:lnTo>
                      <a:pt x="285" y="257"/>
                    </a:lnTo>
                    <a:lnTo>
                      <a:pt x="285" y="256"/>
                    </a:lnTo>
                    <a:lnTo>
                      <a:pt x="282" y="259"/>
                    </a:lnTo>
                    <a:lnTo>
                      <a:pt x="282" y="259"/>
                    </a:lnTo>
                    <a:lnTo>
                      <a:pt x="278" y="259"/>
                    </a:lnTo>
                    <a:lnTo>
                      <a:pt x="275" y="257"/>
                    </a:lnTo>
                    <a:lnTo>
                      <a:pt x="274" y="256"/>
                    </a:lnTo>
                    <a:lnTo>
                      <a:pt x="275" y="252"/>
                    </a:lnTo>
                    <a:lnTo>
                      <a:pt x="274" y="252"/>
                    </a:lnTo>
                    <a:lnTo>
                      <a:pt x="273" y="257"/>
                    </a:lnTo>
                    <a:lnTo>
                      <a:pt x="270" y="259"/>
                    </a:lnTo>
                    <a:lnTo>
                      <a:pt x="270" y="259"/>
                    </a:lnTo>
                    <a:lnTo>
                      <a:pt x="267" y="263"/>
                    </a:lnTo>
                    <a:lnTo>
                      <a:pt x="263" y="265"/>
                    </a:lnTo>
                    <a:lnTo>
                      <a:pt x="260" y="265"/>
                    </a:lnTo>
                    <a:lnTo>
                      <a:pt x="260" y="265"/>
                    </a:lnTo>
                    <a:lnTo>
                      <a:pt x="258" y="267"/>
                    </a:lnTo>
                    <a:lnTo>
                      <a:pt x="255" y="268"/>
                    </a:lnTo>
                    <a:lnTo>
                      <a:pt x="254" y="271"/>
                    </a:lnTo>
                    <a:lnTo>
                      <a:pt x="254" y="274"/>
                    </a:lnTo>
                    <a:lnTo>
                      <a:pt x="248" y="279"/>
                    </a:lnTo>
                    <a:lnTo>
                      <a:pt x="244" y="278"/>
                    </a:lnTo>
                    <a:lnTo>
                      <a:pt x="244" y="278"/>
                    </a:lnTo>
                    <a:lnTo>
                      <a:pt x="241" y="283"/>
                    </a:lnTo>
                    <a:lnTo>
                      <a:pt x="237" y="288"/>
                    </a:lnTo>
                    <a:lnTo>
                      <a:pt x="239" y="290"/>
                    </a:lnTo>
                    <a:lnTo>
                      <a:pt x="237" y="295"/>
                    </a:lnTo>
                    <a:lnTo>
                      <a:pt x="235" y="297"/>
                    </a:lnTo>
                    <a:lnTo>
                      <a:pt x="229" y="297"/>
                    </a:lnTo>
                    <a:lnTo>
                      <a:pt x="229" y="297"/>
                    </a:lnTo>
                    <a:lnTo>
                      <a:pt x="229" y="302"/>
                    </a:lnTo>
                    <a:lnTo>
                      <a:pt x="228" y="306"/>
                    </a:lnTo>
                    <a:lnTo>
                      <a:pt x="228" y="306"/>
                    </a:lnTo>
                    <a:lnTo>
                      <a:pt x="222" y="307"/>
                    </a:lnTo>
                    <a:lnTo>
                      <a:pt x="217" y="309"/>
                    </a:lnTo>
                    <a:lnTo>
                      <a:pt x="217" y="309"/>
                    </a:lnTo>
                    <a:lnTo>
                      <a:pt x="217" y="312"/>
                    </a:lnTo>
                    <a:lnTo>
                      <a:pt x="217" y="314"/>
                    </a:lnTo>
                    <a:lnTo>
                      <a:pt x="217" y="318"/>
                    </a:lnTo>
                    <a:lnTo>
                      <a:pt x="217" y="321"/>
                    </a:lnTo>
                    <a:lnTo>
                      <a:pt x="213" y="324"/>
                    </a:lnTo>
                    <a:lnTo>
                      <a:pt x="213" y="324"/>
                    </a:lnTo>
                    <a:lnTo>
                      <a:pt x="212" y="328"/>
                    </a:lnTo>
                    <a:lnTo>
                      <a:pt x="208" y="332"/>
                    </a:lnTo>
                    <a:lnTo>
                      <a:pt x="208" y="332"/>
                    </a:lnTo>
                    <a:lnTo>
                      <a:pt x="208" y="336"/>
                    </a:lnTo>
                    <a:lnTo>
                      <a:pt x="206" y="340"/>
                    </a:lnTo>
                    <a:lnTo>
                      <a:pt x="203" y="344"/>
                    </a:lnTo>
                    <a:lnTo>
                      <a:pt x="201" y="347"/>
                    </a:lnTo>
                    <a:lnTo>
                      <a:pt x="203" y="348"/>
                    </a:lnTo>
                    <a:lnTo>
                      <a:pt x="203" y="350"/>
                    </a:lnTo>
                    <a:lnTo>
                      <a:pt x="205" y="351"/>
                    </a:lnTo>
                    <a:lnTo>
                      <a:pt x="206" y="350"/>
                    </a:lnTo>
                    <a:lnTo>
                      <a:pt x="210" y="354"/>
                    </a:lnTo>
                    <a:lnTo>
                      <a:pt x="212" y="352"/>
                    </a:lnTo>
                    <a:lnTo>
                      <a:pt x="213" y="354"/>
                    </a:lnTo>
                    <a:lnTo>
                      <a:pt x="214" y="354"/>
                    </a:lnTo>
                    <a:lnTo>
                      <a:pt x="218" y="341"/>
                    </a:lnTo>
                    <a:lnTo>
                      <a:pt x="218" y="341"/>
                    </a:lnTo>
                    <a:lnTo>
                      <a:pt x="222" y="341"/>
                    </a:lnTo>
                    <a:lnTo>
                      <a:pt x="227" y="343"/>
                    </a:lnTo>
                    <a:lnTo>
                      <a:pt x="231" y="347"/>
                    </a:lnTo>
                    <a:lnTo>
                      <a:pt x="233" y="341"/>
                    </a:lnTo>
                    <a:lnTo>
                      <a:pt x="233" y="341"/>
                    </a:lnTo>
                    <a:lnTo>
                      <a:pt x="237" y="341"/>
                    </a:lnTo>
                    <a:lnTo>
                      <a:pt x="240" y="339"/>
                    </a:lnTo>
                    <a:lnTo>
                      <a:pt x="243" y="340"/>
                    </a:lnTo>
                    <a:lnTo>
                      <a:pt x="244" y="343"/>
                    </a:lnTo>
                    <a:lnTo>
                      <a:pt x="244" y="343"/>
                    </a:lnTo>
                    <a:lnTo>
                      <a:pt x="246" y="343"/>
                    </a:lnTo>
                    <a:lnTo>
                      <a:pt x="248" y="341"/>
                    </a:lnTo>
                    <a:lnTo>
                      <a:pt x="252" y="337"/>
                    </a:lnTo>
                    <a:lnTo>
                      <a:pt x="258" y="328"/>
                    </a:lnTo>
                    <a:lnTo>
                      <a:pt x="258" y="328"/>
                    </a:lnTo>
                    <a:lnTo>
                      <a:pt x="263" y="328"/>
                    </a:lnTo>
                    <a:lnTo>
                      <a:pt x="267" y="329"/>
                    </a:lnTo>
                    <a:lnTo>
                      <a:pt x="275" y="335"/>
                    </a:lnTo>
                    <a:lnTo>
                      <a:pt x="275" y="335"/>
                    </a:lnTo>
                    <a:lnTo>
                      <a:pt x="281" y="339"/>
                    </a:lnTo>
                    <a:lnTo>
                      <a:pt x="284" y="341"/>
                    </a:lnTo>
                    <a:lnTo>
                      <a:pt x="285" y="344"/>
                    </a:lnTo>
                    <a:lnTo>
                      <a:pt x="285" y="344"/>
                    </a:lnTo>
                    <a:lnTo>
                      <a:pt x="284" y="348"/>
                    </a:lnTo>
                    <a:lnTo>
                      <a:pt x="284" y="352"/>
                    </a:lnTo>
                    <a:lnTo>
                      <a:pt x="288" y="356"/>
                    </a:lnTo>
                    <a:lnTo>
                      <a:pt x="292" y="354"/>
                    </a:lnTo>
                    <a:lnTo>
                      <a:pt x="292" y="350"/>
                    </a:lnTo>
                    <a:lnTo>
                      <a:pt x="293" y="348"/>
                    </a:lnTo>
                    <a:lnTo>
                      <a:pt x="297" y="345"/>
                    </a:lnTo>
                    <a:lnTo>
                      <a:pt x="301" y="348"/>
                    </a:lnTo>
                    <a:lnTo>
                      <a:pt x="304" y="344"/>
                    </a:lnTo>
                    <a:lnTo>
                      <a:pt x="304" y="339"/>
                    </a:lnTo>
                    <a:lnTo>
                      <a:pt x="303" y="336"/>
                    </a:lnTo>
                    <a:lnTo>
                      <a:pt x="300" y="337"/>
                    </a:lnTo>
                    <a:lnTo>
                      <a:pt x="300" y="337"/>
                    </a:lnTo>
                    <a:lnTo>
                      <a:pt x="298" y="336"/>
                    </a:lnTo>
                    <a:lnTo>
                      <a:pt x="297" y="333"/>
                    </a:lnTo>
                    <a:lnTo>
                      <a:pt x="298" y="328"/>
                    </a:lnTo>
                    <a:lnTo>
                      <a:pt x="297" y="326"/>
                    </a:lnTo>
                    <a:lnTo>
                      <a:pt x="296" y="326"/>
                    </a:lnTo>
                    <a:lnTo>
                      <a:pt x="303" y="316"/>
                    </a:lnTo>
                    <a:lnTo>
                      <a:pt x="308" y="314"/>
                    </a:lnTo>
                    <a:lnTo>
                      <a:pt x="309" y="313"/>
                    </a:lnTo>
                    <a:lnTo>
                      <a:pt x="308" y="312"/>
                    </a:lnTo>
                    <a:lnTo>
                      <a:pt x="305" y="310"/>
                    </a:lnTo>
                    <a:lnTo>
                      <a:pt x="305" y="309"/>
                    </a:lnTo>
                    <a:lnTo>
                      <a:pt x="305" y="309"/>
                    </a:lnTo>
                    <a:lnTo>
                      <a:pt x="308" y="306"/>
                    </a:lnTo>
                    <a:lnTo>
                      <a:pt x="311" y="305"/>
                    </a:lnTo>
                    <a:lnTo>
                      <a:pt x="311" y="301"/>
                    </a:lnTo>
                    <a:lnTo>
                      <a:pt x="319" y="297"/>
                    </a:lnTo>
                    <a:lnTo>
                      <a:pt x="322" y="297"/>
                    </a:lnTo>
                    <a:lnTo>
                      <a:pt x="322" y="297"/>
                    </a:lnTo>
                    <a:lnTo>
                      <a:pt x="323" y="295"/>
                    </a:lnTo>
                    <a:lnTo>
                      <a:pt x="327" y="294"/>
                    </a:lnTo>
                    <a:lnTo>
                      <a:pt x="334" y="294"/>
                    </a:lnTo>
                    <a:lnTo>
                      <a:pt x="336" y="293"/>
                    </a:lnTo>
                    <a:lnTo>
                      <a:pt x="328" y="291"/>
                    </a:lnTo>
                    <a:lnTo>
                      <a:pt x="332" y="288"/>
                    </a:lnTo>
                    <a:lnTo>
                      <a:pt x="334" y="288"/>
                    </a:lnTo>
                    <a:lnTo>
                      <a:pt x="334" y="288"/>
                    </a:lnTo>
                    <a:lnTo>
                      <a:pt x="339" y="284"/>
                    </a:lnTo>
                    <a:lnTo>
                      <a:pt x="339" y="284"/>
                    </a:lnTo>
                    <a:lnTo>
                      <a:pt x="350" y="284"/>
                    </a:lnTo>
                    <a:lnTo>
                      <a:pt x="362" y="286"/>
                    </a:lnTo>
                    <a:lnTo>
                      <a:pt x="362" y="286"/>
                    </a:lnTo>
                    <a:lnTo>
                      <a:pt x="362" y="282"/>
                    </a:lnTo>
                    <a:lnTo>
                      <a:pt x="362" y="278"/>
                    </a:lnTo>
                    <a:lnTo>
                      <a:pt x="362" y="278"/>
                    </a:lnTo>
                    <a:lnTo>
                      <a:pt x="366" y="276"/>
                    </a:lnTo>
                    <a:lnTo>
                      <a:pt x="373" y="275"/>
                    </a:lnTo>
                    <a:lnTo>
                      <a:pt x="384" y="275"/>
                    </a:lnTo>
                    <a:lnTo>
                      <a:pt x="384" y="275"/>
                    </a:lnTo>
                    <a:lnTo>
                      <a:pt x="388" y="274"/>
                    </a:lnTo>
                    <a:lnTo>
                      <a:pt x="391" y="272"/>
                    </a:lnTo>
                    <a:lnTo>
                      <a:pt x="395" y="272"/>
                    </a:lnTo>
                    <a:lnTo>
                      <a:pt x="398" y="269"/>
                    </a:lnTo>
                    <a:lnTo>
                      <a:pt x="398" y="269"/>
                    </a:lnTo>
                    <a:lnTo>
                      <a:pt x="403" y="271"/>
                    </a:lnTo>
                    <a:lnTo>
                      <a:pt x="404" y="272"/>
                    </a:lnTo>
                    <a:lnTo>
                      <a:pt x="407" y="274"/>
                    </a:lnTo>
                    <a:lnTo>
                      <a:pt x="407" y="274"/>
                    </a:lnTo>
                    <a:lnTo>
                      <a:pt x="408" y="274"/>
                    </a:lnTo>
                    <a:lnTo>
                      <a:pt x="411" y="274"/>
                    </a:lnTo>
                    <a:lnTo>
                      <a:pt x="416" y="276"/>
                    </a:lnTo>
                    <a:lnTo>
                      <a:pt x="421" y="279"/>
                    </a:lnTo>
                    <a:lnTo>
                      <a:pt x="423" y="279"/>
                    </a:lnTo>
                    <a:lnTo>
                      <a:pt x="425" y="278"/>
                    </a:lnTo>
                    <a:lnTo>
                      <a:pt x="426" y="275"/>
                    </a:lnTo>
                    <a:lnTo>
                      <a:pt x="429" y="275"/>
                    </a:lnTo>
                    <a:lnTo>
                      <a:pt x="429" y="275"/>
                    </a:lnTo>
                    <a:lnTo>
                      <a:pt x="431" y="272"/>
                    </a:lnTo>
                    <a:lnTo>
                      <a:pt x="433" y="269"/>
                    </a:lnTo>
                    <a:lnTo>
                      <a:pt x="434" y="264"/>
                    </a:lnTo>
                    <a:lnTo>
                      <a:pt x="438" y="267"/>
                    </a:lnTo>
                    <a:lnTo>
                      <a:pt x="441" y="265"/>
                    </a:lnTo>
                    <a:lnTo>
                      <a:pt x="442" y="268"/>
                    </a:lnTo>
                    <a:lnTo>
                      <a:pt x="441" y="274"/>
                    </a:lnTo>
                    <a:lnTo>
                      <a:pt x="442" y="275"/>
                    </a:lnTo>
                    <a:lnTo>
                      <a:pt x="442" y="275"/>
                    </a:lnTo>
                    <a:lnTo>
                      <a:pt x="448" y="271"/>
                    </a:lnTo>
                    <a:lnTo>
                      <a:pt x="453" y="268"/>
                    </a:lnTo>
                    <a:lnTo>
                      <a:pt x="456" y="269"/>
                    </a:lnTo>
                    <a:lnTo>
                      <a:pt x="459" y="267"/>
                    </a:lnTo>
                    <a:lnTo>
                      <a:pt x="460" y="267"/>
                    </a:lnTo>
                    <a:lnTo>
                      <a:pt x="460" y="267"/>
                    </a:lnTo>
                    <a:lnTo>
                      <a:pt x="456" y="271"/>
                    </a:lnTo>
                    <a:lnTo>
                      <a:pt x="452" y="274"/>
                    </a:lnTo>
                    <a:lnTo>
                      <a:pt x="450" y="274"/>
                    </a:lnTo>
                    <a:lnTo>
                      <a:pt x="450" y="275"/>
                    </a:lnTo>
                    <a:lnTo>
                      <a:pt x="450" y="275"/>
                    </a:lnTo>
                    <a:lnTo>
                      <a:pt x="450" y="278"/>
                    </a:lnTo>
                    <a:lnTo>
                      <a:pt x="450" y="280"/>
                    </a:lnTo>
                    <a:lnTo>
                      <a:pt x="450" y="280"/>
                    </a:lnTo>
                    <a:lnTo>
                      <a:pt x="441" y="284"/>
                    </a:lnTo>
                    <a:lnTo>
                      <a:pt x="435" y="284"/>
                    </a:lnTo>
                    <a:lnTo>
                      <a:pt x="430" y="284"/>
                    </a:lnTo>
                    <a:lnTo>
                      <a:pt x="430" y="282"/>
                    </a:lnTo>
                    <a:lnTo>
                      <a:pt x="427" y="282"/>
                    </a:lnTo>
                    <a:lnTo>
                      <a:pt x="426" y="283"/>
                    </a:lnTo>
                    <a:lnTo>
                      <a:pt x="426" y="283"/>
                    </a:lnTo>
                    <a:lnTo>
                      <a:pt x="427" y="291"/>
                    </a:lnTo>
                    <a:lnTo>
                      <a:pt x="431" y="298"/>
                    </a:lnTo>
                    <a:lnTo>
                      <a:pt x="434" y="305"/>
                    </a:lnTo>
                    <a:lnTo>
                      <a:pt x="437" y="313"/>
                    </a:lnTo>
                    <a:lnTo>
                      <a:pt x="437" y="313"/>
                    </a:lnTo>
                    <a:lnTo>
                      <a:pt x="435" y="318"/>
                    </a:lnTo>
                    <a:lnTo>
                      <a:pt x="434" y="325"/>
                    </a:lnTo>
                    <a:lnTo>
                      <a:pt x="438" y="324"/>
                    </a:lnTo>
                    <a:lnTo>
                      <a:pt x="430" y="335"/>
                    </a:lnTo>
                    <a:lnTo>
                      <a:pt x="430" y="335"/>
                    </a:lnTo>
                    <a:lnTo>
                      <a:pt x="431" y="329"/>
                    </a:lnTo>
                    <a:lnTo>
                      <a:pt x="426" y="333"/>
                    </a:lnTo>
                    <a:lnTo>
                      <a:pt x="426" y="337"/>
                    </a:lnTo>
                    <a:lnTo>
                      <a:pt x="426" y="337"/>
                    </a:lnTo>
                    <a:lnTo>
                      <a:pt x="430" y="347"/>
                    </a:lnTo>
                    <a:lnTo>
                      <a:pt x="438" y="356"/>
                    </a:lnTo>
                    <a:lnTo>
                      <a:pt x="445" y="366"/>
                    </a:lnTo>
                    <a:lnTo>
                      <a:pt x="450" y="374"/>
                    </a:lnTo>
                    <a:lnTo>
                      <a:pt x="450" y="374"/>
                    </a:lnTo>
                    <a:lnTo>
                      <a:pt x="453" y="381"/>
                    </a:lnTo>
                    <a:lnTo>
                      <a:pt x="457" y="388"/>
                    </a:lnTo>
                    <a:lnTo>
                      <a:pt x="461" y="393"/>
                    </a:lnTo>
                    <a:lnTo>
                      <a:pt x="461" y="393"/>
                    </a:lnTo>
                    <a:lnTo>
                      <a:pt x="465" y="392"/>
                    </a:lnTo>
                    <a:lnTo>
                      <a:pt x="469" y="389"/>
                    </a:lnTo>
                    <a:lnTo>
                      <a:pt x="472" y="383"/>
                    </a:lnTo>
                    <a:lnTo>
                      <a:pt x="473" y="383"/>
                    </a:lnTo>
                    <a:lnTo>
                      <a:pt x="476" y="383"/>
                    </a:lnTo>
                    <a:lnTo>
                      <a:pt x="476" y="383"/>
                    </a:lnTo>
                    <a:lnTo>
                      <a:pt x="480" y="382"/>
                    </a:lnTo>
                    <a:lnTo>
                      <a:pt x="484" y="381"/>
                    </a:lnTo>
                    <a:lnTo>
                      <a:pt x="484" y="381"/>
                    </a:lnTo>
                    <a:lnTo>
                      <a:pt x="491" y="377"/>
                    </a:lnTo>
                    <a:lnTo>
                      <a:pt x="494" y="374"/>
                    </a:lnTo>
                    <a:lnTo>
                      <a:pt x="498" y="373"/>
                    </a:lnTo>
                    <a:lnTo>
                      <a:pt x="502" y="374"/>
                    </a:lnTo>
                    <a:lnTo>
                      <a:pt x="505" y="373"/>
                    </a:lnTo>
                    <a:lnTo>
                      <a:pt x="505" y="374"/>
                    </a:lnTo>
                    <a:lnTo>
                      <a:pt x="502" y="375"/>
                    </a:lnTo>
                    <a:lnTo>
                      <a:pt x="498" y="374"/>
                    </a:lnTo>
                    <a:lnTo>
                      <a:pt x="498" y="374"/>
                    </a:lnTo>
                    <a:lnTo>
                      <a:pt x="492" y="378"/>
                    </a:lnTo>
                    <a:lnTo>
                      <a:pt x="487" y="382"/>
                    </a:lnTo>
                    <a:lnTo>
                      <a:pt x="487" y="382"/>
                    </a:lnTo>
                    <a:lnTo>
                      <a:pt x="486" y="382"/>
                    </a:lnTo>
                    <a:lnTo>
                      <a:pt x="486" y="382"/>
                    </a:lnTo>
                    <a:lnTo>
                      <a:pt x="480" y="389"/>
                    </a:lnTo>
                    <a:lnTo>
                      <a:pt x="478" y="393"/>
                    </a:lnTo>
                    <a:lnTo>
                      <a:pt x="476" y="396"/>
                    </a:lnTo>
                    <a:lnTo>
                      <a:pt x="475" y="396"/>
                    </a:lnTo>
                    <a:lnTo>
                      <a:pt x="475" y="393"/>
                    </a:lnTo>
                    <a:lnTo>
                      <a:pt x="473" y="393"/>
                    </a:lnTo>
                    <a:lnTo>
                      <a:pt x="471" y="396"/>
                    </a:lnTo>
                    <a:lnTo>
                      <a:pt x="469" y="396"/>
                    </a:lnTo>
                    <a:lnTo>
                      <a:pt x="468" y="397"/>
                    </a:lnTo>
                    <a:lnTo>
                      <a:pt x="468" y="400"/>
                    </a:lnTo>
                    <a:lnTo>
                      <a:pt x="465" y="401"/>
                    </a:lnTo>
                    <a:lnTo>
                      <a:pt x="463" y="402"/>
                    </a:lnTo>
                    <a:lnTo>
                      <a:pt x="461" y="401"/>
                    </a:lnTo>
                    <a:lnTo>
                      <a:pt x="461" y="401"/>
                    </a:lnTo>
                    <a:lnTo>
                      <a:pt x="463" y="398"/>
                    </a:lnTo>
                    <a:lnTo>
                      <a:pt x="464" y="397"/>
                    </a:lnTo>
                    <a:lnTo>
                      <a:pt x="463" y="396"/>
                    </a:lnTo>
                    <a:lnTo>
                      <a:pt x="463" y="396"/>
                    </a:lnTo>
                    <a:lnTo>
                      <a:pt x="460" y="400"/>
                    </a:lnTo>
                    <a:lnTo>
                      <a:pt x="460" y="400"/>
                    </a:lnTo>
                    <a:lnTo>
                      <a:pt x="461" y="411"/>
                    </a:lnTo>
                    <a:lnTo>
                      <a:pt x="459" y="413"/>
                    </a:lnTo>
                    <a:lnTo>
                      <a:pt x="459" y="413"/>
                    </a:lnTo>
                    <a:lnTo>
                      <a:pt x="456" y="416"/>
                    </a:lnTo>
                    <a:lnTo>
                      <a:pt x="453" y="419"/>
                    </a:lnTo>
                    <a:lnTo>
                      <a:pt x="453" y="419"/>
                    </a:lnTo>
                    <a:lnTo>
                      <a:pt x="446" y="424"/>
                    </a:lnTo>
                    <a:lnTo>
                      <a:pt x="446" y="424"/>
                    </a:lnTo>
                    <a:lnTo>
                      <a:pt x="442" y="432"/>
                    </a:lnTo>
                    <a:lnTo>
                      <a:pt x="438" y="440"/>
                    </a:lnTo>
                    <a:lnTo>
                      <a:pt x="435" y="450"/>
                    </a:lnTo>
                    <a:lnTo>
                      <a:pt x="433" y="459"/>
                    </a:lnTo>
                    <a:lnTo>
                      <a:pt x="434" y="462"/>
                    </a:lnTo>
                    <a:lnTo>
                      <a:pt x="435" y="462"/>
                    </a:lnTo>
                    <a:lnTo>
                      <a:pt x="441" y="463"/>
                    </a:lnTo>
                    <a:lnTo>
                      <a:pt x="445" y="462"/>
                    </a:lnTo>
                    <a:lnTo>
                      <a:pt x="446" y="463"/>
                    </a:lnTo>
                    <a:lnTo>
                      <a:pt x="448" y="465"/>
                    </a:lnTo>
                    <a:lnTo>
                      <a:pt x="448" y="468"/>
                    </a:lnTo>
                    <a:lnTo>
                      <a:pt x="442" y="468"/>
                    </a:lnTo>
                    <a:lnTo>
                      <a:pt x="437" y="463"/>
                    </a:lnTo>
                    <a:lnTo>
                      <a:pt x="435" y="465"/>
                    </a:lnTo>
                    <a:lnTo>
                      <a:pt x="435" y="465"/>
                    </a:lnTo>
                    <a:lnTo>
                      <a:pt x="438" y="468"/>
                    </a:lnTo>
                    <a:lnTo>
                      <a:pt x="442" y="473"/>
                    </a:lnTo>
                    <a:lnTo>
                      <a:pt x="448" y="485"/>
                    </a:lnTo>
                    <a:lnTo>
                      <a:pt x="453" y="497"/>
                    </a:lnTo>
                    <a:lnTo>
                      <a:pt x="456" y="503"/>
                    </a:lnTo>
                    <a:lnTo>
                      <a:pt x="456" y="503"/>
                    </a:lnTo>
                    <a:lnTo>
                      <a:pt x="460" y="504"/>
                    </a:lnTo>
                    <a:lnTo>
                      <a:pt x="464" y="503"/>
                    </a:lnTo>
                    <a:lnTo>
                      <a:pt x="471" y="500"/>
                    </a:lnTo>
                    <a:lnTo>
                      <a:pt x="471" y="500"/>
                    </a:lnTo>
                    <a:lnTo>
                      <a:pt x="476" y="500"/>
                    </a:lnTo>
                    <a:lnTo>
                      <a:pt x="480" y="499"/>
                    </a:lnTo>
                    <a:lnTo>
                      <a:pt x="490" y="496"/>
                    </a:lnTo>
                    <a:lnTo>
                      <a:pt x="490" y="496"/>
                    </a:lnTo>
                    <a:lnTo>
                      <a:pt x="492" y="495"/>
                    </a:lnTo>
                    <a:lnTo>
                      <a:pt x="492" y="495"/>
                    </a:lnTo>
                    <a:lnTo>
                      <a:pt x="495" y="493"/>
                    </a:lnTo>
                    <a:lnTo>
                      <a:pt x="497" y="492"/>
                    </a:lnTo>
                    <a:lnTo>
                      <a:pt x="498" y="492"/>
                    </a:lnTo>
                    <a:lnTo>
                      <a:pt x="501" y="493"/>
                    </a:lnTo>
                    <a:lnTo>
                      <a:pt x="501" y="493"/>
                    </a:lnTo>
                    <a:lnTo>
                      <a:pt x="490" y="504"/>
                    </a:lnTo>
                    <a:lnTo>
                      <a:pt x="490" y="504"/>
                    </a:lnTo>
                    <a:lnTo>
                      <a:pt x="483" y="508"/>
                    </a:lnTo>
                    <a:lnTo>
                      <a:pt x="483" y="508"/>
                    </a:lnTo>
                    <a:lnTo>
                      <a:pt x="478" y="514"/>
                    </a:lnTo>
                    <a:lnTo>
                      <a:pt x="478" y="514"/>
                    </a:lnTo>
                    <a:lnTo>
                      <a:pt x="473" y="515"/>
                    </a:lnTo>
                    <a:lnTo>
                      <a:pt x="471" y="515"/>
                    </a:lnTo>
                    <a:lnTo>
                      <a:pt x="468" y="516"/>
                    </a:lnTo>
                    <a:lnTo>
                      <a:pt x="465" y="515"/>
                    </a:lnTo>
                    <a:lnTo>
                      <a:pt x="461" y="508"/>
                    </a:lnTo>
                    <a:lnTo>
                      <a:pt x="461" y="508"/>
                    </a:lnTo>
                    <a:lnTo>
                      <a:pt x="460" y="510"/>
                    </a:lnTo>
                    <a:lnTo>
                      <a:pt x="460" y="510"/>
                    </a:lnTo>
                    <a:lnTo>
                      <a:pt x="459" y="514"/>
                    </a:lnTo>
                    <a:lnTo>
                      <a:pt x="459" y="514"/>
                    </a:lnTo>
                    <a:lnTo>
                      <a:pt x="460" y="522"/>
                    </a:lnTo>
                    <a:lnTo>
                      <a:pt x="460" y="522"/>
                    </a:lnTo>
                    <a:lnTo>
                      <a:pt x="461" y="542"/>
                    </a:lnTo>
                    <a:lnTo>
                      <a:pt x="459" y="544"/>
                    </a:lnTo>
                    <a:lnTo>
                      <a:pt x="457" y="546"/>
                    </a:lnTo>
                    <a:lnTo>
                      <a:pt x="457" y="546"/>
                    </a:lnTo>
                    <a:lnTo>
                      <a:pt x="456" y="548"/>
                    </a:lnTo>
                    <a:lnTo>
                      <a:pt x="456" y="548"/>
                    </a:lnTo>
                    <a:lnTo>
                      <a:pt x="452" y="560"/>
                    </a:lnTo>
                    <a:lnTo>
                      <a:pt x="450" y="567"/>
                    </a:lnTo>
                    <a:lnTo>
                      <a:pt x="450" y="569"/>
                    </a:lnTo>
                    <a:lnTo>
                      <a:pt x="452" y="572"/>
                    </a:lnTo>
                    <a:lnTo>
                      <a:pt x="452" y="572"/>
                    </a:lnTo>
                    <a:lnTo>
                      <a:pt x="449" y="576"/>
                    </a:lnTo>
                    <a:lnTo>
                      <a:pt x="449" y="581"/>
                    </a:lnTo>
                    <a:lnTo>
                      <a:pt x="448" y="583"/>
                    </a:lnTo>
                    <a:lnTo>
                      <a:pt x="448" y="592"/>
                    </a:lnTo>
                    <a:lnTo>
                      <a:pt x="448" y="592"/>
                    </a:lnTo>
                    <a:lnTo>
                      <a:pt x="445" y="596"/>
                    </a:lnTo>
                    <a:lnTo>
                      <a:pt x="444" y="600"/>
                    </a:lnTo>
                    <a:lnTo>
                      <a:pt x="444" y="600"/>
                    </a:lnTo>
                    <a:lnTo>
                      <a:pt x="441" y="605"/>
                    </a:lnTo>
                    <a:lnTo>
                      <a:pt x="441" y="605"/>
                    </a:lnTo>
                    <a:lnTo>
                      <a:pt x="437" y="615"/>
                    </a:lnTo>
                    <a:lnTo>
                      <a:pt x="437" y="615"/>
                    </a:lnTo>
                    <a:lnTo>
                      <a:pt x="435" y="624"/>
                    </a:lnTo>
                    <a:lnTo>
                      <a:pt x="434" y="629"/>
                    </a:lnTo>
                    <a:lnTo>
                      <a:pt x="431" y="632"/>
                    </a:lnTo>
                    <a:lnTo>
                      <a:pt x="431" y="632"/>
                    </a:lnTo>
                    <a:lnTo>
                      <a:pt x="431" y="636"/>
                    </a:lnTo>
                    <a:lnTo>
                      <a:pt x="430" y="638"/>
                    </a:lnTo>
                    <a:lnTo>
                      <a:pt x="426" y="644"/>
                    </a:lnTo>
                    <a:lnTo>
                      <a:pt x="426" y="644"/>
                    </a:lnTo>
                    <a:lnTo>
                      <a:pt x="425" y="647"/>
                    </a:lnTo>
                    <a:lnTo>
                      <a:pt x="423" y="649"/>
                    </a:lnTo>
                    <a:lnTo>
                      <a:pt x="421" y="649"/>
                    </a:lnTo>
                    <a:lnTo>
                      <a:pt x="421" y="649"/>
                    </a:lnTo>
                    <a:lnTo>
                      <a:pt x="421" y="653"/>
                    </a:lnTo>
                    <a:lnTo>
                      <a:pt x="419" y="656"/>
                    </a:lnTo>
                    <a:lnTo>
                      <a:pt x="416" y="659"/>
                    </a:lnTo>
                    <a:lnTo>
                      <a:pt x="414" y="660"/>
                    </a:lnTo>
                    <a:lnTo>
                      <a:pt x="414" y="660"/>
                    </a:lnTo>
                    <a:lnTo>
                      <a:pt x="411" y="666"/>
                    </a:lnTo>
                    <a:lnTo>
                      <a:pt x="408" y="670"/>
                    </a:lnTo>
                    <a:lnTo>
                      <a:pt x="407" y="672"/>
                    </a:lnTo>
                    <a:lnTo>
                      <a:pt x="407" y="672"/>
                    </a:lnTo>
                    <a:lnTo>
                      <a:pt x="404" y="676"/>
                    </a:lnTo>
                    <a:lnTo>
                      <a:pt x="398" y="682"/>
                    </a:lnTo>
                    <a:lnTo>
                      <a:pt x="392" y="685"/>
                    </a:lnTo>
                    <a:lnTo>
                      <a:pt x="387" y="686"/>
                    </a:lnTo>
                    <a:lnTo>
                      <a:pt x="387" y="686"/>
                    </a:lnTo>
                    <a:lnTo>
                      <a:pt x="380" y="693"/>
                    </a:lnTo>
                    <a:lnTo>
                      <a:pt x="374" y="698"/>
                    </a:lnTo>
                    <a:lnTo>
                      <a:pt x="374" y="698"/>
                    </a:lnTo>
                    <a:lnTo>
                      <a:pt x="372" y="698"/>
                    </a:lnTo>
                    <a:lnTo>
                      <a:pt x="372" y="698"/>
                    </a:lnTo>
                    <a:lnTo>
                      <a:pt x="366" y="704"/>
                    </a:lnTo>
                    <a:lnTo>
                      <a:pt x="362" y="708"/>
                    </a:lnTo>
                    <a:lnTo>
                      <a:pt x="357" y="708"/>
                    </a:lnTo>
                    <a:lnTo>
                      <a:pt x="353" y="710"/>
                    </a:lnTo>
                    <a:lnTo>
                      <a:pt x="351" y="709"/>
                    </a:lnTo>
                    <a:lnTo>
                      <a:pt x="350" y="705"/>
                    </a:lnTo>
                    <a:lnTo>
                      <a:pt x="349" y="704"/>
                    </a:lnTo>
                    <a:lnTo>
                      <a:pt x="346" y="705"/>
                    </a:lnTo>
                    <a:lnTo>
                      <a:pt x="345" y="705"/>
                    </a:lnTo>
                    <a:lnTo>
                      <a:pt x="342" y="708"/>
                    </a:lnTo>
                    <a:lnTo>
                      <a:pt x="341" y="710"/>
                    </a:lnTo>
                    <a:lnTo>
                      <a:pt x="338" y="712"/>
                    </a:lnTo>
                    <a:lnTo>
                      <a:pt x="338" y="712"/>
                    </a:lnTo>
                    <a:lnTo>
                      <a:pt x="336" y="714"/>
                    </a:lnTo>
                    <a:lnTo>
                      <a:pt x="334" y="717"/>
                    </a:lnTo>
                    <a:lnTo>
                      <a:pt x="330" y="721"/>
                    </a:lnTo>
                    <a:lnTo>
                      <a:pt x="330" y="721"/>
                    </a:lnTo>
                    <a:lnTo>
                      <a:pt x="324" y="728"/>
                    </a:lnTo>
                    <a:lnTo>
                      <a:pt x="324" y="728"/>
                    </a:lnTo>
                    <a:lnTo>
                      <a:pt x="322" y="731"/>
                    </a:lnTo>
                    <a:lnTo>
                      <a:pt x="319" y="732"/>
                    </a:lnTo>
                    <a:lnTo>
                      <a:pt x="317" y="733"/>
                    </a:lnTo>
                    <a:lnTo>
                      <a:pt x="317" y="733"/>
                    </a:lnTo>
                    <a:lnTo>
                      <a:pt x="315" y="735"/>
                    </a:lnTo>
                    <a:lnTo>
                      <a:pt x="311" y="735"/>
                    </a:lnTo>
                    <a:lnTo>
                      <a:pt x="309" y="733"/>
                    </a:lnTo>
                    <a:lnTo>
                      <a:pt x="308" y="735"/>
                    </a:lnTo>
                    <a:lnTo>
                      <a:pt x="309" y="736"/>
                    </a:lnTo>
                    <a:lnTo>
                      <a:pt x="308" y="740"/>
                    </a:lnTo>
                    <a:lnTo>
                      <a:pt x="301" y="746"/>
                    </a:lnTo>
                    <a:lnTo>
                      <a:pt x="300" y="751"/>
                    </a:lnTo>
                    <a:lnTo>
                      <a:pt x="300" y="751"/>
                    </a:lnTo>
                    <a:lnTo>
                      <a:pt x="293" y="754"/>
                    </a:lnTo>
                    <a:lnTo>
                      <a:pt x="286" y="756"/>
                    </a:lnTo>
                    <a:lnTo>
                      <a:pt x="284" y="755"/>
                    </a:lnTo>
                    <a:lnTo>
                      <a:pt x="281" y="756"/>
                    </a:lnTo>
                    <a:lnTo>
                      <a:pt x="279" y="754"/>
                    </a:lnTo>
                    <a:lnTo>
                      <a:pt x="277" y="752"/>
                    </a:lnTo>
                    <a:lnTo>
                      <a:pt x="278" y="751"/>
                    </a:lnTo>
                    <a:lnTo>
                      <a:pt x="273" y="750"/>
                    </a:lnTo>
                    <a:lnTo>
                      <a:pt x="269" y="754"/>
                    </a:lnTo>
                    <a:lnTo>
                      <a:pt x="265" y="754"/>
                    </a:lnTo>
                    <a:lnTo>
                      <a:pt x="260" y="752"/>
                    </a:lnTo>
                    <a:lnTo>
                      <a:pt x="260" y="752"/>
                    </a:lnTo>
                    <a:lnTo>
                      <a:pt x="247" y="754"/>
                    </a:lnTo>
                    <a:lnTo>
                      <a:pt x="248" y="755"/>
                    </a:lnTo>
                    <a:lnTo>
                      <a:pt x="246" y="756"/>
                    </a:lnTo>
                    <a:lnTo>
                      <a:pt x="246" y="756"/>
                    </a:lnTo>
                    <a:lnTo>
                      <a:pt x="243" y="756"/>
                    </a:lnTo>
                    <a:lnTo>
                      <a:pt x="239" y="756"/>
                    </a:lnTo>
                    <a:lnTo>
                      <a:pt x="233" y="759"/>
                    </a:lnTo>
                    <a:lnTo>
                      <a:pt x="231" y="759"/>
                    </a:lnTo>
                    <a:lnTo>
                      <a:pt x="231" y="759"/>
                    </a:lnTo>
                    <a:lnTo>
                      <a:pt x="231" y="762"/>
                    </a:lnTo>
                    <a:lnTo>
                      <a:pt x="229" y="765"/>
                    </a:lnTo>
                    <a:lnTo>
                      <a:pt x="229" y="765"/>
                    </a:lnTo>
                    <a:lnTo>
                      <a:pt x="231" y="769"/>
                    </a:lnTo>
                    <a:lnTo>
                      <a:pt x="231" y="773"/>
                    </a:lnTo>
                    <a:lnTo>
                      <a:pt x="235" y="777"/>
                    </a:lnTo>
                    <a:lnTo>
                      <a:pt x="235" y="777"/>
                    </a:lnTo>
                    <a:lnTo>
                      <a:pt x="235" y="778"/>
                    </a:lnTo>
                    <a:lnTo>
                      <a:pt x="235" y="781"/>
                    </a:lnTo>
                    <a:lnTo>
                      <a:pt x="233" y="786"/>
                    </a:lnTo>
                    <a:lnTo>
                      <a:pt x="232" y="781"/>
                    </a:lnTo>
                    <a:lnTo>
                      <a:pt x="229" y="777"/>
                    </a:lnTo>
                    <a:lnTo>
                      <a:pt x="229" y="774"/>
                    </a:lnTo>
                    <a:lnTo>
                      <a:pt x="222" y="773"/>
                    </a:lnTo>
                    <a:lnTo>
                      <a:pt x="222" y="773"/>
                    </a:lnTo>
                    <a:lnTo>
                      <a:pt x="220" y="769"/>
                    </a:lnTo>
                    <a:lnTo>
                      <a:pt x="216" y="766"/>
                    </a:lnTo>
                    <a:lnTo>
                      <a:pt x="214" y="767"/>
                    </a:lnTo>
                    <a:lnTo>
                      <a:pt x="213" y="770"/>
                    </a:lnTo>
                    <a:lnTo>
                      <a:pt x="209" y="775"/>
                    </a:lnTo>
                    <a:lnTo>
                      <a:pt x="210" y="775"/>
                    </a:lnTo>
                    <a:lnTo>
                      <a:pt x="210" y="780"/>
                    </a:lnTo>
                    <a:lnTo>
                      <a:pt x="208" y="782"/>
                    </a:lnTo>
                    <a:lnTo>
                      <a:pt x="208" y="784"/>
                    </a:lnTo>
                    <a:lnTo>
                      <a:pt x="205" y="788"/>
                    </a:lnTo>
                    <a:lnTo>
                      <a:pt x="205" y="790"/>
                    </a:lnTo>
                    <a:lnTo>
                      <a:pt x="202" y="792"/>
                    </a:lnTo>
                    <a:lnTo>
                      <a:pt x="202" y="792"/>
                    </a:lnTo>
                    <a:lnTo>
                      <a:pt x="198" y="799"/>
                    </a:lnTo>
                    <a:lnTo>
                      <a:pt x="193" y="804"/>
                    </a:lnTo>
                    <a:lnTo>
                      <a:pt x="193" y="804"/>
                    </a:lnTo>
                    <a:lnTo>
                      <a:pt x="186" y="804"/>
                    </a:lnTo>
                    <a:lnTo>
                      <a:pt x="183" y="804"/>
                    </a:lnTo>
                    <a:lnTo>
                      <a:pt x="180" y="805"/>
                    </a:lnTo>
                    <a:lnTo>
                      <a:pt x="179" y="807"/>
                    </a:lnTo>
                    <a:lnTo>
                      <a:pt x="178" y="807"/>
                    </a:lnTo>
                    <a:lnTo>
                      <a:pt x="178" y="807"/>
                    </a:lnTo>
                    <a:lnTo>
                      <a:pt x="176" y="811"/>
                    </a:lnTo>
                    <a:lnTo>
                      <a:pt x="174" y="813"/>
                    </a:lnTo>
                    <a:lnTo>
                      <a:pt x="174" y="816"/>
                    </a:lnTo>
                    <a:lnTo>
                      <a:pt x="176" y="818"/>
                    </a:lnTo>
                    <a:lnTo>
                      <a:pt x="176" y="823"/>
                    </a:lnTo>
                    <a:lnTo>
                      <a:pt x="180" y="826"/>
                    </a:lnTo>
                    <a:lnTo>
                      <a:pt x="179" y="827"/>
                    </a:lnTo>
                    <a:lnTo>
                      <a:pt x="179" y="827"/>
                    </a:lnTo>
                    <a:lnTo>
                      <a:pt x="174" y="824"/>
                    </a:lnTo>
                    <a:lnTo>
                      <a:pt x="168" y="826"/>
                    </a:lnTo>
                    <a:lnTo>
                      <a:pt x="164" y="826"/>
                    </a:lnTo>
                    <a:lnTo>
                      <a:pt x="159" y="826"/>
                    </a:lnTo>
                    <a:lnTo>
                      <a:pt x="157" y="820"/>
                    </a:lnTo>
                    <a:lnTo>
                      <a:pt x="153" y="818"/>
                    </a:lnTo>
                    <a:lnTo>
                      <a:pt x="151" y="818"/>
                    </a:lnTo>
                    <a:lnTo>
                      <a:pt x="151" y="818"/>
                    </a:lnTo>
                    <a:lnTo>
                      <a:pt x="149" y="819"/>
                    </a:lnTo>
                    <a:lnTo>
                      <a:pt x="148" y="822"/>
                    </a:lnTo>
                    <a:lnTo>
                      <a:pt x="149" y="823"/>
                    </a:lnTo>
                    <a:lnTo>
                      <a:pt x="151" y="824"/>
                    </a:lnTo>
                    <a:lnTo>
                      <a:pt x="147" y="828"/>
                    </a:lnTo>
                    <a:lnTo>
                      <a:pt x="148" y="832"/>
                    </a:lnTo>
                    <a:lnTo>
                      <a:pt x="147" y="832"/>
                    </a:lnTo>
                    <a:lnTo>
                      <a:pt x="145" y="831"/>
                    </a:lnTo>
                    <a:lnTo>
                      <a:pt x="133" y="838"/>
                    </a:lnTo>
                    <a:lnTo>
                      <a:pt x="130" y="838"/>
                    </a:lnTo>
                    <a:lnTo>
                      <a:pt x="128" y="838"/>
                    </a:lnTo>
                    <a:lnTo>
                      <a:pt x="129" y="832"/>
                    </a:lnTo>
                    <a:lnTo>
                      <a:pt x="125" y="831"/>
                    </a:lnTo>
                    <a:lnTo>
                      <a:pt x="125" y="831"/>
                    </a:lnTo>
                    <a:lnTo>
                      <a:pt x="123" y="827"/>
                    </a:lnTo>
                    <a:lnTo>
                      <a:pt x="122" y="823"/>
                    </a:lnTo>
                    <a:lnTo>
                      <a:pt x="119" y="824"/>
                    </a:lnTo>
                    <a:lnTo>
                      <a:pt x="117" y="823"/>
                    </a:lnTo>
                    <a:lnTo>
                      <a:pt x="111" y="826"/>
                    </a:lnTo>
                    <a:lnTo>
                      <a:pt x="110" y="826"/>
                    </a:lnTo>
                    <a:lnTo>
                      <a:pt x="110" y="823"/>
                    </a:lnTo>
                    <a:lnTo>
                      <a:pt x="110" y="823"/>
                    </a:lnTo>
                    <a:lnTo>
                      <a:pt x="104" y="822"/>
                    </a:lnTo>
                    <a:lnTo>
                      <a:pt x="99" y="822"/>
                    </a:lnTo>
                    <a:lnTo>
                      <a:pt x="95" y="819"/>
                    </a:lnTo>
                    <a:lnTo>
                      <a:pt x="92" y="820"/>
                    </a:lnTo>
                    <a:lnTo>
                      <a:pt x="91" y="823"/>
                    </a:lnTo>
                    <a:lnTo>
                      <a:pt x="90" y="823"/>
                    </a:lnTo>
                    <a:lnTo>
                      <a:pt x="85" y="828"/>
                    </a:lnTo>
                    <a:lnTo>
                      <a:pt x="85" y="830"/>
                    </a:lnTo>
                    <a:lnTo>
                      <a:pt x="90" y="831"/>
                    </a:lnTo>
                    <a:lnTo>
                      <a:pt x="88" y="832"/>
                    </a:lnTo>
                    <a:lnTo>
                      <a:pt x="90" y="835"/>
                    </a:lnTo>
                    <a:lnTo>
                      <a:pt x="91" y="835"/>
                    </a:lnTo>
                    <a:lnTo>
                      <a:pt x="92" y="837"/>
                    </a:lnTo>
                    <a:lnTo>
                      <a:pt x="84" y="841"/>
                    </a:lnTo>
                    <a:lnTo>
                      <a:pt x="84" y="842"/>
                    </a:lnTo>
                    <a:lnTo>
                      <a:pt x="85" y="843"/>
                    </a:lnTo>
                    <a:lnTo>
                      <a:pt x="84" y="846"/>
                    </a:lnTo>
                    <a:lnTo>
                      <a:pt x="87" y="846"/>
                    </a:lnTo>
                    <a:lnTo>
                      <a:pt x="88" y="847"/>
                    </a:lnTo>
                    <a:lnTo>
                      <a:pt x="85" y="849"/>
                    </a:lnTo>
                    <a:lnTo>
                      <a:pt x="85" y="853"/>
                    </a:lnTo>
                    <a:lnTo>
                      <a:pt x="88" y="854"/>
                    </a:lnTo>
                    <a:lnTo>
                      <a:pt x="85" y="857"/>
                    </a:lnTo>
                    <a:lnTo>
                      <a:pt x="83" y="857"/>
                    </a:lnTo>
                    <a:lnTo>
                      <a:pt x="81" y="856"/>
                    </a:lnTo>
                    <a:lnTo>
                      <a:pt x="79" y="857"/>
                    </a:lnTo>
                    <a:lnTo>
                      <a:pt x="80" y="860"/>
                    </a:lnTo>
                    <a:lnTo>
                      <a:pt x="79" y="861"/>
                    </a:lnTo>
                    <a:lnTo>
                      <a:pt x="79" y="861"/>
                    </a:lnTo>
                    <a:lnTo>
                      <a:pt x="75" y="861"/>
                    </a:lnTo>
                    <a:lnTo>
                      <a:pt x="72" y="862"/>
                    </a:lnTo>
                    <a:lnTo>
                      <a:pt x="72" y="862"/>
                    </a:lnTo>
                    <a:lnTo>
                      <a:pt x="68" y="861"/>
                    </a:lnTo>
                    <a:lnTo>
                      <a:pt x="64" y="861"/>
                    </a:lnTo>
                    <a:lnTo>
                      <a:pt x="66" y="864"/>
                    </a:lnTo>
                    <a:lnTo>
                      <a:pt x="65" y="865"/>
                    </a:lnTo>
                    <a:lnTo>
                      <a:pt x="62" y="868"/>
                    </a:lnTo>
                    <a:lnTo>
                      <a:pt x="61" y="866"/>
                    </a:lnTo>
                    <a:lnTo>
                      <a:pt x="61" y="869"/>
                    </a:lnTo>
                    <a:lnTo>
                      <a:pt x="61" y="869"/>
                    </a:lnTo>
                    <a:lnTo>
                      <a:pt x="56" y="869"/>
                    </a:lnTo>
                    <a:lnTo>
                      <a:pt x="52" y="868"/>
                    </a:lnTo>
                    <a:lnTo>
                      <a:pt x="50" y="869"/>
                    </a:lnTo>
                    <a:lnTo>
                      <a:pt x="46" y="868"/>
                    </a:lnTo>
                    <a:lnTo>
                      <a:pt x="46" y="870"/>
                    </a:lnTo>
                    <a:lnTo>
                      <a:pt x="43" y="872"/>
                    </a:lnTo>
                    <a:lnTo>
                      <a:pt x="45" y="873"/>
                    </a:lnTo>
                    <a:lnTo>
                      <a:pt x="41" y="876"/>
                    </a:lnTo>
                    <a:lnTo>
                      <a:pt x="42" y="879"/>
                    </a:lnTo>
                    <a:lnTo>
                      <a:pt x="42" y="879"/>
                    </a:lnTo>
                    <a:lnTo>
                      <a:pt x="37" y="880"/>
                    </a:lnTo>
                    <a:lnTo>
                      <a:pt x="33" y="880"/>
                    </a:lnTo>
                    <a:lnTo>
                      <a:pt x="33" y="880"/>
                    </a:lnTo>
                    <a:lnTo>
                      <a:pt x="30" y="884"/>
                    </a:lnTo>
                    <a:lnTo>
                      <a:pt x="26" y="888"/>
                    </a:lnTo>
                    <a:lnTo>
                      <a:pt x="16" y="892"/>
                    </a:lnTo>
                    <a:lnTo>
                      <a:pt x="12" y="891"/>
                    </a:lnTo>
                    <a:lnTo>
                      <a:pt x="3" y="896"/>
                    </a:lnTo>
                    <a:lnTo>
                      <a:pt x="1" y="898"/>
                    </a:lnTo>
                    <a:lnTo>
                      <a:pt x="3" y="899"/>
                    </a:lnTo>
                    <a:lnTo>
                      <a:pt x="5" y="898"/>
                    </a:lnTo>
                    <a:lnTo>
                      <a:pt x="5" y="898"/>
                    </a:lnTo>
                    <a:lnTo>
                      <a:pt x="8" y="899"/>
                    </a:lnTo>
                    <a:lnTo>
                      <a:pt x="9" y="903"/>
                    </a:lnTo>
                    <a:lnTo>
                      <a:pt x="5" y="908"/>
                    </a:lnTo>
                    <a:lnTo>
                      <a:pt x="4" y="907"/>
                    </a:lnTo>
                    <a:lnTo>
                      <a:pt x="3" y="908"/>
                    </a:lnTo>
                    <a:lnTo>
                      <a:pt x="3" y="911"/>
                    </a:lnTo>
                    <a:lnTo>
                      <a:pt x="5" y="914"/>
                    </a:lnTo>
                    <a:lnTo>
                      <a:pt x="4" y="918"/>
                    </a:lnTo>
                    <a:lnTo>
                      <a:pt x="0" y="922"/>
                    </a:lnTo>
                    <a:lnTo>
                      <a:pt x="1" y="923"/>
                    </a:lnTo>
                    <a:lnTo>
                      <a:pt x="3" y="925"/>
                    </a:lnTo>
                    <a:lnTo>
                      <a:pt x="8" y="921"/>
                    </a:lnTo>
                    <a:lnTo>
                      <a:pt x="8" y="923"/>
                    </a:lnTo>
                    <a:lnTo>
                      <a:pt x="11" y="923"/>
                    </a:lnTo>
                    <a:lnTo>
                      <a:pt x="11" y="923"/>
                    </a:lnTo>
                    <a:lnTo>
                      <a:pt x="15" y="919"/>
                    </a:lnTo>
                    <a:lnTo>
                      <a:pt x="20" y="918"/>
                    </a:lnTo>
                    <a:lnTo>
                      <a:pt x="22" y="918"/>
                    </a:lnTo>
                    <a:lnTo>
                      <a:pt x="24" y="917"/>
                    </a:lnTo>
                    <a:lnTo>
                      <a:pt x="26" y="918"/>
                    </a:lnTo>
                    <a:lnTo>
                      <a:pt x="27" y="917"/>
                    </a:lnTo>
                    <a:lnTo>
                      <a:pt x="27" y="917"/>
                    </a:lnTo>
                    <a:lnTo>
                      <a:pt x="30" y="917"/>
                    </a:lnTo>
                    <a:lnTo>
                      <a:pt x="33" y="917"/>
                    </a:lnTo>
                    <a:lnTo>
                      <a:pt x="37" y="917"/>
                    </a:lnTo>
                    <a:lnTo>
                      <a:pt x="39" y="917"/>
                    </a:lnTo>
                    <a:lnTo>
                      <a:pt x="41" y="919"/>
                    </a:lnTo>
                    <a:lnTo>
                      <a:pt x="42" y="919"/>
                    </a:lnTo>
                    <a:lnTo>
                      <a:pt x="45" y="921"/>
                    </a:lnTo>
                    <a:lnTo>
                      <a:pt x="45" y="919"/>
                    </a:lnTo>
                    <a:lnTo>
                      <a:pt x="45" y="918"/>
                    </a:lnTo>
                    <a:lnTo>
                      <a:pt x="46" y="917"/>
                    </a:lnTo>
                    <a:lnTo>
                      <a:pt x="47" y="919"/>
                    </a:lnTo>
                    <a:lnTo>
                      <a:pt x="52" y="919"/>
                    </a:lnTo>
                    <a:lnTo>
                      <a:pt x="52" y="923"/>
                    </a:lnTo>
                    <a:lnTo>
                      <a:pt x="57" y="921"/>
                    </a:lnTo>
                    <a:lnTo>
                      <a:pt x="60" y="923"/>
                    </a:lnTo>
                    <a:lnTo>
                      <a:pt x="60" y="923"/>
                    </a:lnTo>
                    <a:lnTo>
                      <a:pt x="64" y="923"/>
                    </a:lnTo>
                    <a:lnTo>
                      <a:pt x="66" y="922"/>
                    </a:lnTo>
                    <a:lnTo>
                      <a:pt x="69" y="923"/>
                    </a:lnTo>
                    <a:lnTo>
                      <a:pt x="69" y="923"/>
                    </a:lnTo>
                    <a:lnTo>
                      <a:pt x="73" y="930"/>
                    </a:lnTo>
                    <a:lnTo>
                      <a:pt x="76" y="937"/>
                    </a:lnTo>
                    <a:lnTo>
                      <a:pt x="76" y="937"/>
                    </a:lnTo>
                    <a:lnTo>
                      <a:pt x="75" y="941"/>
                    </a:lnTo>
                    <a:lnTo>
                      <a:pt x="75" y="945"/>
                    </a:lnTo>
                    <a:lnTo>
                      <a:pt x="77" y="948"/>
                    </a:lnTo>
                    <a:lnTo>
                      <a:pt x="77" y="948"/>
                    </a:lnTo>
                    <a:lnTo>
                      <a:pt x="79" y="950"/>
                    </a:lnTo>
                    <a:lnTo>
                      <a:pt x="80" y="955"/>
                    </a:lnTo>
                    <a:lnTo>
                      <a:pt x="80" y="955"/>
                    </a:lnTo>
                    <a:lnTo>
                      <a:pt x="80" y="964"/>
                    </a:lnTo>
                    <a:lnTo>
                      <a:pt x="79" y="974"/>
                    </a:lnTo>
                    <a:lnTo>
                      <a:pt x="77" y="975"/>
                    </a:lnTo>
                    <a:lnTo>
                      <a:pt x="77" y="976"/>
                    </a:lnTo>
                    <a:lnTo>
                      <a:pt x="73" y="980"/>
                    </a:lnTo>
                    <a:lnTo>
                      <a:pt x="71" y="980"/>
                    </a:lnTo>
                    <a:lnTo>
                      <a:pt x="68" y="979"/>
                    </a:lnTo>
                    <a:lnTo>
                      <a:pt x="68" y="979"/>
                    </a:lnTo>
                    <a:lnTo>
                      <a:pt x="64" y="978"/>
                    </a:lnTo>
                    <a:lnTo>
                      <a:pt x="58" y="979"/>
                    </a:lnTo>
                    <a:lnTo>
                      <a:pt x="58" y="979"/>
                    </a:lnTo>
                    <a:lnTo>
                      <a:pt x="53" y="984"/>
                    </a:lnTo>
                    <a:lnTo>
                      <a:pt x="50" y="987"/>
                    </a:lnTo>
                    <a:lnTo>
                      <a:pt x="47" y="988"/>
                    </a:lnTo>
                    <a:lnTo>
                      <a:pt x="45" y="988"/>
                    </a:lnTo>
                    <a:lnTo>
                      <a:pt x="43" y="990"/>
                    </a:lnTo>
                    <a:lnTo>
                      <a:pt x="43" y="990"/>
                    </a:lnTo>
                    <a:lnTo>
                      <a:pt x="43" y="993"/>
                    </a:lnTo>
                    <a:lnTo>
                      <a:pt x="43" y="995"/>
                    </a:lnTo>
                    <a:lnTo>
                      <a:pt x="41" y="1002"/>
                    </a:lnTo>
                    <a:lnTo>
                      <a:pt x="41" y="1002"/>
                    </a:lnTo>
                    <a:lnTo>
                      <a:pt x="39" y="1002"/>
                    </a:lnTo>
                    <a:lnTo>
                      <a:pt x="37" y="1001"/>
                    </a:lnTo>
                    <a:lnTo>
                      <a:pt x="34" y="999"/>
                    </a:lnTo>
                    <a:lnTo>
                      <a:pt x="34" y="999"/>
                    </a:lnTo>
                    <a:lnTo>
                      <a:pt x="28" y="1001"/>
                    </a:lnTo>
                    <a:lnTo>
                      <a:pt x="28" y="1001"/>
                    </a:lnTo>
                    <a:lnTo>
                      <a:pt x="24" y="998"/>
                    </a:lnTo>
                    <a:lnTo>
                      <a:pt x="24" y="1002"/>
                    </a:lnTo>
                    <a:lnTo>
                      <a:pt x="24" y="1002"/>
                    </a:lnTo>
                    <a:lnTo>
                      <a:pt x="27" y="1003"/>
                    </a:lnTo>
                    <a:lnTo>
                      <a:pt x="30" y="1006"/>
                    </a:lnTo>
                    <a:lnTo>
                      <a:pt x="34" y="1007"/>
                    </a:lnTo>
                    <a:lnTo>
                      <a:pt x="34" y="1009"/>
                    </a:lnTo>
                    <a:lnTo>
                      <a:pt x="31" y="1012"/>
                    </a:lnTo>
                    <a:lnTo>
                      <a:pt x="34" y="1012"/>
                    </a:lnTo>
                    <a:lnTo>
                      <a:pt x="34" y="1009"/>
                    </a:lnTo>
                    <a:lnTo>
                      <a:pt x="37" y="1007"/>
                    </a:lnTo>
                    <a:lnTo>
                      <a:pt x="37" y="1007"/>
                    </a:lnTo>
                    <a:lnTo>
                      <a:pt x="39" y="1009"/>
                    </a:lnTo>
                    <a:lnTo>
                      <a:pt x="42" y="1010"/>
                    </a:lnTo>
                    <a:lnTo>
                      <a:pt x="45" y="1013"/>
                    </a:lnTo>
                    <a:lnTo>
                      <a:pt x="43" y="1016"/>
                    </a:lnTo>
                    <a:lnTo>
                      <a:pt x="49" y="1017"/>
                    </a:lnTo>
                    <a:lnTo>
                      <a:pt x="49" y="1020"/>
                    </a:lnTo>
                    <a:lnTo>
                      <a:pt x="49" y="1022"/>
                    </a:lnTo>
                    <a:lnTo>
                      <a:pt x="49" y="1022"/>
                    </a:lnTo>
                    <a:lnTo>
                      <a:pt x="49" y="1026"/>
                    </a:lnTo>
                    <a:lnTo>
                      <a:pt x="49" y="1029"/>
                    </a:lnTo>
                    <a:lnTo>
                      <a:pt x="53" y="1035"/>
                    </a:lnTo>
                    <a:lnTo>
                      <a:pt x="56" y="1035"/>
                    </a:lnTo>
                    <a:lnTo>
                      <a:pt x="56" y="1033"/>
                    </a:lnTo>
                    <a:lnTo>
                      <a:pt x="56" y="1030"/>
                    </a:lnTo>
                    <a:lnTo>
                      <a:pt x="60" y="1030"/>
                    </a:lnTo>
                    <a:lnTo>
                      <a:pt x="58" y="1028"/>
                    </a:lnTo>
                    <a:lnTo>
                      <a:pt x="61" y="1026"/>
                    </a:lnTo>
                    <a:lnTo>
                      <a:pt x="61" y="1022"/>
                    </a:lnTo>
                    <a:lnTo>
                      <a:pt x="62" y="1021"/>
                    </a:lnTo>
                    <a:lnTo>
                      <a:pt x="57" y="1020"/>
                    </a:lnTo>
                    <a:lnTo>
                      <a:pt x="57" y="1020"/>
                    </a:lnTo>
                    <a:lnTo>
                      <a:pt x="56" y="1016"/>
                    </a:lnTo>
                    <a:lnTo>
                      <a:pt x="56" y="1010"/>
                    </a:lnTo>
                    <a:lnTo>
                      <a:pt x="57" y="1007"/>
                    </a:lnTo>
                    <a:lnTo>
                      <a:pt x="57" y="1006"/>
                    </a:lnTo>
                    <a:lnTo>
                      <a:pt x="57" y="1010"/>
                    </a:lnTo>
                    <a:lnTo>
                      <a:pt x="61" y="1014"/>
                    </a:lnTo>
                    <a:lnTo>
                      <a:pt x="69" y="1014"/>
                    </a:lnTo>
                    <a:lnTo>
                      <a:pt x="69" y="1013"/>
                    </a:lnTo>
                    <a:lnTo>
                      <a:pt x="72" y="1013"/>
                    </a:lnTo>
                    <a:lnTo>
                      <a:pt x="76" y="1016"/>
                    </a:lnTo>
                    <a:lnTo>
                      <a:pt x="76" y="1013"/>
                    </a:lnTo>
                    <a:lnTo>
                      <a:pt x="79" y="1013"/>
                    </a:lnTo>
                    <a:lnTo>
                      <a:pt x="79" y="1010"/>
                    </a:lnTo>
                    <a:lnTo>
                      <a:pt x="79" y="1007"/>
                    </a:lnTo>
                    <a:lnTo>
                      <a:pt x="79" y="1007"/>
                    </a:lnTo>
                    <a:lnTo>
                      <a:pt x="80" y="1007"/>
                    </a:lnTo>
                    <a:lnTo>
                      <a:pt x="83" y="1010"/>
                    </a:lnTo>
                    <a:lnTo>
                      <a:pt x="85" y="1016"/>
                    </a:lnTo>
                    <a:lnTo>
                      <a:pt x="85" y="1017"/>
                    </a:lnTo>
                    <a:lnTo>
                      <a:pt x="87" y="1018"/>
                    </a:lnTo>
                    <a:lnTo>
                      <a:pt x="90" y="1020"/>
                    </a:lnTo>
                    <a:lnTo>
                      <a:pt x="95" y="1017"/>
                    </a:lnTo>
                    <a:lnTo>
                      <a:pt x="98" y="1018"/>
                    </a:lnTo>
                    <a:lnTo>
                      <a:pt x="103" y="1018"/>
                    </a:lnTo>
                    <a:lnTo>
                      <a:pt x="103" y="1017"/>
                    </a:lnTo>
                    <a:lnTo>
                      <a:pt x="102" y="1016"/>
                    </a:lnTo>
                    <a:lnTo>
                      <a:pt x="102" y="1016"/>
                    </a:lnTo>
                    <a:lnTo>
                      <a:pt x="103" y="1016"/>
                    </a:lnTo>
                    <a:lnTo>
                      <a:pt x="103" y="1016"/>
                    </a:lnTo>
                    <a:lnTo>
                      <a:pt x="113" y="1020"/>
                    </a:lnTo>
                    <a:lnTo>
                      <a:pt x="122" y="1024"/>
                    </a:lnTo>
                    <a:lnTo>
                      <a:pt x="122" y="1024"/>
                    </a:lnTo>
                    <a:lnTo>
                      <a:pt x="128" y="1020"/>
                    </a:lnTo>
                    <a:lnTo>
                      <a:pt x="133" y="1018"/>
                    </a:lnTo>
                    <a:lnTo>
                      <a:pt x="136" y="1020"/>
                    </a:lnTo>
                    <a:lnTo>
                      <a:pt x="137" y="1020"/>
                    </a:lnTo>
                    <a:lnTo>
                      <a:pt x="138" y="1018"/>
                    </a:lnTo>
                    <a:lnTo>
                      <a:pt x="142" y="1017"/>
                    </a:lnTo>
                    <a:lnTo>
                      <a:pt x="142" y="1020"/>
                    </a:lnTo>
                    <a:lnTo>
                      <a:pt x="142" y="1020"/>
                    </a:lnTo>
                    <a:lnTo>
                      <a:pt x="141" y="1022"/>
                    </a:lnTo>
                    <a:lnTo>
                      <a:pt x="141" y="1022"/>
                    </a:lnTo>
                    <a:lnTo>
                      <a:pt x="137" y="1024"/>
                    </a:lnTo>
                    <a:lnTo>
                      <a:pt x="138" y="1025"/>
                    </a:lnTo>
                    <a:lnTo>
                      <a:pt x="138" y="1025"/>
                    </a:lnTo>
                    <a:lnTo>
                      <a:pt x="136" y="1025"/>
                    </a:lnTo>
                    <a:lnTo>
                      <a:pt x="132" y="1024"/>
                    </a:lnTo>
                    <a:lnTo>
                      <a:pt x="130" y="1028"/>
                    </a:lnTo>
                    <a:lnTo>
                      <a:pt x="126" y="1030"/>
                    </a:lnTo>
                    <a:lnTo>
                      <a:pt x="126" y="1030"/>
                    </a:lnTo>
                    <a:lnTo>
                      <a:pt x="134" y="1033"/>
                    </a:lnTo>
                    <a:lnTo>
                      <a:pt x="138" y="1035"/>
                    </a:lnTo>
                    <a:lnTo>
                      <a:pt x="142" y="1033"/>
                    </a:lnTo>
                    <a:lnTo>
                      <a:pt x="145" y="1035"/>
                    </a:lnTo>
                    <a:lnTo>
                      <a:pt x="145" y="1036"/>
                    </a:lnTo>
                    <a:lnTo>
                      <a:pt x="141" y="1036"/>
                    </a:lnTo>
                    <a:lnTo>
                      <a:pt x="140" y="1039"/>
                    </a:lnTo>
                    <a:lnTo>
                      <a:pt x="137" y="1037"/>
                    </a:lnTo>
                    <a:lnTo>
                      <a:pt x="126" y="1039"/>
                    </a:lnTo>
                    <a:lnTo>
                      <a:pt x="125" y="1039"/>
                    </a:lnTo>
                    <a:lnTo>
                      <a:pt x="125" y="1039"/>
                    </a:lnTo>
                    <a:lnTo>
                      <a:pt x="123" y="1035"/>
                    </a:lnTo>
                    <a:lnTo>
                      <a:pt x="122" y="1032"/>
                    </a:lnTo>
                    <a:lnTo>
                      <a:pt x="123" y="1029"/>
                    </a:lnTo>
                    <a:lnTo>
                      <a:pt x="123" y="1029"/>
                    </a:lnTo>
                    <a:lnTo>
                      <a:pt x="119" y="1029"/>
                    </a:lnTo>
                    <a:lnTo>
                      <a:pt x="115" y="1030"/>
                    </a:lnTo>
                    <a:lnTo>
                      <a:pt x="106" y="1025"/>
                    </a:lnTo>
                    <a:lnTo>
                      <a:pt x="99" y="1026"/>
                    </a:lnTo>
                    <a:lnTo>
                      <a:pt x="98" y="1030"/>
                    </a:lnTo>
                    <a:lnTo>
                      <a:pt x="102" y="1033"/>
                    </a:lnTo>
                    <a:lnTo>
                      <a:pt x="102" y="1037"/>
                    </a:lnTo>
                    <a:lnTo>
                      <a:pt x="102" y="1037"/>
                    </a:lnTo>
                    <a:lnTo>
                      <a:pt x="96" y="1037"/>
                    </a:lnTo>
                    <a:lnTo>
                      <a:pt x="91" y="1037"/>
                    </a:lnTo>
                    <a:lnTo>
                      <a:pt x="87" y="1032"/>
                    </a:lnTo>
                    <a:lnTo>
                      <a:pt x="90" y="1030"/>
                    </a:lnTo>
                    <a:lnTo>
                      <a:pt x="75" y="1026"/>
                    </a:lnTo>
                    <a:lnTo>
                      <a:pt x="73" y="1028"/>
                    </a:lnTo>
                    <a:lnTo>
                      <a:pt x="76" y="1028"/>
                    </a:lnTo>
                    <a:lnTo>
                      <a:pt x="79" y="1032"/>
                    </a:lnTo>
                    <a:lnTo>
                      <a:pt x="73" y="1033"/>
                    </a:lnTo>
                    <a:lnTo>
                      <a:pt x="72" y="1035"/>
                    </a:lnTo>
                    <a:lnTo>
                      <a:pt x="72" y="1035"/>
                    </a:lnTo>
                    <a:lnTo>
                      <a:pt x="76" y="1040"/>
                    </a:lnTo>
                    <a:lnTo>
                      <a:pt x="80" y="1043"/>
                    </a:lnTo>
                    <a:lnTo>
                      <a:pt x="87" y="1044"/>
                    </a:lnTo>
                    <a:lnTo>
                      <a:pt x="92" y="1045"/>
                    </a:lnTo>
                    <a:lnTo>
                      <a:pt x="92" y="1045"/>
                    </a:lnTo>
                    <a:lnTo>
                      <a:pt x="95" y="1048"/>
                    </a:lnTo>
                    <a:lnTo>
                      <a:pt x="98" y="1054"/>
                    </a:lnTo>
                    <a:lnTo>
                      <a:pt x="99" y="1060"/>
                    </a:lnTo>
                    <a:lnTo>
                      <a:pt x="99" y="1064"/>
                    </a:lnTo>
                    <a:lnTo>
                      <a:pt x="96" y="1066"/>
                    </a:lnTo>
                    <a:lnTo>
                      <a:pt x="95" y="1067"/>
                    </a:lnTo>
                    <a:lnTo>
                      <a:pt x="95" y="1070"/>
                    </a:lnTo>
                    <a:lnTo>
                      <a:pt x="96" y="1073"/>
                    </a:lnTo>
                    <a:lnTo>
                      <a:pt x="96" y="1073"/>
                    </a:lnTo>
                    <a:lnTo>
                      <a:pt x="100" y="1074"/>
                    </a:lnTo>
                    <a:lnTo>
                      <a:pt x="103" y="1074"/>
                    </a:lnTo>
                    <a:lnTo>
                      <a:pt x="103" y="1074"/>
                    </a:lnTo>
                    <a:lnTo>
                      <a:pt x="115" y="1079"/>
                    </a:lnTo>
                    <a:lnTo>
                      <a:pt x="115" y="1079"/>
                    </a:lnTo>
                    <a:lnTo>
                      <a:pt x="121" y="1078"/>
                    </a:lnTo>
                    <a:lnTo>
                      <a:pt x="128" y="1079"/>
                    </a:lnTo>
                    <a:lnTo>
                      <a:pt x="128" y="1082"/>
                    </a:lnTo>
                    <a:lnTo>
                      <a:pt x="133" y="1082"/>
                    </a:lnTo>
                    <a:lnTo>
                      <a:pt x="136" y="1086"/>
                    </a:lnTo>
                    <a:lnTo>
                      <a:pt x="136" y="1086"/>
                    </a:lnTo>
                    <a:lnTo>
                      <a:pt x="140" y="1087"/>
                    </a:lnTo>
                    <a:lnTo>
                      <a:pt x="145" y="1087"/>
                    </a:lnTo>
                    <a:lnTo>
                      <a:pt x="145" y="1085"/>
                    </a:lnTo>
                    <a:lnTo>
                      <a:pt x="147" y="1082"/>
                    </a:lnTo>
                    <a:lnTo>
                      <a:pt x="145" y="1078"/>
                    </a:lnTo>
                    <a:lnTo>
                      <a:pt x="148" y="1079"/>
                    </a:lnTo>
                    <a:lnTo>
                      <a:pt x="148" y="1079"/>
                    </a:lnTo>
                    <a:lnTo>
                      <a:pt x="151" y="1078"/>
                    </a:lnTo>
                    <a:lnTo>
                      <a:pt x="153" y="1078"/>
                    </a:lnTo>
                    <a:lnTo>
                      <a:pt x="155" y="1079"/>
                    </a:lnTo>
                    <a:lnTo>
                      <a:pt x="155" y="1078"/>
                    </a:lnTo>
                    <a:lnTo>
                      <a:pt x="152" y="1074"/>
                    </a:lnTo>
                    <a:lnTo>
                      <a:pt x="155" y="1073"/>
                    </a:lnTo>
                    <a:lnTo>
                      <a:pt x="153" y="1070"/>
                    </a:lnTo>
                    <a:lnTo>
                      <a:pt x="155" y="1068"/>
                    </a:lnTo>
                    <a:lnTo>
                      <a:pt x="159" y="1066"/>
                    </a:lnTo>
                    <a:lnTo>
                      <a:pt x="160" y="1066"/>
                    </a:lnTo>
                    <a:lnTo>
                      <a:pt x="161" y="1063"/>
                    </a:lnTo>
                    <a:lnTo>
                      <a:pt x="165" y="1060"/>
                    </a:lnTo>
                    <a:lnTo>
                      <a:pt x="167" y="1060"/>
                    </a:lnTo>
                    <a:lnTo>
                      <a:pt x="165" y="1059"/>
                    </a:lnTo>
                    <a:lnTo>
                      <a:pt x="167" y="1056"/>
                    </a:lnTo>
                    <a:lnTo>
                      <a:pt x="167" y="1056"/>
                    </a:lnTo>
                    <a:lnTo>
                      <a:pt x="171" y="1056"/>
                    </a:lnTo>
                    <a:lnTo>
                      <a:pt x="175" y="1058"/>
                    </a:lnTo>
                    <a:lnTo>
                      <a:pt x="179" y="1055"/>
                    </a:lnTo>
                    <a:lnTo>
                      <a:pt x="180" y="1056"/>
                    </a:lnTo>
                    <a:lnTo>
                      <a:pt x="180" y="1058"/>
                    </a:lnTo>
                    <a:lnTo>
                      <a:pt x="187" y="1058"/>
                    </a:lnTo>
                    <a:lnTo>
                      <a:pt x="187" y="1058"/>
                    </a:lnTo>
                    <a:lnTo>
                      <a:pt x="187" y="1060"/>
                    </a:lnTo>
                    <a:lnTo>
                      <a:pt x="191" y="1062"/>
                    </a:lnTo>
                    <a:lnTo>
                      <a:pt x="194" y="1062"/>
                    </a:lnTo>
                    <a:lnTo>
                      <a:pt x="195" y="1063"/>
                    </a:lnTo>
                    <a:lnTo>
                      <a:pt x="198" y="1063"/>
                    </a:lnTo>
                    <a:lnTo>
                      <a:pt x="198" y="1059"/>
                    </a:lnTo>
                    <a:lnTo>
                      <a:pt x="198" y="1059"/>
                    </a:lnTo>
                    <a:lnTo>
                      <a:pt x="202" y="1058"/>
                    </a:lnTo>
                    <a:lnTo>
                      <a:pt x="206" y="1058"/>
                    </a:lnTo>
                    <a:lnTo>
                      <a:pt x="203" y="1055"/>
                    </a:lnTo>
                    <a:lnTo>
                      <a:pt x="205" y="1052"/>
                    </a:lnTo>
                    <a:lnTo>
                      <a:pt x="205" y="1052"/>
                    </a:lnTo>
                    <a:lnTo>
                      <a:pt x="205" y="1052"/>
                    </a:lnTo>
                    <a:lnTo>
                      <a:pt x="213" y="1052"/>
                    </a:lnTo>
                    <a:lnTo>
                      <a:pt x="221" y="1052"/>
                    </a:lnTo>
                    <a:lnTo>
                      <a:pt x="220" y="1049"/>
                    </a:lnTo>
                    <a:lnTo>
                      <a:pt x="220" y="1049"/>
                    </a:lnTo>
                    <a:lnTo>
                      <a:pt x="222" y="1044"/>
                    </a:lnTo>
                    <a:lnTo>
                      <a:pt x="224" y="1043"/>
                    </a:lnTo>
                    <a:lnTo>
                      <a:pt x="227" y="1041"/>
                    </a:lnTo>
                    <a:lnTo>
                      <a:pt x="228" y="1040"/>
                    </a:lnTo>
                    <a:lnTo>
                      <a:pt x="224" y="1039"/>
                    </a:lnTo>
                    <a:lnTo>
                      <a:pt x="224" y="1039"/>
                    </a:lnTo>
                    <a:lnTo>
                      <a:pt x="225" y="1035"/>
                    </a:lnTo>
                    <a:lnTo>
                      <a:pt x="227" y="1030"/>
                    </a:lnTo>
                    <a:lnTo>
                      <a:pt x="232" y="1025"/>
                    </a:lnTo>
                    <a:lnTo>
                      <a:pt x="229" y="1022"/>
                    </a:lnTo>
                    <a:lnTo>
                      <a:pt x="229" y="1022"/>
                    </a:lnTo>
                    <a:lnTo>
                      <a:pt x="227" y="1018"/>
                    </a:lnTo>
                    <a:lnTo>
                      <a:pt x="227" y="1014"/>
                    </a:lnTo>
                    <a:lnTo>
                      <a:pt x="229" y="1010"/>
                    </a:lnTo>
                    <a:lnTo>
                      <a:pt x="233" y="1006"/>
                    </a:lnTo>
                    <a:lnTo>
                      <a:pt x="237" y="1003"/>
                    </a:lnTo>
                    <a:lnTo>
                      <a:pt x="241" y="1002"/>
                    </a:lnTo>
                    <a:lnTo>
                      <a:pt x="247" y="1001"/>
                    </a:lnTo>
                    <a:lnTo>
                      <a:pt x="251" y="1002"/>
                    </a:lnTo>
                    <a:lnTo>
                      <a:pt x="251" y="1002"/>
                    </a:lnTo>
                    <a:lnTo>
                      <a:pt x="255" y="999"/>
                    </a:lnTo>
                    <a:lnTo>
                      <a:pt x="259" y="999"/>
                    </a:lnTo>
                    <a:lnTo>
                      <a:pt x="269" y="1001"/>
                    </a:lnTo>
                    <a:lnTo>
                      <a:pt x="271" y="999"/>
                    </a:lnTo>
                    <a:lnTo>
                      <a:pt x="271" y="999"/>
                    </a:lnTo>
                    <a:lnTo>
                      <a:pt x="274" y="998"/>
                    </a:lnTo>
                    <a:lnTo>
                      <a:pt x="277" y="997"/>
                    </a:lnTo>
                    <a:lnTo>
                      <a:pt x="312" y="1003"/>
                    </a:lnTo>
                    <a:lnTo>
                      <a:pt x="312" y="1003"/>
                    </a:lnTo>
                    <a:lnTo>
                      <a:pt x="320" y="999"/>
                    </a:lnTo>
                    <a:lnTo>
                      <a:pt x="327" y="997"/>
                    </a:lnTo>
                    <a:lnTo>
                      <a:pt x="327" y="997"/>
                    </a:lnTo>
                    <a:lnTo>
                      <a:pt x="320" y="990"/>
                    </a:lnTo>
                    <a:lnTo>
                      <a:pt x="316" y="986"/>
                    </a:lnTo>
                    <a:lnTo>
                      <a:pt x="313" y="984"/>
                    </a:lnTo>
                    <a:lnTo>
                      <a:pt x="313" y="983"/>
                    </a:lnTo>
                    <a:lnTo>
                      <a:pt x="312" y="980"/>
                    </a:lnTo>
                    <a:lnTo>
                      <a:pt x="312" y="979"/>
                    </a:lnTo>
                    <a:lnTo>
                      <a:pt x="315" y="978"/>
                    </a:lnTo>
                    <a:lnTo>
                      <a:pt x="316" y="974"/>
                    </a:lnTo>
                    <a:lnTo>
                      <a:pt x="312" y="969"/>
                    </a:lnTo>
                    <a:lnTo>
                      <a:pt x="309" y="968"/>
                    </a:lnTo>
                    <a:lnTo>
                      <a:pt x="312" y="967"/>
                    </a:lnTo>
                    <a:lnTo>
                      <a:pt x="312" y="967"/>
                    </a:lnTo>
                    <a:lnTo>
                      <a:pt x="316" y="969"/>
                    </a:lnTo>
                    <a:lnTo>
                      <a:pt x="320" y="974"/>
                    </a:lnTo>
                    <a:lnTo>
                      <a:pt x="320" y="976"/>
                    </a:lnTo>
                    <a:lnTo>
                      <a:pt x="317" y="979"/>
                    </a:lnTo>
                    <a:lnTo>
                      <a:pt x="317" y="979"/>
                    </a:lnTo>
                    <a:lnTo>
                      <a:pt x="320" y="983"/>
                    </a:lnTo>
                    <a:lnTo>
                      <a:pt x="324" y="984"/>
                    </a:lnTo>
                    <a:lnTo>
                      <a:pt x="327" y="986"/>
                    </a:lnTo>
                    <a:lnTo>
                      <a:pt x="330" y="987"/>
                    </a:lnTo>
                    <a:lnTo>
                      <a:pt x="332" y="987"/>
                    </a:lnTo>
                    <a:lnTo>
                      <a:pt x="332" y="987"/>
                    </a:lnTo>
                    <a:lnTo>
                      <a:pt x="335" y="984"/>
                    </a:lnTo>
                    <a:lnTo>
                      <a:pt x="338" y="983"/>
                    </a:lnTo>
                    <a:lnTo>
                      <a:pt x="338" y="983"/>
                    </a:lnTo>
                    <a:lnTo>
                      <a:pt x="339" y="979"/>
                    </a:lnTo>
                    <a:lnTo>
                      <a:pt x="343" y="975"/>
                    </a:lnTo>
                    <a:lnTo>
                      <a:pt x="343" y="975"/>
                    </a:lnTo>
                    <a:lnTo>
                      <a:pt x="343" y="969"/>
                    </a:lnTo>
                    <a:lnTo>
                      <a:pt x="347" y="964"/>
                    </a:lnTo>
                    <a:lnTo>
                      <a:pt x="347" y="964"/>
                    </a:lnTo>
                    <a:lnTo>
                      <a:pt x="350" y="964"/>
                    </a:lnTo>
                    <a:lnTo>
                      <a:pt x="354" y="961"/>
                    </a:lnTo>
                    <a:lnTo>
                      <a:pt x="355" y="961"/>
                    </a:lnTo>
                    <a:lnTo>
                      <a:pt x="347" y="968"/>
                    </a:lnTo>
                    <a:lnTo>
                      <a:pt x="347" y="968"/>
                    </a:lnTo>
                    <a:lnTo>
                      <a:pt x="347" y="974"/>
                    </a:lnTo>
                    <a:lnTo>
                      <a:pt x="346" y="978"/>
                    </a:lnTo>
                    <a:lnTo>
                      <a:pt x="346" y="978"/>
                    </a:lnTo>
                    <a:lnTo>
                      <a:pt x="343" y="982"/>
                    </a:lnTo>
                    <a:lnTo>
                      <a:pt x="343" y="982"/>
                    </a:lnTo>
                    <a:lnTo>
                      <a:pt x="342" y="986"/>
                    </a:lnTo>
                    <a:lnTo>
                      <a:pt x="342" y="991"/>
                    </a:lnTo>
                    <a:lnTo>
                      <a:pt x="343" y="995"/>
                    </a:lnTo>
                    <a:lnTo>
                      <a:pt x="346" y="999"/>
                    </a:lnTo>
                    <a:lnTo>
                      <a:pt x="346" y="999"/>
                    </a:lnTo>
                    <a:lnTo>
                      <a:pt x="353" y="1001"/>
                    </a:lnTo>
                    <a:lnTo>
                      <a:pt x="355" y="1001"/>
                    </a:lnTo>
                    <a:lnTo>
                      <a:pt x="358" y="1001"/>
                    </a:lnTo>
                    <a:lnTo>
                      <a:pt x="362" y="1002"/>
                    </a:lnTo>
                    <a:lnTo>
                      <a:pt x="362" y="1002"/>
                    </a:lnTo>
                    <a:lnTo>
                      <a:pt x="361" y="1003"/>
                    </a:lnTo>
                    <a:lnTo>
                      <a:pt x="361" y="1005"/>
                    </a:lnTo>
                    <a:lnTo>
                      <a:pt x="365" y="1006"/>
                    </a:lnTo>
                    <a:lnTo>
                      <a:pt x="365" y="1007"/>
                    </a:lnTo>
                    <a:lnTo>
                      <a:pt x="365" y="1007"/>
                    </a:lnTo>
                    <a:lnTo>
                      <a:pt x="361" y="1007"/>
                    </a:lnTo>
                    <a:lnTo>
                      <a:pt x="358" y="1006"/>
                    </a:lnTo>
                    <a:lnTo>
                      <a:pt x="357" y="1005"/>
                    </a:lnTo>
                    <a:lnTo>
                      <a:pt x="357" y="1005"/>
                    </a:lnTo>
                    <a:lnTo>
                      <a:pt x="351" y="1005"/>
                    </a:lnTo>
                    <a:lnTo>
                      <a:pt x="346" y="1006"/>
                    </a:lnTo>
                    <a:lnTo>
                      <a:pt x="341" y="1003"/>
                    </a:lnTo>
                    <a:lnTo>
                      <a:pt x="339" y="1005"/>
                    </a:lnTo>
                    <a:lnTo>
                      <a:pt x="339" y="1006"/>
                    </a:lnTo>
                    <a:lnTo>
                      <a:pt x="339" y="1006"/>
                    </a:lnTo>
                    <a:lnTo>
                      <a:pt x="345" y="1014"/>
                    </a:lnTo>
                    <a:lnTo>
                      <a:pt x="353" y="1026"/>
                    </a:lnTo>
                    <a:lnTo>
                      <a:pt x="361" y="1036"/>
                    </a:lnTo>
                    <a:lnTo>
                      <a:pt x="366" y="1040"/>
                    </a:lnTo>
                    <a:lnTo>
                      <a:pt x="369" y="1041"/>
                    </a:lnTo>
                    <a:lnTo>
                      <a:pt x="369" y="1041"/>
                    </a:lnTo>
                    <a:lnTo>
                      <a:pt x="377" y="1043"/>
                    </a:lnTo>
                    <a:lnTo>
                      <a:pt x="381" y="1041"/>
                    </a:lnTo>
                    <a:lnTo>
                      <a:pt x="384" y="1040"/>
                    </a:lnTo>
                    <a:lnTo>
                      <a:pt x="380" y="1037"/>
                    </a:lnTo>
                    <a:lnTo>
                      <a:pt x="381" y="1036"/>
                    </a:lnTo>
                    <a:lnTo>
                      <a:pt x="381" y="1036"/>
                    </a:lnTo>
                    <a:lnTo>
                      <a:pt x="385" y="1037"/>
                    </a:lnTo>
                    <a:lnTo>
                      <a:pt x="389" y="1037"/>
                    </a:lnTo>
                    <a:lnTo>
                      <a:pt x="398" y="1035"/>
                    </a:lnTo>
                    <a:lnTo>
                      <a:pt x="398" y="1033"/>
                    </a:lnTo>
                    <a:lnTo>
                      <a:pt x="398" y="1033"/>
                    </a:lnTo>
                    <a:lnTo>
                      <a:pt x="406" y="1033"/>
                    </a:lnTo>
                    <a:lnTo>
                      <a:pt x="408" y="1033"/>
                    </a:lnTo>
                    <a:lnTo>
                      <a:pt x="412" y="1036"/>
                    </a:lnTo>
                    <a:lnTo>
                      <a:pt x="412" y="1036"/>
                    </a:lnTo>
                    <a:lnTo>
                      <a:pt x="415" y="1039"/>
                    </a:lnTo>
                    <a:lnTo>
                      <a:pt x="415" y="1044"/>
                    </a:lnTo>
                    <a:lnTo>
                      <a:pt x="416" y="1044"/>
                    </a:lnTo>
                    <a:lnTo>
                      <a:pt x="416" y="1044"/>
                    </a:lnTo>
                    <a:lnTo>
                      <a:pt x="416" y="1037"/>
                    </a:lnTo>
                    <a:lnTo>
                      <a:pt x="419" y="1043"/>
                    </a:lnTo>
                    <a:lnTo>
                      <a:pt x="422" y="1043"/>
                    </a:lnTo>
                    <a:lnTo>
                      <a:pt x="422" y="1044"/>
                    </a:lnTo>
                    <a:lnTo>
                      <a:pt x="419" y="1045"/>
                    </a:lnTo>
                    <a:lnTo>
                      <a:pt x="419" y="1045"/>
                    </a:lnTo>
                    <a:lnTo>
                      <a:pt x="422" y="1048"/>
                    </a:lnTo>
                    <a:lnTo>
                      <a:pt x="426" y="1051"/>
                    </a:lnTo>
                    <a:lnTo>
                      <a:pt x="427" y="1051"/>
                    </a:lnTo>
                    <a:lnTo>
                      <a:pt x="427" y="1048"/>
                    </a:lnTo>
                    <a:lnTo>
                      <a:pt x="431" y="1048"/>
                    </a:lnTo>
                    <a:lnTo>
                      <a:pt x="434" y="1049"/>
                    </a:lnTo>
                    <a:lnTo>
                      <a:pt x="434" y="1049"/>
                    </a:lnTo>
                    <a:lnTo>
                      <a:pt x="437" y="1048"/>
                    </a:lnTo>
                    <a:lnTo>
                      <a:pt x="441" y="1048"/>
                    </a:lnTo>
                    <a:lnTo>
                      <a:pt x="445" y="1047"/>
                    </a:lnTo>
                    <a:lnTo>
                      <a:pt x="448" y="1045"/>
                    </a:lnTo>
                    <a:lnTo>
                      <a:pt x="450" y="1048"/>
                    </a:lnTo>
                    <a:lnTo>
                      <a:pt x="452" y="1049"/>
                    </a:lnTo>
                    <a:lnTo>
                      <a:pt x="446" y="1049"/>
                    </a:lnTo>
                    <a:lnTo>
                      <a:pt x="444" y="1052"/>
                    </a:lnTo>
                    <a:lnTo>
                      <a:pt x="442" y="1051"/>
                    </a:lnTo>
                    <a:lnTo>
                      <a:pt x="437" y="1055"/>
                    </a:lnTo>
                    <a:lnTo>
                      <a:pt x="438" y="1056"/>
                    </a:lnTo>
                    <a:lnTo>
                      <a:pt x="438" y="1056"/>
                    </a:lnTo>
                    <a:lnTo>
                      <a:pt x="435" y="1059"/>
                    </a:lnTo>
                    <a:lnTo>
                      <a:pt x="433" y="1059"/>
                    </a:lnTo>
                    <a:lnTo>
                      <a:pt x="429" y="1059"/>
                    </a:lnTo>
                    <a:lnTo>
                      <a:pt x="429" y="1062"/>
                    </a:lnTo>
                    <a:lnTo>
                      <a:pt x="426" y="1064"/>
                    </a:lnTo>
                    <a:lnTo>
                      <a:pt x="425" y="1067"/>
                    </a:lnTo>
                    <a:lnTo>
                      <a:pt x="425" y="1067"/>
                    </a:lnTo>
                    <a:lnTo>
                      <a:pt x="422" y="1067"/>
                    </a:lnTo>
                    <a:lnTo>
                      <a:pt x="421" y="1067"/>
                    </a:lnTo>
                    <a:lnTo>
                      <a:pt x="419" y="1070"/>
                    </a:lnTo>
                    <a:lnTo>
                      <a:pt x="418" y="1071"/>
                    </a:lnTo>
                    <a:lnTo>
                      <a:pt x="410" y="1068"/>
                    </a:lnTo>
                    <a:lnTo>
                      <a:pt x="408" y="1070"/>
                    </a:lnTo>
                    <a:lnTo>
                      <a:pt x="406" y="1068"/>
                    </a:lnTo>
                    <a:lnTo>
                      <a:pt x="404" y="1067"/>
                    </a:lnTo>
                    <a:lnTo>
                      <a:pt x="403" y="1068"/>
                    </a:lnTo>
                    <a:lnTo>
                      <a:pt x="400" y="1070"/>
                    </a:lnTo>
                    <a:lnTo>
                      <a:pt x="400" y="1070"/>
                    </a:lnTo>
                    <a:lnTo>
                      <a:pt x="398" y="1067"/>
                    </a:lnTo>
                    <a:lnTo>
                      <a:pt x="395" y="1066"/>
                    </a:lnTo>
                    <a:lnTo>
                      <a:pt x="393" y="1066"/>
                    </a:lnTo>
                    <a:lnTo>
                      <a:pt x="392" y="1068"/>
                    </a:lnTo>
                    <a:lnTo>
                      <a:pt x="391" y="1068"/>
                    </a:lnTo>
                    <a:lnTo>
                      <a:pt x="391" y="1068"/>
                    </a:lnTo>
                    <a:lnTo>
                      <a:pt x="391" y="1066"/>
                    </a:lnTo>
                    <a:lnTo>
                      <a:pt x="392" y="1062"/>
                    </a:lnTo>
                    <a:lnTo>
                      <a:pt x="393" y="1062"/>
                    </a:lnTo>
                    <a:lnTo>
                      <a:pt x="395" y="1060"/>
                    </a:lnTo>
                    <a:lnTo>
                      <a:pt x="391" y="1055"/>
                    </a:lnTo>
                    <a:lnTo>
                      <a:pt x="391" y="1055"/>
                    </a:lnTo>
                    <a:lnTo>
                      <a:pt x="391" y="1055"/>
                    </a:lnTo>
                    <a:lnTo>
                      <a:pt x="389" y="1059"/>
                    </a:lnTo>
                    <a:lnTo>
                      <a:pt x="389" y="1063"/>
                    </a:lnTo>
                    <a:lnTo>
                      <a:pt x="385" y="1067"/>
                    </a:lnTo>
                    <a:lnTo>
                      <a:pt x="380" y="1073"/>
                    </a:lnTo>
                    <a:lnTo>
                      <a:pt x="374" y="1077"/>
                    </a:lnTo>
                    <a:lnTo>
                      <a:pt x="372" y="1077"/>
                    </a:lnTo>
                    <a:lnTo>
                      <a:pt x="368" y="1078"/>
                    </a:lnTo>
                    <a:lnTo>
                      <a:pt x="368" y="1078"/>
                    </a:lnTo>
                    <a:lnTo>
                      <a:pt x="373" y="1090"/>
                    </a:lnTo>
                    <a:lnTo>
                      <a:pt x="374" y="1096"/>
                    </a:lnTo>
                    <a:lnTo>
                      <a:pt x="374" y="1102"/>
                    </a:lnTo>
                    <a:lnTo>
                      <a:pt x="368" y="1108"/>
                    </a:lnTo>
                    <a:lnTo>
                      <a:pt x="372" y="1111"/>
                    </a:lnTo>
                    <a:lnTo>
                      <a:pt x="373" y="1108"/>
                    </a:lnTo>
                    <a:lnTo>
                      <a:pt x="373" y="1108"/>
                    </a:lnTo>
                    <a:lnTo>
                      <a:pt x="379" y="1111"/>
                    </a:lnTo>
                    <a:lnTo>
                      <a:pt x="385" y="1116"/>
                    </a:lnTo>
                    <a:lnTo>
                      <a:pt x="393" y="1120"/>
                    </a:lnTo>
                    <a:lnTo>
                      <a:pt x="398" y="1121"/>
                    </a:lnTo>
                    <a:lnTo>
                      <a:pt x="402" y="1123"/>
                    </a:lnTo>
                    <a:lnTo>
                      <a:pt x="403" y="1124"/>
                    </a:lnTo>
                    <a:lnTo>
                      <a:pt x="404" y="1124"/>
                    </a:lnTo>
                    <a:lnTo>
                      <a:pt x="403" y="1119"/>
                    </a:lnTo>
                    <a:lnTo>
                      <a:pt x="406" y="1117"/>
                    </a:lnTo>
                    <a:lnTo>
                      <a:pt x="406" y="1117"/>
                    </a:lnTo>
                    <a:lnTo>
                      <a:pt x="415" y="1119"/>
                    </a:lnTo>
                    <a:lnTo>
                      <a:pt x="419" y="1120"/>
                    </a:lnTo>
                    <a:lnTo>
                      <a:pt x="423" y="1121"/>
                    </a:lnTo>
                    <a:lnTo>
                      <a:pt x="423" y="1121"/>
                    </a:lnTo>
                    <a:lnTo>
                      <a:pt x="425" y="1121"/>
                    </a:lnTo>
                    <a:lnTo>
                      <a:pt x="426" y="1119"/>
                    </a:lnTo>
                    <a:lnTo>
                      <a:pt x="426" y="1117"/>
                    </a:lnTo>
                    <a:lnTo>
                      <a:pt x="422" y="1113"/>
                    </a:lnTo>
                    <a:lnTo>
                      <a:pt x="422" y="1112"/>
                    </a:lnTo>
                    <a:lnTo>
                      <a:pt x="422" y="1112"/>
                    </a:lnTo>
                    <a:lnTo>
                      <a:pt x="423" y="1109"/>
                    </a:lnTo>
                    <a:lnTo>
                      <a:pt x="425" y="1106"/>
                    </a:lnTo>
                    <a:lnTo>
                      <a:pt x="431" y="1104"/>
                    </a:lnTo>
                    <a:lnTo>
                      <a:pt x="437" y="1104"/>
                    </a:lnTo>
                    <a:lnTo>
                      <a:pt x="440" y="1102"/>
                    </a:lnTo>
                    <a:lnTo>
                      <a:pt x="440" y="1105"/>
                    </a:lnTo>
                    <a:lnTo>
                      <a:pt x="440" y="1105"/>
                    </a:lnTo>
                    <a:lnTo>
                      <a:pt x="442" y="1106"/>
                    </a:lnTo>
                    <a:lnTo>
                      <a:pt x="445" y="1106"/>
                    </a:lnTo>
                    <a:lnTo>
                      <a:pt x="448" y="1108"/>
                    </a:lnTo>
                    <a:lnTo>
                      <a:pt x="450" y="1109"/>
                    </a:lnTo>
                    <a:lnTo>
                      <a:pt x="450" y="1109"/>
                    </a:lnTo>
                    <a:lnTo>
                      <a:pt x="454" y="1111"/>
                    </a:lnTo>
                    <a:lnTo>
                      <a:pt x="457" y="1112"/>
                    </a:lnTo>
                    <a:lnTo>
                      <a:pt x="459" y="1111"/>
                    </a:lnTo>
                    <a:lnTo>
                      <a:pt x="459" y="1108"/>
                    </a:lnTo>
                    <a:lnTo>
                      <a:pt x="467" y="1104"/>
                    </a:lnTo>
                    <a:lnTo>
                      <a:pt x="469" y="1105"/>
                    </a:lnTo>
                    <a:lnTo>
                      <a:pt x="471" y="1108"/>
                    </a:lnTo>
                    <a:lnTo>
                      <a:pt x="473" y="1108"/>
                    </a:lnTo>
                    <a:lnTo>
                      <a:pt x="475" y="1106"/>
                    </a:lnTo>
                    <a:lnTo>
                      <a:pt x="478" y="1105"/>
                    </a:lnTo>
                    <a:lnTo>
                      <a:pt x="483" y="1108"/>
                    </a:lnTo>
                    <a:lnTo>
                      <a:pt x="486" y="1106"/>
                    </a:lnTo>
                    <a:lnTo>
                      <a:pt x="487" y="1108"/>
                    </a:lnTo>
                    <a:lnTo>
                      <a:pt x="488" y="1105"/>
                    </a:lnTo>
                    <a:lnTo>
                      <a:pt x="488" y="1105"/>
                    </a:lnTo>
                    <a:lnTo>
                      <a:pt x="482" y="1100"/>
                    </a:lnTo>
                    <a:lnTo>
                      <a:pt x="482" y="1100"/>
                    </a:lnTo>
                    <a:lnTo>
                      <a:pt x="480" y="1097"/>
                    </a:lnTo>
                    <a:lnTo>
                      <a:pt x="482" y="1093"/>
                    </a:lnTo>
                    <a:lnTo>
                      <a:pt x="482" y="1093"/>
                    </a:lnTo>
                    <a:lnTo>
                      <a:pt x="483" y="1087"/>
                    </a:lnTo>
                    <a:lnTo>
                      <a:pt x="484" y="1085"/>
                    </a:lnTo>
                    <a:lnTo>
                      <a:pt x="492" y="1079"/>
                    </a:lnTo>
                    <a:lnTo>
                      <a:pt x="492" y="1079"/>
                    </a:lnTo>
                    <a:lnTo>
                      <a:pt x="498" y="1078"/>
                    </a:lnTo>
                    <a:lnTo>
                      <a:pt x="503" y="1077"/>
                    </a:lnTo>
                    <a:lnTo>
                      <a:pt x="506" y="1078"/>
                    </a:lnTo>
                    <a:lnTo>
                      <a:pt x="507" y="1077"/>
                    </a:lnTo>
                    <a:lnTo>
                      <a:pt x="507" y="1077"/>
                    </a:lnTo>
                    <a:lnTo>
                      <a:pt x="511" y="1075"/>
                    </a:lnTo>
                    <a:lnTo>
                      <a:pt x="514" y="1074"/>
                    </a:lnTo>
                    <a:lnTo>
                      <a:pt x="513" y="1079"/>
                    </a:lnTo>
                    <a:lnTo>
                      <a:pt x="516" y="1078"/>
                    </a:lnTo>
                    <a:lnTo>
                      <a:pt x="518" y="1075"/>
                    </a:lnTo>
                    <a:lnTo>
                      <a:pt x="518" y="1075"/>
                    </a:lnTo>
                    <a:lnTo>
                      <a:pt x="524" y="1075"/>
                    </a:lnTo>
                    <a:lnTo>
                      <a:pt x="530" y="1073"/>
                    </a:lnTo>
                    <a:lnTo>
                      <a:pt x="535" y="1074"/>
                    </a:lnTo>
                    <a:lnTo>
                      <a:pt x="541" y="1068"/>
                    </a:lnTo>
                    <a:lnTo>
                      <a:pt x="541" y="1068"/>
                    </a:lnTo>
                    <a:lnTo>
                      <a:pt x="541" y="1071"/>
                    </a:lnTo>
                    <a:lnTo>
                      <a:pt x="540" y="1074"/>
                    </a:lnTo>
                    <a:lnTo>
                      <a:pt x="537" y="1079"/>
                    </a:lnTo>
                    <a:lnTo>
                      <a:pt x="537" y="1079"/>
                    </a:lnTo>
                    <a:lnTo>
                      <a:pt x="545" y="1087"/>
                    </a:lnTo>
                    <a:lnTo>
                      <a:pt x="552" y="1096"/>
                    </a:lnTo>
                    <a:lnTo>
                      <a:pt x="555" y="1093"/>
                    </a:lnTo>
                    <a:lnTo>
                      <a:pt x="559" y="1093"/>
                    </a:lnTo>
                    <a:lnTo>
                      <a:pt x="560" y="1094"/>
                    </a:lnTo>
                    <a:lnTo>
                      <a:pt x="560" y="1096"/>
                    </a:lnTo>
                    <a:lnTo>
                      <a:pt x="558" y="1094"/>
                    </a:lnTo>
                    <a:lnTo>
                      <a:pt x="554" y="1096"/>
                    </a:lnTo>
                    <a:lnTo>
                      <a:pt x="552" y="1097"/>
                    </a:lnTo>
                    <a:lnTo>
                      <a:pt x="552" y="1097"/>
                    </a:lnTo>
                    <a:lnTo>
                      <a:pt x="558" y="1102"/>
                    </a:lnTo>
                    <a:lnTo>
                      <a:pt x="560" y="1108"/>
                    </a:lnTo>
                    <a:lnTo>
                      <a:pt x="560" y="1108"/>
                    </a:lnTo>
                    <a:lnTo>
                      <a:pt x="560" y="1112"/>
                    </a:lnTo>
                    <a:lnTo>
                      <a:pt x="560" y="1112"/>
                    </a:lnTo>
                    <a:lnTo>
                      <a:pt x="564" y="1119"/>
                    </a:lnTo>
                    <a:lnTo>
                      <a:pt x="567" y="1125"/>
                    </a:lnTo>
                    <a:lnTo>
                      <a:pt x="567" y="1125"/>
                    </a:lnTo>
                    <a:lnTo>
                      <a:pt x="568" y="1130"/>
                    </a:lnTo>
                    <a:lnTo>
                      <a:pt x="568" y="1134"/>
                    </a:lnTo>
                    <a:lnTo>
                      <a:pt x="570" y="1138"/>
                    </a:lnTo>
                    <a:lnTo>
                      <a:pt x="573" y="1143"/>
                    </a:lnTo>
                    <a:lnTo>
                      <a:pt x="571" y="1144"/>
                    </a:lnTo>
                    <a:lnTo>
                      <a:pt x="574" y="1149"/>
                    </a:lnTo>
                    <a:lnTo>
                      <a:pt x="577" y="1149"/>
                    </a:lnTo>
                    <a:lnTo>
                      <a:pt x="577" y="1149"/>
                    </a:lnTo>
                    <a:lnTo>
                      <a:pt x="579" y="1154"/>
                    </a:lnTo>
                    <a:lnTo>
                      <a:pt x="582" y="1161"/>
                    </a:lnTo>
                    <a:lnTo>
                      <a:pt x="589" y="1163"/>
                    </a:lnTo>
                    <a:lnTo>
                      <a:pt x="590" y="1163"/>
                    </a:lnTo>
                    <a:lnTo>
                      <a:pt x="590" y="1162"/>
                    </a:lnTo>
                    <a:lnTo>
                      <a:pt x="597" y="1163"/>
                    </a:lnTo>
                    <a:lnTo>
                      <a:pt x="600" y="1161"/>
                    </a:lnTo>
                    <a:lnTo>
                      <a:pt x="600" y="1161"/>
                    </a:lnTo>
                    <a:lnTo>
                      <a:pt x="604" y="1159"/>
                    </a:lnTo>
                    <a:lnTo>
                      <a:pt x="608" y="1162"/>
                    </a:lnTo>
                    <a:lnTo>
                      <a:pt x="611" y="1166"/>
                    </a:lnTo>
                    <a:lnTo>
                      <a:pt x="611" y="1170"/>
                    </a:lnTo>
                    <a:lnTo>
                      <a:pt x="611" y="1170"/>
                    </a:lnTo>
                    <a:lnTo>
                      <a:pt x="613" y="1173"/>
                    </a:lnTo>
                    <a:lnTo>
                      <a:pt x="617" y="1176"/>
                    </a:lnTo>
                    <a:lnTo>
                      <a:pt x="624" y="1181"/>
                    </a:lnTo>
                    <a:lnTo>
                      <a:pt x="624" y="1184"/>
                    </a:lnTo>
                    <a:lnTo>
                      <a:pt x="627" y="1185"/>
                    </a:lnTo>
                    <a:lnTo>
                      <a:pt x="634" y="1193"/>
                    </a:lnTo>
                    <a:lnTo>
                      <a:pt x="634" y="1197"/>
                    </a:lnTo>
                    <a:lnTo>
                      <a:pt x="634" y="1197"/>
                    </a:lnTo>
                    <a:lnTo>
                      <a:pt x="639" y="1203"/>
                    </a:lnTo>
                    <a:lnTo>
                      <a:pt x="639" y="1203"/>
                    </a:lnTo>
                    <a:lnTo>
                      <a:pt x="640" y="1205"/>
                    </a:lnTo>
                    <a:lnTo>
                      <a:pt x="642" y="1210"/>
                    </a:lnTo>
                    <a:lnTo>
                      <a:pt x="642" y="1210"/>
                    </a:lnTo>
                    <a:lnTo>
                      <a:pt x="646" y="1211"/>
                    </a:lnTo>
                    <a:lnTo>
                      <a:pt x="650" y="1211"/>
                    </a:lnTo>
                    <a:lnTo>
                      <a:pt x="655" y="1210"/>
                    </a:lnTo>
                    <a:lnTo>
                      <a:pt x="655" y="1210"/>
                    </a:lnTo>
                    <a:lnTo>
                      <a:pt x="663" y="1212"/>
                    </a:lnTo>
                    <a:lnTo>
                      <a:pt x="672" y="1214"/>
                    </a:lnTo>
                    <a:lnTo>
                      <a:pt x="674" y="1214"/>
                    </a:lnTo>
                    <a:lnTo>
                      <a:pt x="674" y="1214"/>
                    </a:lnTo>
                    <a:lnTo>
                      <a:pt x="678" y="1215"/>
                    </a:lnTo>
                    <a:lnTo>
                      <a:pt x="685" y="1216"/>
                    </a:lnTo>
                    <a:lnTo>
                      <a:pt x="697" y="1218"/>
                    </a:lnTo>
                    <a:lnTo>
                      <a:pt x="700" y="1220"/>
                    </a:lnTo>
                    <a:lnTo>
                      <a:pt x="700" y="1220"/>
                    </a:lnTo>
                    <a:lnTo>
                      <a:pt x="711" y="1220"/>
                    </a:lnTo>
                    <a:lnTo>
                      <a:pt x="722" y="1220"/>
                    </a:lnTo>
                    <a:lnTo>
                      <a:pt x="734" y="1214"/>
                    </a:lnTo>
                    <a:lnTo>
                      <a:pt x="734" y="1214"/>
                    </a:lnTo>
                    <a:lnTo>
                      <a:pt x="737" y="1215"/>
                    </a:lnTo>
                    <a:lnTo>
                      <a:pt x="739" y="1218"/>
                    </a:lnTo>
                    <a:lnTo>
                      <a:pt x="741" y="1218"/>
                    </a:lnTo>
                    <a:lnTo>
                      <a:pt x="742" y="1215"/>
                    </a:lnTo>
                    <a:lnTo>
                      <a:pt x="743" y="1214"/>
                    </a:lnTo>
                    <a:lnTo>
                      <a:pt x="743" y="1215"/>
                    </a:lnTo>
                    <a:lnTo>
                      <a:pt x="742" y="1216"/>
                    </a:lnTo>
                    <a:lnTo>
                      <a:pt x="743" y="1218"/>
                    </a:lnTo>
                    <a:lnTo>
                      <a:pt x="746" y="1216"/>
                    </a:lnTo>
                    <a:lnTo>
                      <a:pt x="749" y="1218"/>
                    </a:lnTo>
                    <a:lnTo>
                      <a:pt x="749" y="1218"/>
                    </a:lnTo>
                    <a:lnTo>
                      <a:pt x="754" y="1214"/>
                    </a:lnTo>
                    <a:lnTo>
                      <a:pt x="757" y="1211"/>
                    </a:lnTo>
                    <a:lnTo>
                      <a:pt x="760" y="1211"/>
                    </a:lnTo>
                    <a:lnTo>
                      <a:pt x="762" y="1208"/>
                    </a:lnTo>
                    <a:lnTo>
                      <a:pt x="765" y="1207"/>
                    </a:lnTo>
                    <a:lnTo>
                      <a:pt x="765" y="1207"/>
                    </a:lnTo>
                    <a:lnTo>
                      <a:pt x="771" y="1210"/>
                    </a:lnTo>
                    <a:lnTo>
                      <a:pt x="776" y="1210"/>
                    </a:lnTo>
                    <a:lnTo>
                      <a:pt x="784" y="1205"/>
                    </a:lnTo>
                    <a:lnTo>
                      <a:pt x="784" y="1204"/>
                    </a:lnTo>
                    <a:lnTo>
                      <a:pt x="784" y="1204"/>
                    </a:lnTo>
                    <a:lnTo>
                      <a:pt x="783" y="1200"/>
                    </a:lnTo>
                    <a:lnTo>
                      <a:pt x="784" y="1193"/>
                    </a:lnTo>
                    <a:lnTo>
                      <a:pt x="786" y="1182"/>
                    </a:lnTo>
                    <a:lnTo>
                      <a:pt x="786" y="1181"/>
                    </a:lnTo>
                    <a:lnTo>
                      <a:pt x="783" y="1181"/>
                    </a:lnTo>
                    <a:lnTo>
                      <a:pt x="787" y="1176"/>
                    </a:lnTo>
                    <a:lnTo>
                      <a:pt x="788" y="1178"/>
                    </a:lnTo>
                    <a:lnTo>
                      <a:pt x="795" y="1170"/>
                    </a:lnTo>
                    <a:lnTo>
                      <a:pt x="795" y="1170"/>
                    </a:lnTo>
                    <a:lnTo>
                      <a:pt x="795" y="1163"/>
                    </a:lnTo>
                    <a:lnTo>
                      <a:pt x="798" y="1158"/>
                    </a:lnTo>
                    <a:lnTo>
                      <a:pt x="800" y="1158"/>
                    </a:lnTo>
                    <a:lnTo>
                      <a:pt x="802" y="1154"/>
                    </a:lnTo>
                    <a:lnTo>
                      <a:pt x="802" y="1154"/>
                    </a:lnTo>
                    <a:lnTo>
                      <a:pt x="803" y="1153"/>
                    </a:lnTo>
                    <a:lnTo>
                      <a:pt x="803" y="1153"/>
                    </a:lnTo>
                    <a:lnTo>
                      <a:pt x="809" y="1153"/>
                    </a:lnTo>
                    <a:lnTo>
                      <a:pt x="811" y="1151"/>
                    </a:lnTo>
                    <a:lnTo>
                      <a:pt x="817" y="1146"/>
                    </a:lnTo>
                    <a:lnTo>
                      <a:pt x="817" y="1146"/>
                    </a:lnTo>
                    <a:lnTo>
                      <a:pt x="829" y="1138"/>
                    </a:lnTo>
                    <a:lnTo>
                      <a:pt x="829" y="1138"/>
                    </a:lnTo>
                    <a:lnTo>
                      <a:pt x="830" y="1135"/>
                    </a:lnTo>
                    <a:lnTo>
                      <a:pt x="836" y="1135"/>
                    </a:lnTo>
                    <a:lnTo>
                      <a:pt x="836" y="1135"/>
                    </a:lnTo>
                    <a:lnTo>
                      <a:pt x="841" y="1130"/>
                    </a:lnTo>
                    <a:lnTo>
                      <a:pt x="848" y="1124"/>
                    </a:lnTo>
                    <a:lnTo>
                      <a:pt x="848" y="1124"/>
                    </a:lnTo>
                    <a:lnTo>
                      <a:pt x="848" y="1120"/>
                    </a:lnTo>
                    <a:lnTo>
                      <a:pt x="849" y="1116"/>
                    </a:lnTo>
                    <a:lnTo>
                      <a:pt x="856" y="1113"/>
                    </a:lnTo>
                    <a:lnTo>
                      <a:pt x="855" y="1111"/>
                    </a:lnTo>
                    <a:lnTo>
                      <a:pt x="852" y="1106"/>
                    </a:lnTo>
                    <a:lnTo>
                      <a:pt x="852" y="1105"/>
                    </a:lnTo>
                    <a:lnTo>
                      <a:pt x="852" y="1105"/>
                    </a:lnTo>
                    <a:lnTo>
                      <a:pt x="856" y="1108"/>
                    </a:lnTo>
                    <a:lnTo>
                      <a:pt x="857" y="1111"/>
                    </a:lnTo>
                    <a:lnTo>
                      <a:pt x="859" y="1115"/>
                    </a:lnTo>
                    <a:lnTo>
                      <a:pt x="853" y="1117"/>
                    </a:lnTo>
                    <a:lnTo>
                      <a:pt x="852" y="1120"/>
                    </a:lnTo>
                    <a:lnTo>
                      <a:pt x="852" y="1120"/>
                    </a:lnTo>
                    <a:lnTo>
                      <a:pt x="860" y="1125"/>
                    </a:lnTo>
                    <a:lnTo>
                      <a:pt x="872" y="1124"/>
                    </a:lnTo>
                    <a:lnTo>
                      <a:pt x="872" y="1123"/>
                    </a:lnTo>
                    <a:lnTo>
                      <a:pt x="875" y="1124"/>
                    </a:lnTo>
                    <a:lnTo>
                      <a:pt x="878" y="1127"/>
                    </a:lnTo>
                    <a:lnTo>
                      <a:pt x="879" y="1127"/>
                    </a:lnTo>
                    <a:lnTo>
                      <a:pt x="879" y="1127"/>
                    </a:lnTo>
                    <a:lnTo>
                      <a:pt x="890" y="1123"/>
                    </a:lnTo>
                    <a:lnTo>
                      <a:pt x="901" y="1119"/>
                    </a:lnTo>
                    <a:lnTo>
                      <a:pt x="901" y="1119"/>
                    </a:lnTo>
                    <a:lnTo>
                      <a:pt x="919" y="1106"/>
                    </a:lnTo>
                    <a:lnTo>
                      <a:pt x="919" y="1106"/>
                    </a:lnTo>
                    <a:lnTo>
                      <a:pt x="923" y="1106"/>
                    </a:lnTo>
                    <a:lnTo>
                      <a:pt x="923" y="1106"/>
                    </a:lnTo>
                    <a:lnTo>
                      <a:pt x="928" y="1102"/>
                    </a:lnTo>
                    <a:lnTo>
                      <a:pt x="928" y="1102"/>
                    </a:lnTo>
                    <a:lnTo>
                      <a:pt x="933" y="1100"/>
                    </a:lnTo>
                    <a:lnTo>
                      <a:pt x="939" y="1098"/>
                    </a:lnTo>
                    <a:lnTo>
                      <a:pt x="950" y="1097"/>
                    </a:lnTo>
                    <a:lnTo>
                      <a:pt x="955" y="1086"/>
                    </a:lnTo>
                    <a:lnTo>
                      <a:pt x="955" y="1086"/>
                    </a:lnTo>
                    <a:lnTo>
                      <a:pt x="956" y="1083"/>
                    </a:lnTo>
                    <a:lnTo>
                      <a:pt x="959" y="1082"/>
                    </a:lnTo>
                    <a:lnTo>
                      <a:pt x="965" y="1079"/>
                    </a:lnTo>
                    <a:lnTo>
                      <a:pt x="965" y="1079"/>
                    </a:lnTo>
                    <a:lnTo>
                      <a:pt x="966" y="1077"/>
                    </a:lnTo>
                    <a:lnTo>
                      <a:pt x="969" y="1074"/>
                    </a:lnTo>
                    <a:lnTo>
                      <a:pt x="969" y="1071"/>
                    </a:lnTo>
                    <a:lnTo>
                      <a:pt x="966" y="106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sp>
          <p:nvSpPr>
            <p:cNvPr id="100" name="Freeform 360">
              <a:extLst>
                <a:ext uri="{FF2B5EF4-FFF2-40B4-BE49-F238E27FC236}">
                  <a16:creationId xmlns:a16="http://schemas.microsoft.com/office/drawing/2014/main" id="{D5702550-C401-42DE-B968-FD41452F81BC}"/>
                </a:ext>
              </a:extLst>
            </p:cNvPr>
            <p:cNvSpPr>
              <a:spLocks/>
            </p:cNvSpPr>
            <p:nvPr/>
          </p:nvSpPr>
          <p:spPr bwMode="auto">
            <a:xfrm>
              <a:off x="3775075" y="5392806"/>
              <a:ext cx="238125" cy="200025"/>
            </a:xfrm>
            <a:custGeom>
              <a:avLst/>
              <a:gdLst>
                <a:gd name="T0" fmla="*/ 276 w 299"/>
                <a:gd name="T1" fmla="*/ 55 h 253"/>
                <a:gd name="T2" fmla="*/ 274 w 299"/>
                <a:gd name="T3" fmla="*/ 49 h 253"/>
                <a:gd name="T4" fmla="*/ 259 w 299"/>
                <a:gd name="T5" fmla="*/ 34 h 253"/>
                <a:gd name="T6" fmla="*/ 249 w 299"/>
                <a:gd name="T7" fmla="*/ 38 h 253"/>
                <a:gd name="T8" fmla="*/ 225 w 299"/>
                <a:gd name="T9" fmla="*/ 42 h 253"/>
                <a:gd name="T10" fmla="*/ 211 w 299"/>
                <a:gd name="T11" fmla="*/ 53 h 253"/>
                <a:gd name="T12" fmla="*/ 194 w 299"/>
                <a:gd name="T13" fmla="*/ 46 h 253"/>
                <a:gd name="T14" fmla="*/ 188 w 299"/>
                <a:gd name="T15" fmla="*/ 33 h 253"/>
                <a:gd name="T16" fmla="*/ 175 w 299"/>
                <a:gd name="T17" fmla="*/ 7 h 253"/>
                <a:gd name="T18" fmla="*/ 137 w 299"/>
                <a:gd name="T19" fmla="*/ 3 h 253"/>
                <a:gd name="T20" fmla="*/ 126 w 299"/>
                <a:gd name="T21" fmla="*/ 7 h 253"/>
                <a:gd name="T22" fmla="*/ 120 w 299"/>
                <a:gd name="T23" fmla="*/ 4 h 253"/>
                <a:gd name="T24" fmla="*/ 114 w 299"/>
                <a:gd name="T25" fmla="*/ 17 h 253"/>
                <a:gd name="T26" fmla="*/ 107 w 299"/>
                <a:gd name="T27" fmla="*/ 15 h 253"/>
                <a:gd name="T28" fmla="*/ 91 w 299"/>
                <a:gd name="T29" fmla="*/ 25 h 253"/>
                <a:gd name="T30" fmla="*/ 85 w 299"/>
                <a:gd name="T31" fmla="*/ 31 h 253"/>
                <a:gd name="T32" fmla="*/ 70 w 299"/>
                <a:gd name="T33" fmla="*/ 37 h 253"/>
                <a:gd name="T34" fmla="*/ 51 w 299"/>
                <a:gd name="T35" fmla="*/ 45 h 253"/>
                <a:gd name="T36" fmla="*/ 46 w 299"/>
                <a:gd name="T37" fmla="*/ 49 h 253"/>
                <a:gd name="T38" fmla="*/ 23 w 299"/>
                <a:gd name="T39" fmla="*/ 49 h 253"/>
                <a:gd name="T40" fmla="*/ 2 w 299"/>
                <a:gd name="T41" fmla="*/ 42 h 253"/>
                <a:gd name="T42" fmla="*/ 6 w 299"/>
                <a:gd name="T43" fmla="*/ 75 h 253"/>
                <a:gd name="T44" fmla="*/ 5 w 299"/>
                <a:gd name="T45" fmla="*/ 99 h 253"/>
                <a:gd name="T46" fmla="*/ 9 w 299"/>
                <a:gd name="T47" fmla="*/ 120 h 253"/>
                <a:gd name="T48" fmla="*/ 2 w 299"/>
                <a:gd name="T49" fmla="*/ 136 h 253"/>
                <a:gd name="T50" fmla="*/ 19 w 299"/>
                <a:gd name="T51" fmla="*/ 151 h 253"/>
                <a:gd name="T52" fmla="*/ 23 w 299"/>
                <a:gd name="T53" fmla="*/ 160 h 253"/>
                <a:gd name="T54" fmla="*/ 34 w 299"/>
                <a:gd name="T55" fmla="*/ 164 h 253"/>
                <a:gd name="T56" fmla="*/ 44 w 299"/>
                <a:gd name="T57" fmla="*/ 173 h 253"/>
                <a:gd name="T58" fmla="*/ 54 w 299"/>
                <a:gd name="T59" fmla="*/ 177 h 253"/>
                <a:gd name="T60" fmla="*/ 70 w 299"/>
                <a:gd name="T61" fmla="*/ 187 h 253"/>
                <a:gd name="T62" fmla="*/ 66 w 299"/>
                <a:gd name="T63" fmla="*/ 216 h 253"/>
                <a:gd name="T64" fmla="*/ 69 w 299"/>
                <a:gd name="T65" fmla="*/ 230 h 253"/>
                <a:gd name="T66" fmla="*/ 81 w 299"/>
                <a:gd name="T67" fmla="*/ 208 h 253"/>
                <a:gd name="T68" fmla="*/ 96 w 299"/>
                <a:gd name="T69" fmla="*/ 196 h 253"/>
                <a:gd name="T70" fmla="*/ 104 w 299"/>
                <a:gd name="T71" fmla="*/ 211 h 253"/>
                <a:gd name="T72" fmla="*/ 101 w 299"/>
                <a:gd name="T73" fmla="*/ 223 h 253"/>
                <a:gd name="T74" fmla="*/ 114 w 299"/>
                <a:gd name="T75" fmla="*/ 219 h 253"/>
                <a:gd name="T76" fmla="*/ 129 w 299"/>
                <a:gd name="T77" fmla="*/ 231 h 253"/>
                <a:gd name="T78" fmla="*/ 135 w 299"/>
                <a:gd name="T79" fmla="*/ 244 h 253"/>
                <a:gd name="T80" fmla="*/ 152 w 299"/>
                <a:gd name="T81" fmla="*/ 243 h 253"/>
                <a:gd name="T82" fmla="*/ 165 w 299"/>
                <a:gd name="T83" fmla="*/ 230 h 253"/>
                <a:gd name="T84" fmla="*/ 171 w 299"/>
                <a:gd name="T85" fmla="*/ 220 h 253"/>
                <a:gd name="T86" fmla="*/ 179 w 299"/>
                <a:gd name="T87" fmla="*/ 224 h 253"/>
                <a:gd name="T88" fmla="*/ 186 w 299"/>
                <a:gd name="T89" fmla="*/ 225 h 253"/>
                <a:gd name="T90" fmla="*/ 196 w 299"/>
                <a:gd name="T91" fmla="*/ 238 h 253"/>
                <a:gd name="T92" fmla="*/ 215 w 299"/>
                <a:gd name="T93" fmla="*/ 247 h 253"/>
                <a:gd name="T94" fmla="*/ 226 w 299"/>
                <a:gd name="T95" fmla="*/ 224 h 253"/>
                <a:gd name="T96" fmla="*/ 233 w 299"/>
                <a:gd name="T97" fmla="*/ 215 h 253"/>
                <a:gd name="T98" fmla="*/ 236 w 299"/>
                <a:gd name="T99" fmla="*/ 185 h 253"/>
                <a:gd name="T100" fmla="*/ 236 w 299"/>
                <a:gd name="T101" fmla="*/ 174 h 253"/>
                <a:gd name="T102" fmla="*/ 241 w 299"/>
                <a:gd name="T103" fmla="*/ 162 h 253"/>
                <a:gd name="T104" fmla="*/ 255 w 299"/>
                <a:gd name="T105" fmla="*/ 145 h 253"/>
                <a:gd name="T106" fmla="*/ 257 w 299"/>
                <a:gd name="T107" fmla="*/ 122 h 253"/>
                <a:gd name="T108" fmla="*/ 263 w 299"/>
                <a:gd name="T109" fmla="*/ 117 h 253"/>
                <a:gd name="T110" fmla="*/ 268 w 299"/>
                <a:gd name="T111" fmla="*/ 112 h 253"/>
                <a:gd name="T112" fmla="*/ 268 w 299"/>
                <a:gd name="T113" fmla="*/ 105 h 253"/>
                <a:gd name="T114" fmla="*/ 272 w 299"/>
                <a:gd name="T115" fmla="*/ 105 h 253"/>
                <a:gd name="T116" fmla="*/ 275 w 299"/>
                <a:gd name="T117" fmla="*/ 95 h 253"/>
                <a:gd name="T118" fmla="*/ 299 w 299"/>
                <a:gd name="T119" fmla="*/ 90 h 253"/>
                <a:gd name="T120" fmla="*/ 285 w 299"/>
                <a:gd name="T121" fmla="*/ 7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9" h="253">
                  <a:moveTo>
                    <a:pt x="285" y="76"/>
                  </a:moveTo>
                  <a:lnTo>
                    <a:pt x="276" y="55"/>
                  </a:lnTo>
                  <a:lnTo>
                    <a:pt x="271" y="53"/>
                  </a:lnTo>
                  <a:lnTo>
                    <a:pt x="274" y="49"/>
                  </a:lnTo>
                  <a:lnTo>
                    <a:pt x="270" y="44"/>
                  </a:lnTo>
                  <a:lnTo>
                    <a:pt x="259" y="34"/>
                  </a:lnTo>
                  <a:lnTo>
                    <a:pt x="251" y="40"/>
                  </a:lnTo>
                  <a:lnTo>
                    <a:pt x="249" y="38"/>
                  </a:lnTo>
                  <a:lnTo>
                    <a:pt x="229" y="41"/>
                  </a:lnTo>
                  <a:lnTo>
                    <a:pt x="225" y="42"/>
                  </a:lnTo>
                  <a:lnTo>
                    <a:pt x="213" y="48"/>
                  </a:lnTo>
                  <a:lnTo>
                    <a:pt x="211" y="53"/>
                  </a:lnTo>
                  <a:lnTo>
                    <a:pt x="206" y="53"/>
                  </a:lnTo>
                  <a:lnTo>
                    <a:pt x="194" y="46"/>
                  </a:lnTo>
                  <a:lnTo>
                    <a:pt x="187" y="38"/>
                  </a:lnTo>
                  <a:lnTo>
                    <a:pt x="188" y="33"/>
                  </a:lnTo>
                  <a:lnTo>
                    <a:pt x="175" y="29"/>
                  </a:lnTo>
                  <a:lnTo>
                    <a:pt x="175" y="7"/>
                  </a:lnTo>
                  <a:lnTo>
                    <a:pt x="141" y="0"/>
                  </a:lnTo>
                  <a:lnTo>
                    <a:pt x="137" y="3"/>
                  </a:lnTo>
                  <a:lnTo>
                    <a:pt x="120" y="4"/>
                  </a:lnTo>
                  <a:lnTo>
                    <a:pt x="126" y="7"/>
                  </a:lnTo>
                  <a:lnTo>
                    <a:pt x="126" y="8"/>
                  </a:lnTo>
                  <a:lnTo>
                    <a:pt x="120" y="4"/>
                  </a:lnTo>
                  <a:lnTo>
                    <a:pt x="118" y="14"/>
                  </a:lnTo>
                  <a:lnTo>
                    <a:pt x="114" y="17"/>
                  </a:lnTo>
                  <a:lnTo>
                    <a:pt x="111" y="19"/>
                  </a:lnTo>
                  <a:lnTo>
                    <a:pt x="107" y="15"/>
                  </a:lnTo>
                  <a:lnTo>
                    <a:pt x="104" y="21"/>
                  </a:lnTo>
                  <a:lnTo>
                    <a:pt x="91" y="25"/>
                  </a:lnTo>
                  <a:lnTo>
                    <a:pt x="88" y="33"/>
                  </a:lnTo>
                  <a:lnTo>
                    <a:pt x="85" y="31"/>
                  </a:lnTo>
                  <a:lnTo>
                    <a:pt x="74" y="38"/>
                  </a:lnTo>
                  <a:lnTo>
                    <a:pt x="70" y="37"/>
                  </a:lnTo>
                  <a:lnTo>
                    <a:pt x="67" y="34"/>
                  </a:lnTo>
                  <a:lnTo>
                    <a:pt x="51" y="45"/>
                  </a:lnTo>
                  <a:lnTo>
                    <a:pt x="48" y="48"/>
                  </a:lnTo>
                  <a:lnTo>
                    <a:pt x="46" y="49"/>
                  </a:lnTo>
                  <a:lnTo>
                    <a:pt x="36" y="52"/>
                  </a:lnTo>
                  <a:lnTo>
                    <a:pt x="23" y="49"/>
                  </a:lnTo>
                  <a:lnTo>
                    <a:pt x="17" y="53"/>
                  </a:lnTo>
                  <a:lnTo>
                    <a:pt x="2" y="42"/>
                  </a:lnTo>
                  <a:lnTo>
                    <a:pt x="2" y="61"/>
                  </a:lnTo>
                  <a:lnTo>
                    <a:pt x="6" y="75"/>
                  </a:lnTo>
                  <a:lnTo>
                    <a:pt x="10" y="87"/>
                  </a:lnTo>
                  <a:lnTo>
                    <a:pt x="5" y="99"/>
                  </a:lnTo>
                  <a:lnTo>
                    <a:pt x="6" y="113"/>
                  </a:lnTo>
                  <a:lnTo>
                    <a:pt x="9" y="120"/>
                  </a:lnTo>
                  <a:lnTo>
                    <a:pt x="6" y="126"/>
                  </a:lnTo>
                  <a:lnTo>
                    <a:pt x="2" y="136"/>
                  </a:lnTo>
                  <a:lnTo>
                    <a:pt x="0" y="143"/>
                  </a:lnTo>
                  <a:lnTo>
                    <a:pt x="19" y="151"/>
                  </a:lnTo>
                  <a:lnTo>
                    <a:pt x="20" y="162"/>
                  </a:lnTo>
                  <a:lnTo>
                    <a:pt x="23" y="160"/>
                  </a:lnTo>
                  <a:lnTo>
                    <a:pt x="25" y="166"/>
                  </a:lnTo>
                  <a:lnTo>
                    <a:pt x="34" y="164"/>
                  </a:lnTo>
                  <a:lnTo>
                    <a:pt x="43" y="170"/>
                  </a:lnTo>
                  <a:lnTo>
                    <a:pt x="44" y="173"/>
                  </a:lnTo>
                  <a:lnTo>
                    <a:pt x="43" y="179"/>
                  </a:lnTo>
                  <a:lnTo>
                    <a:pt x="54" y="177"/>
                  </a:lnTo>
                  <a:lnTo>
                    <a:pt x="66" y="190"/>
                  </a:lnTo>
                  <a:lnTo>
                    <a:pt x="70" y="187"/>
                  </a:lnTo>
                  <a:lnTo>
                    <a:pt x="74" y="197"/>
                  </a:lnTo>
                  <a:lnTo>
                    <a:pt x="66" y="216"/>
                  </a:lnTo>
                  <a:lnTo>
                    <a:pt x="66" y="230"/>
                  </a:lnTo>
                  <a:lnTo>
                    <a:pt x="69" y="230"/>
                  </a:lnTo>
                  <a:lnTo>
                    <a:pt x="74" y="224"/>
                  </a:lnTo>
                  <a:lnTo>
                    <a:pt x="81" y="208"/>
                  </a:lnTo>
                  <a:lnTo>
                    <a:pt x="91" y="197"/>
                  </a:lnTo>
                  <a:lnTo>
                    <a:pt x="96" y="196"/>
                  </a:lnTo>
                  <a:lnTo>
                    <a:pt x="96" y="204"/>
                  </a:lnTo>
                  <a:lnTo>
                    <a:pt x="104" y="211"/>
                  </a:lnTo>
                  <a:lnTo>
                    <a:pt x="107" y="219"/>
                  </a:lnTo>
                  <a:lnTo>
                    <a:pt x="101" y="223"/>
                  </a:lnTo>
                  <a:lnTo>
                    <a:pt x="105" y="227"/>
                  </a:lnTo>
                  <a:lnTo>
                    <a:pt x="114" y="219"/>
                  </a:lnTo>
                  <a:lnTo>
                    <a:pt x="116" y="220"/>
                  </a:lnTo>
                  <a:lnTo>
                    <a:pt x="129" y="231"/>
                  </a:lnTo>
                  <a:lnTo>
                    <a:pt x="129" y="244"/>
                  </a:lnTo>
                  <a:lnTo>
                    <a:pt x="135" y="244"/>
                  </a:lnTo>
                  <a:lnTo>
                    <a:pt x="141" y="253"/>
                  </a:lnTo>
                  <a:lnTo>
                    <a:pt x="152" y="243"/>
                  </a:lnTo>
                  <a:lnTo>
                    <a:pt x="156" y="232"/>
                  </a:lnTo>
                  <a:lnTo>
                    <a:pt x="165" y="230"/>
                  </a:lnTo>
                  <a:lnTo>
                    <a:pt x="167" y="224"/>
                  </a:lnTo>
                  <a:lnTo>
                    <a:pt x="171" y="220"/>
                  </a:lnTo>
                  <a:lnTo>
                    <a:pt x="176" y="220"/>
                  </a:lnTo>
                  <a:lnTo>
                    <a:pt x="179" y="224"/>
                  </a:lnTo>
                  <a:lnTo>
                    <a:pt x="180" y="223"/>
                  </a:lnTo>
                  <a:lnTo>
                    <a:pt x="186" y="225"/>
                  </a:lnTo>
                  <a:lnTo>
                    <a:pt x="190" y="249"/>
                  </a:lnTo>
                  <a:lnTo>
                    <a:pt x="196" y="238"/>
                  </a:lnTo>
                  <a:lnTo>
                    <a:pt x="200" y="247"/>
                  </a:lnTo>
                  <a:lnTo>
                    <a:pt x="215" y="247"/>
                  </a:lnTo>
                  <a:lnTo>
                    <a:pt x="214" y="232"/>
                  </a:lnTo>
                  <a:lnTo>
                    <a:pt x="226" y="224"/>
                  </a:lnTo>
                  <a:lnTo>
                    <a:pt x="226" y="215"/>
                  </a:lnTo>
                  <a:lnTo>
                    <a:pt x="233" y="215"/>
                  </a:lnTo>
                  <a:lnTo>
                    <a:pt x="238" y="198"/>
                  </a:lnTo>
                  <a:lnTo>
                    <a:pt x="236" y="185"/>
                  </a:lnTo>
                  <a:lnTo>
                    <a:pt x="241" y="183"/>
                  </a:lnTo>
                  <a:lnTo>
                    <a:pt x="236" y="174"/>
                  </a:lnTo>
                  <a:lnTo>
                    <a:pt x="238" y="160"/>
                  </a:lnTo>
                  <a:lnTo>
                    <a:pt x="241" y="162"/>
                  </a:lnTo>
                  <a:lnTo>
                    <a:pt x="244" y="152"/>
                  </a:lnTo>
                  <a:lnTo>
                    <a:pt x="255" y="145"/>
                  </a:lnTo>
                  <a:lnTo>
                    <a:pt x="259" y="129"/>
                  </a:lnTo>
                  <a:lnTo>
                    <a:pt x="257" y="122"/>
                  </a:lnTo>
                  <a:lnTo>
                    <a:pt x="257" y="120"/>
                  </a:lnTo>
                  <a:lnTo>
                    <a:pt x="263" y="117"/>
                  </a:lnTo>
                  <a:lnTo>
                    <a:pt x="263" y="113"/>
                  </a:lnTo>
                  <a:lnTo>
                    <a:pt x="268" y="112"/>
                  </a:lnTo>
                  <a:lnTo>
                    <a:pt x="266" y="105"/>
                  </a:lnTo>
                  <a:lnTo>
                    <a:pt x="268" y="105"/>
                  </a:lnTo>
                  <a:lnTo>
                    <a:pt x="270" y="98"/>
                  </a:lnTo>
                  <a:lnTo>
                    <a:pt x="272" y="105"/>
                  </a:lnTo>
                  <a:lnTo>
                    <a:pt x="275" y="105"/>
                  </a:lnTo>
                  <a:lnTo>
                    <a:pt x="275" y="95"/>
                  </a:lnTo>
                  <a:lnTo>
                    <a:pt x="295" y="90"/>
                  </a:lnTo>
                  <a:lnTo>
                    <a:pt x="299" y="90"/>
                  </a:lnTo>
                  <a:lnTo>
                    <a:pt x="291" y="75"/>
                  </a:lnTo>
                  <a:lnTo>
                    <a:pt x="285" y="7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01" name="Freeform 361">
              <a:extLst>
                <a:ext uri="{FF2B5EF4-FFF2-40B4-BE49-F238E27FC236}">
                  <a16:creationId xmlns:a16="http://schemas.microsoft.com/office/drawing/2014/main" id="{4719216D-D80B-4A94-A149-4E7F67BE8C2C}"/>
                </a:ext>
              </a:extLst>
            </p:cNvPr>
            <p:cNvSpPr>
              <a:spLocks/>
            </p:cNvSpPr>
            <p:nvPr/>
          </p:nvSpPr>
          <p:spPr bwMode="auto">
            <a:xfrm>
              <a:off x="2265363" y="5181669"/>
              <a:ext cx="1227138" cy="1057275"/>
            </a:xfrm>
            <a:custGeom>
              <a:avLst/>
              <a:gdLst>
                <a:gd name="T0" fmla="*/ 1401 w 1545"/>
                <a:gd name="T1" fmla="*/ 696 h 1331"/>
                <a:gd name="T2" fmla="*/ 1471 w 1545"/>
                <a:gd name="T3" fmla="*/ 554 h 1331"/>
                <a:gd name="T4" fmla="*/ 1469 w 1545"/>
                <a:gd name="T5" fmla="*/ 326 h 1331"/>
                <a:gd name="T6" fmla="*/ 1468 w 1545"/>
                <a:gd name="T7" fmla="*/ 37 h 1331"/>
                <a:gd name="T8" fmla="*/ 1302 w 1545"/>
                <a:gd name="T9" fmla="*/ 53 h 1331"/>
                <a:gd name="T10" fmla="*/ 1183 w 1545"/>
                <a:gd name="T11" fmla="*/ 99 h 1331"/>
                <a:gd name="T12" fmla="*/ 1104 w 1545"/>
                <a:gd name="T13" fmla="*/ 251 h 1331"/>
                <a:gd name="T14" fmla="*/ 1118 w 1545"/>
                <a:gd name="T15" fmla="*/ 306 h 1331"/>
                <a:gd name="T16" fmla="*/ 1201 w 1545"/>
                <a:gd name="T17" fmla="*/ 201 h 1331"/>
                <a:gd name="T18" fmla="*/ 1226 w 1545"/>
                <a:gd name="T19" fmla="*/ 192 h 1331"/>
                <a:gd name="T20" fmla="*/ 1184 w 1545"/>
                <a:gd name="T21" fmla="*/ 232 h 1331"/>
                <a:gd name="T22" fmla="*/ 1099 w 1545"/>
                <a:gd name="T23" fmla="*/ 365 h 1331"/>
                <a:gd name="T24" fmla="*/ 1028 w 1545"/>
                <a:gd name="T25" fmla="*/ 433 h 1331"/>
                <a:gd name="T26" fmla="*/ 986 w 1545"/>
                <a:gd name="T27" fmla="*/ 504 h 1331"/>
                <a:gd name="T28" fmla="*/ 925 w 1545"/>
                <a:gd name="T29" fmla="*/ 563 h 1331"/>
                <a:gd name="T30" fmla="*/ 794 w 1545"/>
                <a:gd name="T31" fmla="*/ 543 h 1331"/>
                <a:gd name="T32" fmla="*/ 661 w 1545"/>
                <a:gd name="T33" fmla="*/ 544 h 1331"/>
                <a:gd name="T34" fmla="*/ 551 w 1545"/>
                <a:gd name="T35" fmla="*/ 562 h 1331"/>
                <a:gd name="T36" fmla="*/ 555 w 1545"/>
                <a:gd name="T37" fmla="*/ 642 h 1331"/>
                <a:gd name="T38" fmla="*/ 556 w 1545"/>
                <a:gd name="T39" fmla="*/ 656 h 1331"/>
                <a:gd name="T40" fmla="*/ 480 w 1545"/>
                <a:gd name="T41" fmla="*/ 687 h 1331"/>
                <a:gd name="T42" fmla="*/ 424 w 1545"/>
                <a:gd name="T43" fmla="*/ 733 h 1331"/>
                <a:gd name="T44" fmla="*/ 404 w 1545"/>
                <a:gd name="T45" fmla="*/ 832 h 1331"/>
                <a:gd name="T46" fmla="*/ 348 w 1545"/>
                <a:gd name="T47" fmla="*/ 890 h 1331"/>
                <a:gd name="T48" fmla="*/ 292 w 1545"/>
                <a:gd name="T49" fmla="*/ 936 h 1331"/>
                <a:gd name="T50" fmla="*/ 279 w 1545"/>
                <a:gd name="T51" fmla="*/ 957 h 1331"/>
                <a:gd name="T52" fmla="*/ 251 w 1545"/>
                <a:gd name="T53" fmla="*/ 1015 h 1331"/>
                <a:gd name="T54" fmla="*/ 209 w 1545"/>
                <a:gd name="T55" fmla="*/ 1057 h 1331"/>
                <a:gd name="T56" fmla="*/ 165 w 1545"/>
                <a:gd name="T57" fmla="*/ 1136 h 1331"/>
                <a:gd name="T58" fmla="*/ 102 w 1545"/>
                <a:gd name="T59" fmla="*/ 1195 h 1331"/>
                <a:gd name="T60" fmla="*/ 40 w 1545"/>
                <a:gd name="T61" fmla="*/ 1191 h 1331"/>
                <a:gd name="T62" fmla="*/ 1 w 1545"/>
                <a:gd name="T63" fmla="*/ 1267 h 1331"/>
                <a:gd name="T64" fmla="*/ 62 w 1545"/>
                <a:gd name="T65" fmla="*/ 1239 h 1331"/>
                <a:gd name="T66" fmla="*/ 148 w 1545"/>
                <a:gd name="T67" fmla="*/ 1255 h 1331"/>
                <a:gd name="T68" fmla="*/ 194 w 1545"/>
                <a:gd name="T69" fmla="*/ 1320 h 1331"/>
                <a:gd name="T70" fmla="*/ 235 w 1545"/>
                <a:gd name="T71" fmla="*/ 1263 h 1331"/>
                <a:gd name="T72" fmla="*/ 239 w 1545"/>
                <a:gd name="T73" fmla="*/ 1216 h 1331"/>
                <a:gd name="T74" fmla="*/ 243 w 1545"/>
                <a:gd name="T75" fmla="*/ 1189 h 1331"/>
                <a:gd name="T76" fmla="*/ 260 w 1545"/>
                <a:gd name="T77" fmla="*/ 1213 h 1331"/>
                <a:gd name="T78" fmla="*/ 308 w 1545"/>
                <a:gd name="T79" fmla="*/ 1166 h 1331"/>
                <a:gd name="T80" fmla="*/ 351 w 1545"/>
                <a:gd name="T81" fmla="*/ 1115 h 1331"/>
                <a:gd name="T82" fmla="*/ 414 w 1545"/>
                <a:gd name="T83" fmla="*/ 1099 h 1331"/>
                <a:gd name="T84" fmla="*/ 525 w 1545"/>
                <a:gd name="T85" fmla="*/ 1086 h 1331"/>
                <a:gd name="T86" fmla="*/ 552 w 1545"/>
                <a:gd name="T87" fmla="*/ 1083 h 1331"/>
                <a:gd name="T88" fmla="*/ 551 w 1545"/>
                <a:gd name="T89" fmla="*/ 1057 h 1331"/>
                <a:gd name="T90" fmla="*/ 580 w 1545"/>
                <a:gd name="T91" fmla="*/ 1098 h 1331"/>
                <a:gd name="T92" fmla="*/ 650 w 1545"/>
                <a:gd name="T93" fmla="*/ 1099 h 1331"/>
                <a:gd name="T94" fmla="*/ 716 w 1545"/>
                <a:gd name="T95" fmla="*/ 1170 h 1331"/>
                <a:gd name="T96" fmla="*/ 792 w 1545"/>
                <a:gd name="T97" fmla="*/ 1096 h 1331"/>
                <a:gd name="T98" fmla="*/ 785 w 1545"/>
                <a:gd name="T99" fmla="*/ 1041 h 1331"/>
                <a:gd name="T100" fmla="*/ 821 w 1545"/>
                <a:gd name="T101" fmla="*/ 947 h 1331"/>
                <a:gd name="T102" fmla="*/ 826 w 1545"/>
                <a:gd name="T103" fmla="*/ 888 h 1331"/>
                <a:gd name="T104" fmla="*/ 876 w 1545"/>
                <a:gd name="T105" fmla="*/ 902 h 1331"/>
                <a:gd name="T106" fmla="*/ 970 w 1545"/>
                <a:gd name="T107" fmla="*/ 870 h 1331"/>
                <a:gd name="T108" fmla="*/ 1107 w 1545"/>
                <a:gd name="T109" fmla="*/ 883 h 1331"/>
                <a:gd name="T110" fmla="*/ 1182 w 1545"/>
                <a:gd name="T111" fmla="*/ 945 h 1331"/>
                <a:gd name="T112" fmla="*/ 1285 w 1545"/>
                <a:gd name="T113" fmla="*/ 923 h 1331"/>
                <a:gd name="T114" fmla="*/ 1381 w 1545"/>
                <a:gd name="T115" fmla="*/ 907 h 1331"/>
                <a:gd name="T116" fmla="*/ 1339 w 1545"/>
                <a:gd name="T117" fmla="*/ 889 h 1331"/>
                <a:gd name="T118" fmla="*/ 1333 w 1545"/>
                <a:gd name="T119" fmla="*/ 859 h 1331"/>
                <a:gd name="T120" fmla="*/ 1366 w 1545"/>
                <a:gd name="T121" fmla="*/ 860 h 1331"/>
                <a:gd name="T122" fmla="*/ 1447 w 1545"/>
                <a:gd name="T123" fmla="*/ 858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5" h="1331">
                  <a:moveTo>
                    <a:pt x="1447" y="841"/>
                  </a:moveTo>
                  <a:lnTo>
                    <a:pt x="1450" y="832"/>
                  </a:lnTo>
                  <a:lnTo>
                    <a:pt x="1446" y="822"/>
                  </a:lnTo>
                  <a:lnTo>
                    <a:pt x="1433" y="831"/>
                  </a:lnTo>
                  <a:lnTo>
                    <a:pt x="1431" y="822"/>
                  </a:lnTo>
                  <a:lnTo>
                    <a:pt x="1426" y="814"/>
                  </a:lnTo>
                  <a:lnTo>
                    <a:pt x="1428" y="812"/>
                  </a:lnTo>
                  <a:lnTo>
                    <a:pt x="1424" y="803"/>
                  </a:lnTo>
                  <a:lnTo>
                    <a:pt x="1428" y="801"/>
                  </a:lnTo>
                  <a:lnTo>
                    <a:pt x="1428" y="791"/>
                  </a:lnTo>
                  <a:lnTo>
                    <a:pt x="1433" y="787"/>
                  </a:lnTo>
                  <a:lnTo>
                    <a:pt x="1428" y="783"/>
                  </a:lnTo>
                  <a:lnTo>
                    <a:pt x="1426" y="770"/>
                  </a:lnTo>
                  <a:lnTo>
                    <a:pt x="1418" y="775"/>
                  </a:lnTo>
                  <a:lnTo>
                    <a:pt x="1411" y="774"/>
                  </a:lnTo>
                  <a:lnTo>
                    <a:pt x="1409" y="768"/>
                  </a:lnTo>
                  <a:lnTo>
                    <a:pt x="1412" y="756"/>
                  </a:lnTo>
                  <a:lnTo>
                    <a:pt x="1411" y="755"/>
                  </a:lnTo>
                  <a:lnTo>
                    <a:pt x="1411" y="753"/>
                  </a:lnTo>
                  <a:lnTo>
                    <a:pt x="1414" y="749"/>
                  </a:lnTo>
                  <a:lnTo>
                    <a:pt x="1420" y="751"/>
                  </a:lnTo>
                  <a:lnTo>
                    <a:pt x="1423" y="745"/>
                  </a:lnTo>
                  <a:lnTo>
                    <a:pt x="1426" y="732"/>
                  </a:lnTo>
                  <a:lnTo>
                    <a:pt x="1414" y="729"/>
                  </a:lnTo>
                  <a:lnTo>
                    <a:pt x="1401" y="737"/>
                  </a:lnTo>
                  <a:lnTo>
                    <a:pt x="1384" y="710"/>
                  </a:lnTo>
                  <a:lnTo>
                    <a:pt x="1371" y="699"/>
                  </a:lnTo>
                  <a:lnTo>
                    <a:pt x="1370" y="692"/>
                  </a:lnTo>
                  <a:lnTo>
                    <a:pt x="1373" y="698"/>
                  </a:lnTo>
                  <a:lnTo>
                    <a:pt x="1381" y="688"/>
                  </a:lnTo>
                  <a:lnTo>
                    <a:pt x="1397" y="687"/>
                  </a:lnTo>
                  <a:lnTo>
                    <a:pt x="1401" y="683"/>
                  </a:lnTo>
                  <a:lnTo>
                    <a:pt x="1401" y="696"/>
                  </a:lnTo>
                  <a:lnTo>
                    <a:pt x="1409" y="684"/>
                  </a:lnTo>
                  <a:lnTo>
                    <a:pt x="1416" y="680"/>
                  </a:lnTo>
                  <a:lnTo>
                    <a:pt x="1423" y="695"/>
                  </a:lnTo>
                  <a:lnTo>
                    <a:pt x="1428" y="692"/>
                  </a:lnTo>
                  <a:lnTo>
                    <a:pt x="1446" y="700"/>
                  </a:lnTo>
                  <a:lnTo>
                    <a:pt x="1460" y="700"/>
                  </a:lnTo>
                  <a:lnTo>
                    <a:pt x="1471" y="714"/>
                  </a:lnTo>
                  <a:lnTo>
                    <a:pt x="1476" y="717"/>
                  </a:lnTo>
                  <a:lnTo>
                    <a:pt x="1481" y="719"/>
                  </a:lnTo>
                  <a:lnTo>
                    <a:pt x="1491" y="711"/>
                  </a:lnTo>
                  <a:lnTo>
                    <a:pt x="1496" y="714"/>
                  </a:lnTo>
                  <a:lnTo>
                    <a:pt x="1498" y="711"/>
                  </a:lnTo>
                  <a:lnTo>
                    <a:pt x="1503" y="699"/>
                  </a:lnTo>
                  <a:lnTo>
                    <a:pt x="1496" y="696"/>
                  </a:lnTo>
                  <a:lnTo>
                    <a:pt x="1494" y="687"/>
                  </a:lnTo>
                  <a:lnTo>
                    <a:pt x="1502" y="684"/>
                  </a:lnTo>
                  <a:lnTo>
                    <a:pt x="1499" y="681"/>
                  </a:lnTo>
                  <a:lnTo>
                    <a:pt x="1500" y="680"/>
                  </a:lnTo>
                  <a:lnTo>
                    <a:pt x="1506" y="681"/>
                  </a:lnTo>
                  <a:lnTo>
                    <a:pt x="1502" y="676"/>
                  </a:lnTo>
                  <a:lnTo>
                    <a:pt x="1504" y="672"/>
                  </a:lnTo>
                  <a:lnTo>
                    <a:pt x="1492" y="666"/>
                  </a:lnTo>
                  <a:lnTo>
                    <a:pt x="1491" y="661"/>
                  </a:lnTo>
                  <a:lnTo>
                    <a:pt x="1494" y="638"/>
                  </a:lnTo>
                  <a:lnTo>
                    <a:pt x="1490" y="630"/>
                  </a:lnTo>
                  <a:lnTo>
                    <a:pt x="1494" y="614"/>
                  </a:lnTo>
                  <a:lnTo>
                    <a:pt x="1480" y="608"/>
                  </a:lnTo>
                  <a:lnTo>
                    <a:pt x="1483" y="590"/>
                  </a:lnTo>
                  <a:lnTo>
                    <a:pt x="1483" y="588"/>
                  </a:lnTo>
                  <a:lnTo>
                    <a:pt x="1476" y="577"/>
                  </a:lnTo>
                  <a:lnTo>
                    <a:pt x="1477" y="569"/>
                  </a:lnTo>
                  <a:lnTo>
                    <a:pt x="1468" y="561"/>
                  </a:lnTo>
                  <a:lnTo>
                    <a:pt x="1471" y="554"/>
                  </a:lnTo>
                  <a:lnTo>
                    <a:pt x="1491" y="553"/>
                  </a:lnTo>
                  <a:lnTo>
                    <a:pt x="1500" y="531"/>
                  </a:lnTo>
                  <a:lnTo>
                    <a:pt x="1511" y="528"/>
                  </a:lnTo>
                  <a:lnTo>
                    <a:pt x="1523" y="535"/>
                  </a:lnTo>
                  <a:lnTo>
                    <a:pt x="1528" y="534"/>
                  </a:lnTo>
                  <a:lnTo>
                    <a:pt x="1529" y="525"/>
                  </a:lnTo>
                  <a:lnTo>
                    <a:pt x="1526" y="525"/>
                  </a:lnTo>
                  <a:lnTo>
                    <a:pt x="1525" y="513"/>
                  </a:lnTo>
                  <a:lnTo>
                    <a:pt x="1532" y="509"/>
                  </a:lnTo>
                  <a:lnTo>
                    <a:pt x="1533" y="504"/>
                  </a:lnTo>
                  <a:lnTo>
                    <a:pt x="1528" y="491"/>
                  </a:lnTo>
                  <a:lnTo>
                    <a:pt x="1530" y="478"/>
                  </a:lnTo>
                  <a:lnTo>
                    <a:pt x="1541" y="483"/>
                  </a:lnTo>
                  <a:lnTo>
                    <a:pt x="1545" y="472"/>
                  </a:lnTo>
                  <a:lnTo>
                    <a:pt x="1540" y="467"/>
                  </a:lnTo>
                  <a:lnTo>
                    <a:pt x="1542" y="459"/>
                  </a:lnTo>
                  <a:lnTo>
                    <a:pt x="1536" y="458"/>
                  </a:lnTo>
                  <a:lnTo>
                    <a:pt x="1519" y="443"/>
                  </a:lnTo>
                  <a:lnTo>
                    <a:pt x="1521" y="433"/>
                  </a:lnTo>
                  <a:lnTo>
                    <a:pt x="1517" y="434"/>
                  </a:lnTo>
                  <a:lnTo>
                    <a:pt x="1514" y="430"/>
                  </a:lnTo>
                  <a:lnTo>
                    <a:pt x="1515" y="426"/>
                  </a:lnTo>
                  <a:lnTo>
                    <a:pt x="1530" y="425"/>
                  </a:lnTo>
                  <a:lnTo>
                    <a:pt x="1532" y="410"/>
                  </a:lnTo>
                  <a:lnTo>
                    <a:pt x="1518" y="398"/>
                  </a:lnTo>
                  <a:lnTo>
                    <a:pt x="1509" y="382"/>
                  </a:lnTo>
                  <a:lnTo>
                    <a:pt x="1509" y="363"/>
                  </a:lnTo>
                  <a:lnTo>
                    <a:pt x="1502" y="367"/>
                  </a:lnTo>
                  <a:lnTo>
                    <a:pt x="1484" y="334"/>
                  </a:lnTo>
                  <a:lnTo>
                    <a:pt x="1481" y="331"/>
                  </a:lnTo>
                  <a:lnTo>
                    <a:pt x="1473" y="335"/>
                  </a:lnTo>
                  <a:lnTo>
                    <a:pt x="1468" y="327"/>
                  </a:lnTo>
                  <a:lnTo>
                    <a:pt x="1469" y="326"/>
                  </a:lnTo>
                  <a:lnTo>
                    <a:pt x="1469" y="314"/>
                  </a:lnTo>
                  <a:lnTo>
                    <a:pt x="1477" y="307"/>
                  </a:lnTo>
                  <a:lnTo>
                    <a:pt x="1475" y="303"/>
                  </a:lnTo>
                  <a:lnTo>
                    <a:pt x="1480" y="295"/>
                  </a:lnTo>
                  <a:lnTo>
                    <a:pt x="1468" y="284"/>
                  </a:lnTo>
                  <a:lnTo>
                    <a:pt x="1465" y="273"/>
                  </a:lnTo>
                  <a:lnTo>
                    <a:pt x="1471" y="262"/>
                  </a:lnTo>
                  <a:lnTo>
                    <a:pt x="1479" y="268"/>
                  </a:lnTo>
                  <a:lnTo>
                    <a:pt x="1484" y="265"/>
                  </a:lnTo>
                  <a:lnTo>
                    <a:pt x="1480" y="258"/>
                  </a:lnTo>
                  <a:lnTo>
                    <a:pt x="1471" y="249"/>
                  </a:lnTo>
                  <a:lnTo>
                    <a:pt x="1466" y="241"/>
                  </a:lnTo>
                  <a:lnTo>
                    <a:pt x="1469" y="231"/>
                  </a:lnTo>
                  <a:lnTo>
                    <a:pt x="1464" y="212"/>
                  </a:lnTo>
                  <a:lnTo>
                    <a:pt x="1457" y="204"/>
                  </a:lnTo>
                  <a:lnTo>
                    <a:pt x="1471" y="192"/>
                  </a:lnTo>
                  <a:lnTo>
                    <a:pt x="1473" y="184"/>
                  </a:lnTo>
                  <a:lnTo>
                    <a:pt x="1469" y="173"/>
                  </a:lnTo>
                  <a:lnTo>
                    <a:pt x="1473" y="163"/>
                  </a:lnTo>
                  <a:lnTo>
                    <a:pt x="1469" y="154"/>
                  </a:lnTo>
                  <a:lnTo>
                    <a:pt x="1476" y="147"/>
                  </a:lnTo>
                  <a:lnTo>
                    <a:pt x="1480" y="135"/>
                  </a:lnTo>
                  <a:lnTo>
                    <a:pt x="1490" y="133"/>
                  </a:lnTo>
                  <a:lnTo>
                    <a:pt x="1484" y="118"/>
                  </a:lnTo>
                  <a:lnTo>
                    <a:pt x="1495" y="109"/>
                  </a:lnTo>
                  <a:lnTo>
                    <a:pt x="1495" y="95"/>
                  </a:lnTo>
                  <a:lnTo>
                    <a:pt x="1476" y="78"/>
                  </a:lnTo>
                  <a:lnTo>
                    <a:pt x="1475" y="74"/>
                  </a:lnTo>
                  <a:lnTo>
                    <a:pt x="1494" y="52"/>
                  </a:lnTo>
                  <a:lnTo>
                    <a:pt x="1492" y="45"/>
                  </a:lnTo>
                  <a:lnTo>
                    <a:pt x="1477" y="51"/>
                  </a:lnTo>
                  <a:lnTo>
                    <a:pt x="1466" y="45"/>
                  </a:lnTo>
                  <a:lnTo>
                    <a:pt x="1468" y="37"/>
                  </a:lnTo>
                  <a:lnTo>
                    <a:pt x="1462" y="33"/>
                  </a:lnTo>
                  <a:lnTo>
                    <a:pt x="1464" y="25"/>
                  </a:lnTo>
                  <a:lnTo>
                    <a:pt x="1460" y="29"/>
                  </a:lnTo>
                  <a:lnTo>
                    <a:pt x="1453" y="25"/>
                  </a:lnTo>
                  <a:lnTo>
                    <a:pt x="1453" y="7"/>
                  </a:lnTo>
                  <a:lnTo>
                    <a:pt x="1450" y="13"/>
                  </a:lnTo>
                  <a:lnTo>
                    <a:pt x="1446" y="11"/>
                  </a:lnTo>
                  <a:lnTo>
                    <a:pt x="1439" y="0"/>
                  </a:lnTo>
                  <a:lnTo>
                    <a:pt x="1431" y="4"/>
                  </a:lnTo>
                  <a:lnTo>
                    <a:pt x="1423" y="21"/>
                  </a:lnTo>
                  <a:lnTo>
                    <a:pt x="1420" y="17"/>
                  </a:lnTo>
                  <a:lnTo>
                    <a:pt x="1416" y="25"/>
                  </a:lnTo>
                  <a:lnTo>
                    <a:pt x="1411" y="21"/>
                  </a:lnTo>
                  <a:lnTo>
                    <a:pt x="1408" y="25"/>
                  </a:lnTo>
                  <a:lnTo>
                    <a:pt x="1400" y="26"/>
                  </a:lnTo>
                  <a:lnTo>
                    <a:pt x="1404" y="30"/>
                  </a:lnTo>
                  <a:lnTo>
                    <a:pt x="1404" y="37"/>
                  </a:lnTo>
                  <a:lnTo>
                    <a:pt x="1415" y="42"/>
                  </a:lnTo>
                  <a:lnTo>
                    <a:pt x="1419" y="51"/>
                  </a:lnTo>
                  <a:lnTo>
                    <a:pt x="1414" y="66"/>
                  </a:lnTo>
                  <a:lnTo>
                    <a:pt x="1405" y="63"/>
                  </a:lnTo>
                  <a:lnTo>
                    <a:pt x="1386" y="42"/>
                  </a:lnTo>
                  <a:lnTo>
                    <a:pt x="1380" y="52"/>
                  </a:lnTo>
                  <a:lnTo>
                    <a:pt x="1371" y="47"/>
                  </a:lnTo>
                  <a:lnTo>
                    <a:pt x="1359" y="48"/>
                  </a:lnTo>
                  <a:lnTo>
                    <a:pt x="1340" y="67"/>
                  </a:lnTo>
                  <a:lnTo>
                    <a:pt x="1336" y="67"/>
                  </a:lnTo>
                  <a:lnTo>
                    <a:pt x="1332" y="61"/>
                  </a:lnTo>
                  <a:lnTo>
                    <a:pt x="1323" y="63"/>
                  </a:lnTo>
                  <a:lnTo>
                    <a:pt x="1313" y="60"/>
                  </a:lnTo>
                  <a:lnTo>
                    <a:pt x="1302" y="70"/>
                  </a:lnTo>
                  <a:lnTo>
                    <a:pt x="1298" y="66"/>
                  </a:lnTo>
                  <a:lnTo>
                    <a:pt x="1302" y="53"/>
                  </a:lnTo>
                  <a:lnTo>
                    <a:pt x="1312" y="47"/>
                  </a:lnTo>
                  <a:lnTo>
                    <a:pt x="1305" y="41"/>
                  </a:lnTo>
                  <a:lnTo>
                    <a:pt x="1294" y="38"/>
                  </a:lnTo>
                  <a:lnTo>
                    <a:pt x="1291" y="40"/>
                  </a:lnTo>
                  <a:lnTo>
                    <a:pt x="1287" y="44"/>
                  </a:lnTo>
                  <a:lnTo>
                    <a:pt x="1289" y="56"/>
                  </a:lnTo>
                  <a:lnTo>
                    <a:pt x="1285" y="57"/>
                  </a:lnTo>
                  <a:lnTo>
                    <a:pt x="1294" y="72"/>
                  </a:lnTo>
                  <a:lnTo>
                    <a:pt x="1287" y="70"/>
                  </a:lnTo>
                  <a:lnTo>
                    <a:pt x="1286" y="76"/>
                  </a:lnTo>
                  <a:lnTo>
                    <a:pt x="1272" y="72"/>
                  </a:lnTo>
                  <a:lnTo>
                    <a:pt x="1262" y="91"/>
                  </a:lnTo>
                  <a:lnTo>
                    <a:pt x="1255" y="89"/>
                  </a:lnTo>
                  <a:lnTo>
                    <a:pt x="1244" y="90"/>
                  </a:lnTo>
                  <a:lnTo>
                    <a:pt x="1240" y="85"/>
                  </a:lnTo>
                  <a:lnTo>
                    <a:pt x="1234" y="85"/>
                  </a:lnTo>
                  <a:lnTo>
                    <a:pt x="1234" y="66"/>
                  </a:lnTo>
                  <a:lnTo>
                    <a:pt x="1225" y="61"/>
                  </a:lnTo>
                  <a:lnTo>
                    <a:pt x="1225" y="56"/>
                  </a:lnTo>
                  <a:lnTo>
                    <a:pt x="1210" y="63"/>
                  </a:lnTo>
                  <a:lnTo>
                    <a:pt x="1207" y="72"/>
                  </a:lnTo>
                  <a:lnTo>
                    <a:pt x="1202" y="74"/>
                  </a:lnTo>
                  <a:lnTo>
                    <a:pt x="1194" y="71"/>
                  </a:lnTo>
                  <a:lnTo>
                    <a:pt x="1195" y="61"/>
                  </a:lnTo>
                  <a:lnTo>
                    <a:pt x="1184" y="60"/>
                  </a:lnTo>
                  <a:lnTo>
                    <a:pt x="1183" y="55"/>
                  </a:lnTo>
                  <a:lnTo>
                    <a:pt x="1179" y="56"/>
                  </a:lnTo>
                  <a:lnTo>
                    <a:pt x="1173" y="63"/>
                  </a:lnTo>
                  <a:lnTo>
                    <a:pt x="1182" y="72"/>
                  </a:lnTo>
                  <a:lnTo>
                    <a:pt x="1172" y="80"/>
                  </a:lnTo>
                  <a:lnTo>
                    <a:pt x="1173" y="91"/>
                  </a:lnTo>
                  <a:lnTo>
                    <a:pt x="1169" y="94"/>
                  </a:lnTo>
                  <a:lnTo>
                    <a:pt x="1183" y="99"/>
                  </a:lnTo>
                  <a:lnTo>
                    <a:pt x="1183" y="114"/>
                  </a:lnTo>
                  <a:lnTo>
                    <a:pt x="1190" y="120"/>
                  </a:lnTo>
                  <a:lnTo>
                    <a:pt x="1192" y="133"/>
                  </a:lnTo>
                  <a:lnTo>
                    <a:pt x="1183" y="136"/>
                  </a:lnTo>
                  <a:lnTo>
                    <a:pt x="1175" y="144"/>
                  </a:lnTo>
                  <a:lnTo>
                    <a:pt x="1167" y="140"/>
                  </a:lnTo>
                  <a:lnTo>
                    <a:pt x="1158" y="155"/>
                  </a:lnTo>
                  <a:lnTo>
                    <a:pt x="1141" y="155"/>
                  </a:lnTo>
                  <a:lnTo>
                    <a:pt x="1139" y="163"/>
                  </a:lnTo>
                  <a:lnTo>
                    <a:pt x="1133" y="158"/>
                  </a:lnTo>
                  <a:lnTo>
                    <a:pt x="1123" y="169"/>
                  </a:lnTo>
                  <a:lnTo>
                    <a:pt x="1119" y="166"/>
                  </a:lnTo>
                  <a:lnTo>
                    <a:pt x="1112" y="181"/>
                  </a:lnTo>
                  <a:lnTo>
                    <a:pt x="1112" y="182"/>
                  </a:lnTo>
                  <a:lnTo>
                    <a:pt x="1111" y="184"/>
                  </a:lnTo>
                  <a:lnTo>
                    <a:pt x="1107" y="194"/>
                  </a:lnTo>
                  <a:lnTo>
                    <a:pt x="1107" y="197"/>
                  </a:lnTo>
                  <a:lnTo>
                    <a:pt x="1107" y="198"/>
                  </a:lnTo>
                  <a:lnTo>
                    <a:pt x="1107" y="203"/>
                  </a:lnTo>
                  <a:lnTo>
                    <a:pt x="1104" y="208"/>
                  </a:lnTo>
                  <a:lnTo>
                    <a:pt x="1106" y="212"/>
                  </a:lnTo>
                  <a:lnTo>
                    <a:pt x="1108" y="215"/>
                  </a:lnTo>
                  <a:lnTo>
                    <a:pt x="1111" y="217"/>
                  </a:lnTo>
                  <a:lnTo>
                    <a:pt x="1111" y="219"/>
                  </a:lnTo>
                  <a:lnTo>
                    <a:pt x="1110" y="224"/>
                  </a:lnTo>
                  <a:lnTo>
                    <a:pt x="1110" y="228"/>
                  </a:lnTo>
                  <a:lnTo>
                    <a:pt x="1107" y="231"/>
                  </a:lnTo>
                  <a:lnTo>
                    <a:pt x="1103" y="232"/>
                  </a:lnTo>
                  <a:lnTo>
                    <a:pt x="1106" y="236"/>
                  </a:lnTo>
                  <a:lnTo>
                    <a:pt x="1106" y="242"/>
                  </a:lnTo>
                  <a:lnTo>
                    <a:pt x="1110" y="247"/>
                  </a:lnTo>
                  <a:lnTo>
                    <a:pt x="1110" y="251"/>
                  </a:lnTo>
                  <a:lnTo>
                    <a:pt x="1104" y="251"/>
                  </a:lnTo>
                  <a:lnTo>
                    <a:pt x="1104" y="251"/>
                  </a:lnTo>
                  <a:lnTo>
                    <a:pt x="1110" y="257"/>
                  </a:lnTo>
                  <a:lnTo>
                    <a:pt x="1110" y="258"/>
                  </a:lnTo>
                  <a:lnTo>
                    <a:pt x="1108" y="264"/>
                  </a:lnTo>
                  <a:lnTo>
                    <a:pt x="1114" y="266"/>
                  </a:lnTo>
                  <a:lnTo>
                    <a:pt x="1114" y="269"/>
                  </a:lnTo>
                  <a:lnTo>
                    <a:pt x="1112" y="270"/>
                  </a:lnTo>
                  <a:lnTo>
                    <a:pt x="1104" y="272"/>
                  </a:lnTo>
                  <a:lnTo>
                    <a:pt x="1104" y="276"/>
                  </a:lnTo>
                  <a:lnTo>
                    <a:pt x="1106" y="277"/>
                  </a:lnTo>
                  <a:lnTo>
                    <a:pt x="1107" y="277"/>
                  </a:lnTo>
                  <a:lnTo>
                    <a:pt x="1110" y="273"/>
                  </a:lnTo>
                  <a:lnTo>
                    <a:pt x="1111" y="274"/>
                  </a:lnTo>
                  <a:lnTo>
                    <a:pt x="1110" y="277"/>
                  </a:lnTo>
                  <a:lnTo>
                    <a:pt x="1108" y="280"/>
                  </a:lnTo>
                  <a:lnTo>
                    <a:pt x="1107" y="283"/>
                  </a:lnTo>
                  <a:lnTo>
                    <a:pt x="1106" y="285"/>
                  </a:lnTo>
                  <a:lnTo>
                    <a:pt x="1107" y="287"/>
                  </a:lnTo>
                  <a:lnTo>
                    <a:pt x="1107" y="287"/>
                  </a:lnTo>
                  <a:lnTo>
                    <a:pt x="1108" y="287"/>
                  </a:lnTo>
                  <a:lnTo>
                    <a:pt x="1111" y="288"/>
                  </a:lnTo>
                  <a:lnTo>
                    <a:pt x="1111" y="288"/>
                  </a:lnTo>
                  <a:lnTo>
                    <a:pt x="1110" y="293"/>
                  </a:lnTo>
                  <a:lnTo>
                    <a:pt x="1111" y="296"/>
                  </a:lnTo>
                  <a:lnTo>
                    <a:pt x="1111" y="296"/>
                  </a:lnTo>
                  <a:lnTo>
                    <a:pt x="1114" y="300"/>
                  </a:lnTo>
                  <a:lnTo>
                    <a:pt x="1114" y="303"/>
                  </a:lnTo>
                  <a:lnTo>
                    <a:pt x="1114" y="303"/>
                  </a:lnTo>
                  <a:lnTo>
                    <a:pt x="1114" y="303"/>
                  </a:lnTo>
                  <a:lnTo>
                    <a:pt x="1114" y="307"/>
                  </a:lnTo>
                  <a:lnTo>
                    <a:pt x="1116" y="308"/>
                  </a:lnTo>
                  <a:lnTo>
                    <a:pt x="1118" y="306"/>
                  </a:lnTo>
                  <a:lnTo>
                    <a:pt x="1118" y="306"/>
                  </a:lnTo>
                  <a:lnTo>
                    <a:pt x="1116" y="300"/>
                  </a:lnTo>
                  <a:lnTo>
                    <a:pt x="1116" y="296"/>
                  </a:lnTo>
                  <a:lnTo>
                    <a:pt x="1116" y="296"/>
                  </a:lnTo>
                  <a:lnTo>
                    <a:pt x="1119" y="293"/>
                  </a:lnTo>
                  <a:lnTo>
                    <a:pt x="1122" y="289"/>
                  </a:lnTo>
                  <a:lnTo>
                    <a:pt x="1126" y="281"/>
                  </a:lnTo>
                  <a:lnTo>
                    <a:pt x="1126" y="276"/>
                  </a:lnTo>
                  <a:lnTo>
                    <a:pt x="1126" y="276"/>
                  </a:lnTo>
                  <a:lnTo>
                    <a:pt x="1131" y="269"/>
                  </a:lnTo>
                  <a:lnTo>
                    <a:pt x="1134" y="266"/>
                  </a:lnTo>
                  <a:lnTo>
                    <a:pt x="1138" y="264"/>
                  </a:lnTo>
                  <a:lnTo>
                    <a:pt x="1138" y="264"/>
                  </a:lnTo>
                  <a:lnTo>
                    <a:pt x="1148" y="259"/>
                  </a:lnTo>
                  <a:lnTo>
                    <a:pt x="1152" y="257"/>
                  </a:lnTo>
                  <a:lnTo>
                    <a:pt x="1156" y="253"/>
                  </a:lnTo>
                  <a:lnTo>
                    <a:pt x="1156" y="253"/>
                  </a:lnTo>
                  <a:lnTo>
                    <a:pt x="1161" y="250"/>
                  </a:lnTo>
                  <a:lnTo>
                    <a:pt x="1161" y="250"/>
                  </a:lnTo>
                  <a:lnTo>
                    <a:pt x="1164" y="247"/>
                  </a:lnTo>
                  <a:lnTo>
                    <a:pt x="1168" y="246"/>
                  </a:lnTo>
                  <a:lnTo>
                    <a:pt x="1168" y="246"/>
                  </a:lnTo>
                  <a:lnTo>
                    <a:pt x="1171" y="241"/>
                  </a:lnTo>
                  <a:lnTo>
                    <a:pt x="1172" y="235"/>
                  </a:lnTo>
                  <a:lnTo>
                    <a:pt x="1180" y="230"/>
                  </a:lnTo>
                  <a:lnTo>
                    <a:pt x="1180" y="226"/>
                  </a:lnTo>
                  <a:lnTo>
                    <a:pt x="1180" y="226"/>
                  </a:lnTo>
                  <a:lnTo>
                    <a:pt x="1187" y="223"/>
                  </a:lnTo>
                  <a:lnTo>
                    <a:pt x="1191" y="217"/>
                  </a:lnTo>
                  <a:lnTo>
                    <a:pt x="1198" y="212"/>
                  </a:lnTo>
                  <a:lnTo>
                    <a:pt x="1205" y="208"/>
                  </a:lnTo>
                  <a:lnTo>
                    <a:pt x="1206" y="204"/>
                  </a:lnTo>
                  <a:lnTo>
                    <a:pt x="1201" y="201"/>
                  </a:lnTo>
                  <a:lnTo>
                    <a:pt x="1201" y="201"/>
                  </a:lnTo>
                  <a:lnTo>
                    <a:pt x="1195" y="201"/>
                  </a:lnTo>
                  <a:lnTo>
                    <a:pt x="1192" y="201"/>
                  </a:lnTo>
                  <a:lnTo>
                    <a:pt x="1190" y="200"/>
                  </a:lnTo>
                  <a:lnTo>
                    <a:pt x="1190" y="200"/>
                  </a:lnTo>
                  <a:lnTo>
                    <a:pt x="1188" y="197"/>
                  </a:lnTo>
                  <a:lnTo>
                    <a:pt x="1188" y="196"/>
                  </a:lnTo>
                  <a:lnTo>
                    <a:pt x="1188" y="196"/>
                  </a:lnTo>
                  <a:lnTo>
                    <a:pt x="1188" y="189"/>
                  </a:lnTo>
                  <a:lnTo>
                    <a:pt x="1191" y="185"/>
                  </a:lnTo>
                  <a:lnTo>
                    <a:pt x="1194" y="181"/>
                  </a:lnTo>
                  <a:lnTo>
                    <a:pt x="1199" y="178"/>
                  </a:lnTo>
                  <a:lnTo>
                    <a:pt x="1202" y="179"/>
                  </a:lnTo>
                  <a:lnTo>
                    <a:pt x="1205" y="185"/>
                  </a:lnTo>
                  <a:lnTo>
                    <a:pt x="1205" y="185"/>
                  </a:lnTo>
                  <a:lnTo>
                    <a:pt x="1211" y="188"/>
                  </a:lnTo>
                  <a:lnTo>
                    <a:pt x="1217" y="193"/>
                  </a:lnTo>
                  <a:lnTo>
                    <a:pt x="1217" y="193"/>
                  </a:lnTo>
                  <a:lnTo>
                    <a:pt x="1220" y="193"/>
                  </a:lnTo>
                  <a:lnTo>
                    <a:pt x="1222" y="193"/>
                  </a:lnTo>
                  <a:lnTo>
                    <a:pt x="1226" y="190"/>
                  </a:lnTo>
                  <a:lnTo>
                    <a:pt x="1226" y="189"/>
                  </a:lnTo>
                  <a:lnTo>
                    <a:pt x="1224" y="189"/>
                  </a:lnTo>
                  <a:lnTo>
                    <a:pt x="1221" y="186"/>
                  </a:lnTo>
                  <a:lnTo>
                    <a:pt x="1221" y="186"/>
                  </a:lnTo>
                  <a:lnTo>
                    <a:pt x="1221" y="182"/>
                  </a:lnTo>
                  <a:lnTo>
                    <a:pt x="1221" y="177"/>
                  </a:lnTo>
                  <a:lnTo>
                    <a:pt x="1221" y="177"/>
                  </a:lnTo>
                  <a:lnTo>
                    <a:pt x="1222" y="179"/>
                  </a:lnTo>
                  <a:lnTo>
                    <a:pt x="1222" y="184"/>
                  </a:lnTo>
                  <a:lnTo>
                    <a:pt x="1226" y="186"/>
                  </a:lnTo>
                  <a:lnTo>
                    <a:pt x="1226" y="186"/>
                  </a:lnTo>
                  <a:lnTo>
                    <a:pt x="1228" y="189"/>
                  </a:lnTo>
                  <a:lnTo>
                    <a:pt x="1226" y="192"/>
                  </a:lnTo>
                  <a:lnTo>
                    <a:pt x="1220" y="196"/>
                  </a:lnTo>
                  <a:lnTo>
                    <a:pt x="1217" y="194"/>
                  </a:lnTo>
                  <a:lnTo>
                    <a:pt x="1213" y="192"/>
                  </a:lnTo>
                  <a:lnTo>
                    <a:pt x="1213" y="192"/>
                  </a:lnTo>
                  <a:lnTo>
                    <a:pt x="1209" y="190"/>
                  </a:lnTo>
                  <a:lnTo>
                    <a:pt x="1205" y="189"/>
                  </a:lnTo>
                  <a:lnTo>
                    <a:pt x="1202" y="186"/>
                  </a:lnTo>
                  <a:lnTo>
                    <a:pt x="1199" y="182"/>
                  </a:lnTo>
                  <a:lnTo>
                    <a:pt x="1198" y="181"/>
                  </a:lnTo>
                  <a:lnTo>
                    <a:pt x="1196" y="182"/>
                  </a:lnTo>
                  <a:lnTo>
                    <a:pt x="1196" y="182"/>
                  </a:lnTo>
                  <a:lnTo>
                    <a:pt x="1192" y="189"/>
                  </a:lnTo>
                  <a:lnTo>
                    <a:pt x="1191" y="193"/>
                  </a:lnTo>
                  <a:lnTo>
                    <a:pt x="1191" y="196"/>
                  </a:lnTo>
                  <a:lnTo>
                    <a:pt x="1191" y="196"/>
                  </a:lnTo>
                  <a:lnTo>
                    <a:pt x="1192" y="197"/>
                  </a:lnTo>
                  <a:lnTo>
                    <a:pt x="1195" y="198"/>
                  </a:lnTo>
                  <a:lnTo>
                    <a:pt x="1202" y="200"/>
                  </a:lnTo>
                  <a:lnTo>
                    <a:pt x="1207" y="201"/>
                  </a:lnTo>
                  <a:lnTo>
                    <a:pt x="1210" y="204"/>
                  </a:lnTo>
                  <a:lnTo>
                    <a:pt x="1213" y="207"/>
                  </a:lnTo>
                  <a:lnTo>
                    <a:pt x="1214" y="215"/>
                  </a:lnTo>
                  <a:lnTo>
                    <a:pt x="1214" y="215"/>
                  </a:lnTo>
                  <a:lnTo>
                    <a:pt x="1210" y="219"/>
                  </a:lnTo>
                  <a:lnTo>
                    <a:pt x="1206" y="220"/>
                  </a:lnTo>
                  <a:lnTo>
                    <a:pt x="1202" y="223"/>
                  </a:lnTo>
                  <a:lnTo>
                    <a:pt x="1199" y="226"/>
                  </a:lnTo>
                  <a:lnTo>
                    <a:pt x="1199" y="226"/>
                  </a:lnTo>
                  <a:lnTo>
                    <a:pt x="1198" y="227"/>
                  </a:lnTo>
                  <a:lnTo>
                    <a:pt x="1195" y="228"/>
                  </a:lnTo>
                  <a:lnTo>
                    <a:pt x="1190" y="228"/>
                  </a:lnTo>
                  <a:lnTo>
                    <a:pt x="1190" y="228"/>
                  </a:lnTo>
                  <a:lnTo>
                    <a:pt x="1184" y="232"/>
                  </a:lnTo>
                  <a:lnTo>
                    <a:pt x="1177" y="236"/>
                  </a:lnTo>
                  <a:lnTo>
                    <a:pt x="1177" y="236"/>
                  </a:lnTo>
                  <a:lnTo>
                    <a:pt x="1177" y="245"/>
                  </a:lnTo>
                  <a:lnTo>
                    <a:pt x="1175" y="251"/>
                  </a:lnTo>
                  <a:lnTo>
                    <a:pt x="1172" y="257"/>
                  </a:lnTo>
                  <a:lnTo>
                    <a:pt x="1167" y="262"/>
                  </a:lnTo>
                  <a:lnTo>
                    <a:pt x="1167" y="262"/>
                  </a:lnTo>
                  <a:lnTo>
                    <a:pt x="1160" y="265"/>
                  </a:lnTo>
                  <a:lnTo>
                    <a:pt x="1160" y="265"/>
                  </a:lnTo>
                  <a:lnTo>
                    <a:pt x="1154" y="270"/>
                  </a:lnTo>
                  <a:lnTo>
                    <a:pt x="1154" y="270"/>
                  </a:lnTo>
                  <a:lnTo>
                    <a:pt x="1150" y="273"/>
                  </a:lnTo>
                  <a:lnTo>
                    <a:pt x="1148" y="276"/>
                  </a:lnTo>
                  <a:lnTo>
                    <a:pt x="1146" y="278"/>
                  </a:lnTo>
                  <a:lnTo>
                    <a:pt x="1146" y="278"/>
                  </a:lnTo>
                  <a:lnTo>
                    <a:pt x="1142" y="289"/>
                  </a:lnTo>
                  <a:lnTo>
                    <a:pt x="1141" y="296"/>
                  </a:lnTo>
                  <a:lnTo>
                    <a:pt x="1137" y="300"/>
                  </a:lnTo>
                  <a:lnTo>
                    <a:pt x="1129" y="308"/>
                  </a:lnTo>
                  <a:lnTo>
                    <a:pt x="1129" y="308"/>
                  </a:lnTo>
                  <a:lnTo>
                    <a:pt x="1126" y="311"/>
                  </a:lnTo>
                  <a:lnTo>
                    <a:pt x="1126" y="311"/>
                  </a:lnTo>
                  <a:lnTo>
                    <a:pt x="1122" y="316"/>
                  </a:lnTo>
                  <a:lnTo>
                    <a:pt x="1120" y="321"/>
                  </a:lnTo>
                  <a:lnTo>
                    <a:pt x="1116" y="326"/>
                  </a:lnTo>
                  <a:lnTo>
                    <a:pt x="1111" y="331"/>
                  </a:lnTo>
                  <a:lnTo>
                    <a:pt x="1111" y="335"/>
                  </a:lnTo>
                  <a:lnTo>
                    <a:pt x="1111" y="335"/>
                  </a:lnTo>
                  <a:lnTo>
                    <a:pt x="1110" y="345"/>
                  </a:lnTo>
                  <a:lnTo>
                    <a:pt x="1110" y="345"/>
                  </a:lnTo>
                  <a:lnTo>
                    <a:pt x="1104" y="354"/>
                  </a:lnTo>
                  <a:lnTo>
                    <a:pt x="1099" y="365"/>
                  </a:lnTo>
                  <a:lnTo>
                    <a:pt x="1099" y="365"/>
                  </a:lnTo>
                  <a:lnTo>
                    <a:pt x="1093" y="373"/>
                  </a:lnTo>
                  <a:lnTo>
                    <a:pt x="1095" y="375"/>
                  </a:lnTo>
                  <a:lnTo>
                    <a:pt x="1095" y="375"/>
                  </a:lnTo>
                  <a:lnTo>
                    <a:pt x="1097" y="379"/>
                  </a:lnTo>
                  <a:lnTo>
                    <a:pt x="1100" y="380"/>
                  </a:lnTo>
                  <a:lnTo>
                    <a:pt x="1100" y="383"/>
                  </a:lnTo>
                  <a:lnTo>
                    <a:pt x="1100" y="383"/>
                  </a:lnTo>
                  <a:lnTo>
                    <a:pt x="1096" y="380"/>
                  </a:lnTo>
                  <a:lnTo>
                    <a:pt x="1093" y="378"/>
                  </a:lnTo>
                  <a:lnTo>
                    <a:pt x="1092" y="376"/>
                  </a:lnTo>
                  <a:lnTo>
                    <a:pt x="1087" y="379"/>
                  </a:lnTo>
                  <a:lnTo>
                    <a:pt x="1085" y="382"/>
                  </a:lnTo>
                  <a:lnTo>
                    <a:pt x="1082" y="382"/>
                  </a:lnTo>
                  <a:lnTo>
                    <a:pt x="1080" y="380"/>
                  </a:lnTo>
                  <a:lnTo>
                    <a:pt x="1078" y="382"/>
                  </a:lnTo>
                  <a:lnTo>
                    <a:pt x="1077" y="380"/>
                  </a:lnTo>
                  <a:lnTo>
                    <a:pt x="1076" y="380"/>
                  </a:lnTo>
                  <a:lnTo>
                    <a:pt x="1072" y="380"/>
                  </a:lnTo>
                  <a:lnTo>
                    <a:pt x="1070" y="384"/>
                  </a:lnTo>
                  <a:lnTo>
                    <a:pt x="1062" y="386"/>
                  </a:lnTo>
                  <a:lnTo>
                    <a:pt x="1062" y="386"/>
                  </a:lnTo>
                  <a:lnTo>
                    <a:pt x="1054" y="397"/>
                  </a:lnTo>
                  <a:lnTo>
                    <a:pt x="1049" y="401"/>
                  </a:lnTo>
                  <a:lnTo>
                    <a:pt x="1043" y="405"/>
                  </a:lnTo>
                  <a:lnTo>
                    <a:pt x="1043" y="406"/>
                  </a:lnTo>
                  <a:lnTo>
                    <a:pt x="1040" y="409"/>
                  </a:lnTo>
                  <a:lnTo>
                    <a:pt x="1040" y="413"/>
                  </a:lnTo>
                  <a:lnTo>
                    <a:pt x="1035" y="418"/>
                  </a:lnTo>
                  <a:lnTo>
                    <a:pt x="1035" y="421"/>
                  </a:lnTo>
                  <a:lnTo>
                    <a:pt x="1032" y="422"/>
                  </a:lnTo>
                  <a:lnTo>
                    <a:pt x="1031" y="429"/>
                  </a:lnTo>
                  <a:lnTo>
                    <a:pt x="1031" y="429"/>
                  </a:lnTo>
                  <a:lnTo>
                    <a:pt x="1028" y="433"/>
                  </a:lnTo>
                  <a:lnTo>
                    <a:pt x="1026" y="437"/>
                  </a:lnTo>
                  <a:lnTo>
                    <a:pt x="1021" y="441"/>
                  </a:lnTo>
                  <a:lnTo>
                    <a:pt x="1017" y="443"/>
                  </a:lnTo>
                  <a:lnTo>
                    <a:pt x="1013" y="443"/>
                  </a:lnTo>
                  <a:lnTo>
                    <a:pt x="1013" y="440"/>
                  </a:lnTo>
                  <a:lnTo>
                    <a:pt x="998" y="445"/>
                  </a:lnTo>
                  <a:lnTo>
                    <a:pt x="1000" y="447"/>
                  </a:lnTo>
                  <a:lnTo>
                    <a:pt x="1002" y="447"/>
                  </a:lnTo>
                  <a:lnTo>
                    <a:pt x="1002" y="447"/>
                  </a:lnTo>
                  <a:lnTo>
                    <a:pt x="1004" y="448"/>
                  </a:lnTo>
                  <a:lnTo>
                    <a:pt x="1004" y="452"/>
                  </a:lnTo>
                  <a:lnTo>
                    <a:pt x="1004" y="459"/>
                  </a:lnTo>
                  <a:lnTo>
                    <a:pt x="1002" y="462"/>
                  </a:lnTo>
                  <a:lnTo>
                    <a:pt x="1002" y="462"/>
                  </a:lnTo>
                  <a:lnTo>
                    <a:pt x="997" y="463"/>
                  </a:lnTo>
                  <a:lnTo>
                    <a:pt x="993" y="466"/>
                  </a:lnTo>
                  <a:lnTo>
                    <a:pt x="993" y="467"/>
                  </a:lnTo>
                  <a:lnTo>
                    <a:pt x="996" y="470"/>
                  </a:lnTo>
                  <a:lnTo>
                    <a:pt x="996" y="470"/>
                  </a:lnTo>
                  <a:lnTo>
                    <a:pt x="996" y="479"/>
                  </a:lnTo>
                  <a:lnTo>
                    <a:pt x="994" y="483"/>
                  </a:lnTo>
                  <a:lnTo>
                    <a:pt x="993" y="487"/>
                  </a:lnTo>
                  <a:lnTo>
                    <a:pt x="989" y="485"/>
                  </a:lnTo>
                  <a:lnTo>
                    <a:pt x="989" y="485"/>
                  </a:lnTo>
                  <a:lnTo>
                    <a:pt x="983" y="483"/>
                  </a:lnTo>
                  <a:lnTo>
                    <a:pt x="979" y="483"/>
                  </a:lnTo>
                  <a:lnTo>
                    <a:pt x="978" y="483"/>
                  </a:lnTo>
                  <a:lnTo>
                    <a:pt x="979" y="486"/>
                  </a:lnTo>
                  <a:lnTo>
                    <a:pt x="986" y="487"/>
                  </a:lnTo>
                  <a:lnTo>
                    <a:pt x="986" y="487"/>
                  </a:lnTo>
                  <a:lnTo>
                    <a:pt x="986" y="490"/>
                  </a:lnTo>
                  <a:lnTo>
                    <a:pt x="988" y="493"/>
                  </a:lnTo>
                  <a:lnTo>
                    <a:pt x="986" y="504"/>
                  </a:lnTo>
                  <a:lnTo>
                    <a:pt x="982" y="520"/>
                  </a:lnTo>
                  <a:lnTo>
                    <a:pt x="982" y="520"/>
                  </a:lnTo>
                  <a:lnTo>
                    <a:pt x="986" y="525"/>
                  </a:lnTo>
                  <a:lnTo>
                    <a:pt x="988" y="531"/>
                  </a:lnTo>
                  <a:lnTo>
                    <a:pt x="988" y="531"/>
                  </a:lnTo>
                  <a:lnTo>
                    <a:pt x="990" y="535"/>
                  </a:lnTo>
                  <a:lnTo>
                    <a:pt x="990" y="535"/>
                  </a:lnTo>
                  <a:lnTo>
                    <a:pt x="990" y="539"/>
                  </a:lnTo>
                  <a:lnTo>
                    <a:pt x="990" y="543"/>
                  </a:lnTo>
                  <a:lnTo>
                    <a:pt x="989" y="550"/>
                  </a:lnTo>
                  <a:lnTo>
                    <a:pt x="986" y="551"/>
                  </a:lnTo>
                  <a:lnTo>
                    <a:pt x="983" y="551"/>
                  </a:lnTo>
                  <a:lnTo>
                    <a:pt x="982" y="550"/>
                  </a:lnTo>
                  <a:lnTo>
                    <a:pt x="982" y="550"/>
                  </a:lnTo>
                  <a:lnTo>
                    <a:pt x="979" y="551"/>
                  </a:lnTo>
                  <a:lnTo>
                    <a:pt x="978" y="554"/>
                  </a:lnTo>
                  <a:lnTo>
                    <a:pt x="974" y="558"/>
                  </a:lnTo>
                  <a:lnTo>
                    <a:pt x="974" y="558"/>
                  </a:lnTo>
                  <a:lnTo>
                    <a:pt x="969" y="561"/>
                  </a:lnTo>
                  <a:lnTo>
                    <a:pt x="963" y="562"/>
                  </a:lnTo>
                  <a:lnTo>
                    <a:pt x="963" y="562"/>
                  </a:lnTo>
                  <a:lnTo>
                    <a:pt x="958" y="559"/>
                  </a:lnTo>
                  <a:lnTo>
                    <a:pt x="952" y="558"/>
                  </a:lnTo>
                  <a:lnTo>
                    <a:pt x="948" y="558"/>
                  </a:lnTo>
                  <a:lnTo>
                    <a:pt x="944" y="557"/>
                  </a:lnTo>
                  <a:lnTo>
                    <a:pt x="943" y="557"/>
                  </a:lnTo>
                  <a:lnTo>
                    <a:pt x="943" y="557"/>
                  </a:lnTo>
                  <a:lnTo>
                    <a:pt x="935" y="558"/>
                  </a:lnTo>
                  <a:lnTo>
                    <a:pt x="935" y="558"/>
                  </a:lnTo>
                  <a:lnTo>
                    <a:pt x="931" y="561"/>
                  </a:lnTo>
                  <a:lnTo>
                    <a:pt x="928" y="562"/>
                  </a:lnTo>
                  <a:lnTo>
                    <a:pt x="925" y="563"/>
                  </a:lnTo>
                  <a:lnTo>
                    <a:pt x="925" y="563"/>
                  </a:lnTo>
                  <a:lnTo>
                    <a:pt x="922" y="562"/>
                  </a:lnTo>
                  <a:lnTo>
                    <a:pt x="918" y="562"/>
                  </a:lnTo>
                  <a:lnTo>
                    <a:pt x="918" y="562"/>
                  </a:lnTo>
                  <a:lnTo>
                    <a:pt x="909" y="567"/>
                  </a:lnTo>
                  <a:lnTo>
                    <a:pt x="899" y="571"/>
                  </a:lnTo>
                  <a:lnTo>
                    <a:pt x="898" y="570"/>
                  </a:lnTo>
                  <a:lnTo>
                    <a:pt x="891" y="574"/>
                  </a:lnTo>
                  <a:lnTo>
                    <a:pt x="891" y="574"/>
                  </a:lnTo>
                  <a:lnTo>
                    <a:pt x="884" y="574"/>
                  </a:lnTo>
                  <a:lnTo>
                    <a:pt x="880" y="574"/>
                  </a:lnTo>
                  <a:lnTo>
                    <a:pt x="878" y="576"/>
                  </a:lnTo>
                  <a:lnTo>
                    <a:pt x="871" y="573"/>
                  </a:lnTo>
                  <a:lnTo>
                    <a:pt x="871" y="573"/>
                  </a:lnTo>
                  <a:lnTo>
                    <a:pt x="867" y="573"/>
                  </a:lnTo>
                  <a:lnTo>
                    <a:pt x="864" y="573"/>
                  </a:lnTo>
                  <a:lnTo>
                    <a:pt x="856" y="571"/>
                  </a:lnTo>
                  <a:lnTo>
                    <a:pt x="856" y="571"/>
                  </a:lnTo>
                  <a:lnTo>
                    <a:pt x="853" y="573"/>
                  </a:lnTo>
                  <a:lnTo>
                    <a:pt x="849" y="573"/>
                  </a:lnTo>
                  <a:lnTo>
                    <a:pt x="845" y="574"/>
                  </a:lnTo>
                  <a:lnTo>
                    <a:pt x="842" y="573"/>
                  </a:lnTo>
                  <a:lnTo>
                    <a:pt x="833" y="563"/>
                  </a:lnTo>
                  <a:lnTo>
                    <a:pt x="831" y="561"/>
                  </a:lnTo>
                  <a:lnTo>
                    <a:pt x="829" y="558"/>
                  </a:lnTo>
                  <a:lnTo>
                    <a:pt x="819" y="557"/>
                  </a:lnTo>
                  <a:lnTo>
                    <a:pt x="818" y="554"/>
                  </a:lnTo>
                  <a:lnTo>
                    <a:pt x="818" y="554"/>
                  </a:lnTo>
                  <a:lnTo>
                    <a:pt x="814" y="550"/>
                  </a:lnTo>
                  <a:lnTo>
                    <a:pt x="810" y="548"/>
                  </a:lnTo>
                  <a:lnTo>
                    <a:pt x="810" y="548"/>
                  </a:lnTo>
                  <a:lnTo>
                    <a:pt x="806" y="547"/>
                  </a:lnTo>
                  <a:lnTo>
                    <a:pt x="800" y="546"/>
                  </a:lnTo>
                  <a:lnTo>
                    <a:pt x="794" y="543"/>
                  </a:lnTo>
                  <a:lnTo>
                    <a:pt x="788" y="542"/>
                  </a:lnTo>
                  <a:lnTo>
                    <a:pt x="788" y="542"/>
                  </a:lnTo>
                  <a:lnTo>
                    <a:pt x="784" y="543"/>
                  </a:lnTo>
                  <a:lnTo>
                    <a:pt x="780" y="543"/>
                  </a:lnTo>
                  <a:lnTo>
                    <a:pt x="775" y="548"/>
                  </a:lnTo>
                  <a:lnTo>
                    <a:pt x="764" y="553"/>
                  </a:lnTo>
                  <a:lnTo>
                    <a:pt x="760" y="548"/>
                  </a:lnTo>
                  <a:lnTo>
                    <a:pt x="760" y="548"/>
                  </a:lnTo>
                  <a:lnTo>
                    <a:pt x="751" y="547"/>
                  </a:lnTo>
                  <a:lnTo>
                    <a:pt x="742" y="546"/>
                  </a:lnTo>
                  <a:lnTo>
                    <a:pt x="742" y="546"/>
                  </a:lnTo>
                  <a:lnTo>
                    <a:pt x="723" y="540"/>
                  </a:lnTo>
                  <a:lnTo>
                    <a:pt x="723" y="540"/>
                  </a:lnTo>
                  <a:lnTo>
                    <a:pt x="716" y="540"/>
                  </a:lnTo>
                  <a:lnTo>
                    <a:pt x="709" y="539"/>
                  </a:lnTo>
                  <a:lnTo>
                    <a:pt x="704" y="535"/>
                  </a:lnTo>
                  <a:lnTo>
                    <a:pt x="701" y="535"/>
                  </a:lnTo>
                  <a:lnTo>
                    <a:pt x="701" y="535"/>
                  </a:lnTo>
                  <a:lnTo>
                    <a:pt x="699" y="539"/>
                  </a:lnTo>
                  <a:lnTo>
                    <a:pt x="696" y="543"/>
                  </a:lnTo>
                  <a:lnTo>
                    <a:pt x="696" y="543"/>
                  </a:lnTo>
                  <a:lnTo>
                    <a:pt x="689" y="542"/>
                  </a:lnTo>
                  <a:lnTo>
                    <a:pt x="682" y="540"/>
                  </a:lnTo>
                  <a:lnTo>
                    <a:pt x="682" y="540"/>
                  </a:lnTo>
                  <a:lnTo>
                    <a:pt x="678" y="542"/>
                  </a:lnTo>
                  <a:lnTo>
                    <a:pt x="675" y="543"/>
                  </a:lnTo>
                  <a:lnTo>
                    <a:pt x="673" y="543"/>
                  </a:lnTo>
                  <a:lnTo>
                    <a:pt x="671" y="546"/>
                  </a:lnTo>
                  <a:lnTo>
                    <a:pt x="670" y="546"/>
                  </a:lnTo>
                  <a:lnTo>
                    <a:pt x="670" y="546"/>
                  </a:lnTo>
                  <a:lnTo>
                    <a:pt x="666" y="547"/>
                  </a:lnTo>
                  <a:lnTo>
                    <a:pt x="663" y="547"/>
                  </a:lnTo>
                  <a:lnTo>
                    <a:pt x="661" y="544"/>
                  </a:lnTo>
                  <a:lnTo>
                    <a:pt x="661" y="544"/>
                  </a:lnTo>
                  <a:lnTo>
                    <a:pt x="656" y="543"/>
                  </a:lnTo>
                  <a:lnTo>
                    <a:pt x="654" y="543"/>
                  </a:lnTo>
                  <a:lnTo>
                    <a:pt x="648" y="544"/>
                  </a:lnTo>
                  <a:lnTo>
                    <a:pt x="644" y="548"/>
                  </a:lnTo>
                  <a:lnTo>
                    <a:pt x="640" y="551"/>
                  </a:lnTo>
                  <a:lnTo>
                    <a:pt x="640" y="551"/>
                  </a:lnTo>
                  <a:lnTo>
                    <a:pt x="635" y="551"/>
                  </a:lnTo>
                  <a:lnTo>
                    <a:pt x="627" y="551"/>
                  </a:lnTo>
                  <a:lnTo>
                    <a:pt x="614" y="553"/>
                  </a:lnTo>
                  <a:lnTo>
                    <a:pt x="613" y="555"/>
                  </a:lnTo>
                  <a:lnTo>
                    <a:pt x="612" y="555"/>
                  </a:lnTo>
                  <a:lnTo>
                    <a:pt x="610" y="558"/>
                  </a:lnTo>
                  <a:lnTo>
                    <a:pt x="609" y="558"/>
                  </a:lnTo>
                  <a:lnTo>
                    <a:pt x="609" y="558"/>
                  </a:lnTo>
                  <a:lnTo>
                    <a:pt x="604" y="555"/>
                  </a:lnTo>
                  <a:lnTo>
                    <a:pt x="599" y="551"/>
                  </a:lnTo>
                  <a:lnTo>
                    <a:pt x="599" y="551"/>
                  </a:lnTo>
                  <a:lnTo>
                    <a:pt x="597" y="553"/>
                  </a:lnTo>
                  <a:lnTo>
                    <a:pt x="594" y="551"/>
                  </a:lnTo>
                  <a:lnTo>
                    <a:pt x="594" y="551"/>
                  </a:lnTo>
                  <a:lnTo>
                    <a:pt x="585" y="555"/>
                  </a:lnTo>
                  <a:lnTo>
                    <a:pt x="582" y="554"/>
                  </a:lnTo>
                  <a:lnTo>
                    <a:pt x="582" y="554"/>
                  </a:lnTo>
                  <a:lnTo>
                    <a:pt x="578" y="555"/>
                  </a:lnTo>
                  <a:lnTo>
                    <a:pt x="575" y="557"/>
                  </a:lnTo>
                  <a:lnTo>
                    <a:pt x="572" y="558"/>
                  </a:lnTo>
                  <a:lnTo>
                    <a:pt x="571" y="558"/>
                  </a:lnTo>
                  <a:lnTo>
                    <a:pt x="571" y="558"/>
                  </a:lnTo>
                  <a:lnTo>
                    <a:pt x="566" y="559"/>
                  </a:lnTo>
                  <a:lnTo>
                    <a:pt x="561" y="561"/>
                  </a:lnTo>
                  <a:lnTo>
                    <a:pt x="559" y="563"/>
                  </a:lnTo>
                  <a:lnTo>
                    <a:pt x="551" y="562"/>
                  </a:lnTo>
                  <a:lnTo>
                    <a:pt x="549" y="567"/>
                  </a:lnTo>
                  <a:lnTo>
                    <a:pt x="549" y="567"/>
                  </a:lnTo>
                  <a:lnTo>
                    <a:pt x="545" y="569"/>
                  </a:lnTo>
                  <a:lnTo>
                    <a:pt x="543" y="569"/>
                  </a:lnTo>
                  <a:lnTo>
                    <a:pt x="541" y="570"/>
                  </a:lnTo>
                  <a:lnTo>
                    <a:pt x="541" y="570"/>
                  </a:lnTo>
                  <a:lnTo>
                    <a:pt x="544" y="571"/>
                  </a:lnTo>
                  <a:lnTo>
                    <a:pt x="547" y="574"/>
                  </a:lnTo>
                  <a:lnTo>
                    <a:pt x="547" y="574"/>
                  </a:lnTo>
                  <a:lnTo>
                    <a:pt x="548" y="578"/>
                  </a:lnTo>
                  <a:lnTo>
                    <a:pt x="548" y="585"/>
                  </a:lnTo>
                  <a:lnTo>
                    <a:pt x="547" y="590"/>
                  </a:lnTo>
                  <a:lnTo>
                    <a:pt x="544" y="595"/>
                  </a:lnTo>
                  <a:lnTo>
                    <a:pt x="543" y="596"/>
                  </a:lnTo>
                  <a:lnTo>
                    <a:pt x="532" y="596"/>
                  </a:lnTo>
                  <a:lnTo>
                    <a:pt x="530" y="597"/>
                  </a:lnTo>
                  <a:lnTo>
                    <a:pt x="530" y="597"/>
                  </a:lnTo>
                  <a:lnTo>
                    <a:pt x="534" y="601"/>
                  </a:lnTo>
                  <a:lnTo>
                    <a:pt x="538" y="605"/>
                  </a:lnTo>
                  <a:lnTo>
                    <a:pt x="537" y="608"/>
                  </a:lnTo>
                  <a:lnTo>
                    <a:pt x="537" y="611"/>
                  </a:lnTo>
                  <a:lnTo>
                    <a:pt x="540" y="614"/>
                  </a:lnTo>
                  <a:lnTo>
                    <a:pt x="543" y="614"/>
                  </a:lnTo>
                  <a:lnTo>
                    <a:pt x="543" y="614"/>
                  </a:lnTo>
                  <a:lnTo>
                    <a:pt x="544" y="615"/>
                  </a:lnTo>
                  <a:lnTo>
                    <a:pt x="544" y="615"/>
                  </a:lnTo>
                  <a:lnTo>
                    <a:pt x="544" y="627"/>
                  </a:lnTo>
                  <a:lnTo>
                    <a:pt x="544" y="633"/>
                  </a:lnTo>
                  <a:lnTo>
                    <a:pt x="547" y="639"/>
                  </a:lnTo>
                  <a:lnTo>
                    <a:pt x="555" y="646"/>
                  </a:lnTo>
                  <a:lnTo>
                    <a:pt x="556" y="645"/>
                  </a:lnTo>
                  <a:lnTo>
                    <a:pt x="555" y="643"/>
                  </a:lnTo>
                  <a:lnTo>
                    <a:pt x="555" y="642"/>
                  </a:lnTo>
                  <a:lnTo>
                    <a:pt x="555" y="642"/>
                  </a:lnTo>
                  <a:lnTo>
                    <a:pt x="557" y="639"/>
                  </a:lnTo>
                  <a:lnTo>
                    <a:pt x="560" y="638"/>
                  </a:lnTo>
                  <a:lnTo>
                    <a:pt x="563" y="637"/>
                  </a:lnTo>
                  <a:lnTo>
                    <a:pt x="564" y="635"/>
                  </a:lnTo>
                  <a:lnTo>
                    <a:pt x="564" y="634"/>
                  </a:lnTo>
                  <a:lnTo>
                    <a:pt x="564" y="634"/>
                  </a:lnTo>
                  <a:lnTo>
                    <a:pt x="571" y="634"/>
                  </a:lnTo>
                  <a:lnTo>
                    <a:pt x="575" y="633"/>
                  </a:lnTo>
                  <a:lnTo>
                    <a:pt x="578" y="633"/>
                  </a:lnTo>
                  <a:lnTo>
                    <a:pt x="578" y="630"/>
                  </a:lnTo>
                  <a:lnTo>
                    <a:pt x="578" y="630"/>
                  </a:lnTo>
                  <a:lnTo>
                    <a:pt x="585" y="628"/>
                  </a:lnTo>
                  <a:lnTo>
                    <a:pt x="589" y="630"/>
                  </a:lnTo>
                  <a:lnTo>
                    <a:pt x="599" y="638"/>
                  </a:lnTo>
                  <a:lnTo>
                    <a:pt x="597" y="638"/>
                  </a:lnTo>
                  <a:lnTo>
                    <a:pt x="582" y="631"/>
                  </a:lnTo>
                  <a:lnTo>
                    <a:pt x="582" y="635"/>
                  </a:lnTo>
                  <a:lnTo>
                    <a:pt x="579" y="637"/>
                  </a:lnTo>
                  <a:lnTo>
                    <a:pt x="579" y="637"/>
                  </a:lnTo>
                  <a:lnTo>
                    <a:pt x="574" y="638"/>
                  </a:lnTo>
                  <a:lnTo>
                    <a:pt x="570" y="637"/>
                  </a:lnTo>
                  <a:lnTo>
                    <a:pt x="568" y="637"/>
                  </a:lnTo>
                  <a:lnTo>
                    <a:pt x="568" y="641"/>
                  </a:lnTo>
                  <a:lnTo>
                    <a:pt x="564" y="641"/>
                  </a:lnTo>
                  <a:lnTo>
                    <a:pt x="559" y="645"/>
                  </a:lnTo>
                  <a:lnTo>
                    <a:pt x="559" y="645"/>
                  </a:lnTo>
                  <a:lnTo>
                    <a:pt x="559" y="652"/>
                  </a:lnTo>
                  <a:lnTo>
                    <a:pt x="557" y="658"/>
                  </a:lnTo>
                  <a:lnTo>
                    <a:pt x="553" y="665"/>
                  </a:lnTo>
                  <a:lnTo>
                    <a:pt x="553" y="665"/>
                  </a:lnTo>
                  <a:lnTo>
                    <a:pt x="553" y="660"/>
                  </a:lnTo>
                  <a:lnTo>
                    <a:pt x="556" y="656"/>
                  </a:lnTo>
                  <a:lnTo>
                    <a:pt x="555" y="652"/>
                  </a:lnTo>
                  <a:lnTo>
                    <a:pt x="553" y="650"/>
                  </a:lnTo>
                  <a:lnTo>
                    <a:pt x="553" y="650"/>
                  </a:lnTo>
                  <a:lnTo>
                    <a:pt x="551" y="652"/>
                  </a:lnTo>
                  <a:lnTo>
                    <a:pt x="548" y="653"/>
                  </a:lnTo>
                  <a:lnTo>
                    <a:pt x="547" y="650"/>
                  </a:lnTo>
                  <a:lnTo>
                    <a:pt x="548" y="649"/>
                  </a:lnTo>
                  <a:lnTo>
                    <a:pt x="549" y="649"/>
                  </a:lnTo>
                  <a:lnTo>
                    <a:pt x="549" y="649"/>
                  </a:lnTo>
                  <a:lnTo>
                    <a:pt x="548" y="646"/>
                  </a:lnTo>
                  <a:lnTo>
                    <a:pt x="545" y="645"/>
                  </a:lnTo>
                  <a:lnTo>
                    <a:pt x="544" y="646"/>
                  </a:lnTo>
                  <a:lnTo>
                    <a:pt x="544" y="646"/>
                  </a:lnTo>
                  <a:lnTo>
                    <a:pt x="541" y="652"/>
                  </a:lnTo>
                  <a:lnTo>
                    <a:pt x="540" y="658"/>
                  </a:lnTo>
                  <a:lnTo>
                    <a:pt x="537" y="661"/>
                  </a:lnTo>
                  <a:lnTo>
                    <a:pt x="533" y="661"/>
                  </a:lnTo>
                  <a:lnTo>
                    <a:pt x="533" y="661"/>
                  </a:lnTo>
                  <a:lnTo>
                    <a:pt x="529" y="664"/>
                  </a:lnTo>
                  <a:lnTo>
                    <a:pt x="528" y="668"/>
                  </a:lnTo>
                  <a:lnTo>
                    <a:pt x="524" y="675"/>
                  </a:lnTo>
                  <a:lnTo>
                    <a:pt x="524" y="675"/>
                  </a:lnTo>
                  <a:lnTo>
                    <a:pt x="518" y="680"/>
                  </a:lnTo>
                  <a:lnTo>
                    <a:pt x="514" y="685"/>
                  </a:lnTo>
                  <a:lnTo>
                    <a:pt x="514" y="685"/>
                  </a:lnTo>
                  <a:lnTo>
                    <a:pt x="511" y="690"/>
                  </a:lnTo>
                  <a:lnTo>
                    <a:pt x="511" y="690"/>
                  </a:lnTo>
                  <a:lnTo>
                    <a:pt x="503" y="692"/>
                  </a:lnTo>
                  <a:lnTo>
                    <a:pt x="495" y="692"/>
                  </a:lnTo>
                  <a:lnTo>
                    <a:pt x="487" y="691"/>
                  </a:lnTo>
                  <a:lnTo>
                    <a:pt x="483" y="690"/>
                  </a:lnTo>
                  <a:lnTo>
                    <a:pt x="480" y="687"/>
                  </a:lnTo>
                  <a:lnTo>
                    <a:pt x="480" y="687"/>
                  </a:lnTo>
                  <a:lnTo>
                    <a:pt x="477" y="683"/>
                  </a:lnTo>
                  <a:lnTo>
                    <a:pt x="473" y="680"/>
                  </a:lnTo>
                  <a:lnTo>
                    <a:pt x="473" y="680"/>
                  </a:lnTo>
                  <a:lnTo>
                    <a:pt x="471" y="677"/>
                  </a:lnTo>
                  <a:lnTo>
                    <a:pt x="468" y="677"/>
                  </a:lnTo>
                  <a:lnTo>
                    <a:pt x="462" y="677"/>
                  </a:lnTo>
                  <a:lnTo>
                    <a:pt x="462" y="677"/>
                  </a:lnTo>
                  <a:lnTo>
                    <a:pt x="454" y="672"/>
                  </a:lnTo>
                  <a:lnTo>
                    <a:pt x="454" y="672"/>
                  </a:lnTo>
                  <a:lnTo>
                    <a:pt x="445" y="673"/>
                  </a:lnTo>
                  <a:lnTo>
                    <a:pt x="434" y="672"/>
                  </a:lnTo>
                  <a:lnTo>
                    <a:pt x="433" y="673"/>
                  </a:lnTo>
                  <a:lnTo>
                    <a:pt x="433" y="679"/>
                  </a:lnTo>
                  <a:lnTo>
                    <a:pt x="430" y="680"/>
                  </a:lnTo>
                  <a:lnTo>
                    <a:pt x="431" y="683"/>
                  </a:lnTo>
                  <a:lnTo>
                    <a:pt x="431" y="685"/>
                  </a:lnTo>
                  <a:lnTo>
                    <a:pt x="431" y="688"/>
                  </a:lnTo>
                  <a:lnTo>
                    <a:pt x="430" y="691"/>
                  </a:lnTo>
                  <a:lnTo>
                    <a:pt x="433" y="695"/>
                  </a:lnTo>
                  <a:lnTo>
                    <a:pt x="433" y="695"/>
                  </a:lnTo>
                  <a:lnTo>
                    <a:pt x="431" y="699"/>
                  </a:lnTo>
                  <a:lnTo>
                    <a:pt x="430" y="703"/>
                  </a:lnTo>
                  <a:lnTo>
                    <a:pt x="430" y="710"/>
                  </a:lnTo>
                  <a:lnTo>
                    <a:pt x="429" y="713"/>
                  </a:lnTo>
                  <a:lnTo>
                    <a:pt x="427" y="715"/>
                  </a:lnTo>
                  <a:lnTo>
                    <a:pt x="427" y="719"/>
                  </a:lnTo>
                  <a:lnTo>
                    <a:pt x="427" y="719"/>
                  </a:lnTo>
                  <a:lnTo>
                    <a:pt x="426" y="722"/>
                  </a:lnTo>
                  <a:lnTo>
                    <a:pt x="426" y="725"/>
                  </a:lnTo>
                  <a:lnTo>
                    <a:pt x="427" y="726"/>
                  </a:lnTo>
                  <a:lnTo>
                    <a:pt x="427" y="730"/>
                  </a:lnTo>
                  <a:lnTo>
                    <a:pt x="423" y="732"/>
                  </a:lnTo>
                  <a:lnTo>
                    <a:pt x="424" y="733"/>
                  </a:lnTo>
                  <a:lnTo>
                    <a:pt x="424" y="733"/>
                  </a:lnTo>
                  <a:lnTo>
                    <a:pt x="422" y="736"/>
                  </a:lnTo>
                  <a:lnTo>
                    <a:pt x="420" y="740"/>
                  </a:lnTo>
                  <a:lnTo>
                    <a:pt x="419" y="744"/>
                  </a:lnTo>
                  <a:lnTo>
                    <a:pt x="418" y="745"/>
                  </a:lnTo>
                  <a:lnTo>
                    <a:pt x="418" y="745"/>
                  </a:lnTo>
                  <a:lnTo>
                    <a:pt x="420" y="749"/>
                  </a:lnTo>
                  <a:lnTo>
                    <a:pt x="420" y="753"/>
                  </a:lnTo>
                  <a:lnTo>
                    <a:pt x="419" y="756"/>
                  </a:lnTo>
                  <a:lnTo>
                    <a:pt x="420" y="759"/>
                  </a:lnTo>
                  <a:lnTo>
                    <a:pt x="420" y="761"/>
                  </a:lnTo>
                  <a:lnTo>
                    <a:pt x="422" y="763"/>
                  </a:lnTo>
                  <a:lnTo>
                    <a:pt x="422" y="763"/>
                  </a:lnTo>
                  <a:lnTo>
                    <a:pt x="422" y="776"/>
                  </a:lnTo>
                  <a:lnTo>
                    <a:pt x="422" y="783"/>
                  </a:lnTo>
                  <a:lnTo>
                    <a:pt x="423" y="789"/>
                  </a:lnTo>
                  <a:lnTo>
                    <a:pt x="426" y="791"/>
                  </a:lnTo>
                  <a:lnTo>
                    <a:pt x="423" y="791"/>
                  </a:lnTo>
                  <a:lnTo>
                    <a:pt x="422" y="790"/>
                  </a:lnTo>
                  <a:lnTo>
                    <a:pt x="422" y="790"/>
                  </a:lnTo>
                  <a:lnTo>
                    <a:pt x="422" y="802"/>
                  </a:lnTo>
                  <a:lnTo>
                    <a:pt x="422" y="802"/>
                  </a:lnTo>
                  <a:lnTo>
                    <a:pt x="422" y="809"/>
                  </a:lnTo>
                  <a:lnTo>
                    <a:pt x="422" y="809"/>
                  </a:lnTo>
                  <a:lnTo>
                    <a:pt x="422" y="813"/>
                  </a:lnTo>
                  <a:lnTo>
                    <a:pt x="422" y="813"/>
                  </a:lnTo>
                  <a:lnTo>
                    <a:pt x="420" y="820"/>
                  </a:lnTo>
                  <a:lnTo>
                    <a:pt x="419" y="822"/>
                  </a:lnTo>
                  <a:lnTo>
                    <a:pt x="416" y="824"/>
                  </a:lnTo>
                  <a:lnTo>
                    <a:pt x="416" y="825"/>
                  </a:lnTo>
                  <a:lnTo>
                    <a:pt x="412" y="828"/>
                  </a:lnTo>
                  <a:lnTo>
                    <a:pt x="411" y="829"/>
                  </a:lnTo>
                  <a:lnTo>
                    <a:pt x="404" y="832"/>
                  </a:lnTo>
                  <a:lnTo>
                    <a:pt x="399" y="839"/>
                  </a:lnTo>
                  <a:lnTo>
                    <a:pt x="395" y="840"/>
                  </a:lnTo>
                  <a:lnTo>
                    <a:pt x="393" y="843"/>
                  </a:lnTo>
                  <a:lnTo>
                    <a:pt x="393" y="844"/>
                  </a:lnTo>
                  <a:lnTo>
                    <a:pt x="392" y="847"/>
                  </a:lnTo>
                  <a:lnTo>
                    <a:pt x="388" y="847"/>
                  </a:lnTo>
                  <a:lnTo>
                    <a:pt x="388" y="847"/>
                  </a:lnTo>
                  <a:lnTo>
                    <a:pt x="389" y="852"/>
                  </a:lnTo>
                  <a:lnTo>
                    <a:pt x="388" y="858"/>
                  </a:lnTo>
                  <a:lnTo>
                    <a:pt x="385" y="863"/>
                  </a:lnTo>
                  <a:lnTo>
                    <a:pt x="382" y="867"/>
                  </a:lnTo>
                  <a:lnTo>
                    <a:pt x="378" y="867"/>
                  </a:lnTo>
                  <a:lnTo>
                    <a:pt x="378" y="867"/>
                  </a:lnTo>
                  <a:lnTo>
                    <a:pt x="377" y="870"/>
                  </a:lnTo>
                  <a:lnTo>
                    <a:pt x="377" y="873"/>
                  </a:lnTo>
                  <a:lnTo>
                    <a:pt x="377" y="874"/>
                  </a:lnTo>
                  <a:lnTo>
                    <a:pt x="370" y="875"/>
                  </a:lnTo>
                  <a:lnTo>
                    <a:pt x="370" y="877"/>
                  </a:lnTo>
                  <a:lnTo>
                    <a:pt x="369" y="878"/>
                  </a:lnTo>
                  <a:lnTo>
                    <a:pt x="370" y="879"/>
                  </a:lnTo>
                  <a:lnTo>
                    <a:pt x="365" y="882"/>
                  </a:lnTo>
                  <a:lnTo>
                    <a:pt x="363" y="881"/>
                  </a:lnTo>
                  <a:lnTo>
                    <a:pt x="361" y="882"/>
                  </a:lnTo>
                  <a:lnTo>
                    <a:pt x="361" y="885"/>
                  </a:lnTo>
                  <a:lnTo>
                    <a:pt x="358" y="889"/>
                  </a:lnTo>
                  <a:lnTo>
                    <a:pt x="357" y="886"/>
                  </a:lnTo>
                  <a:lnTo>
                    <a:pt x="354" y="886"/>
                  </a:lnTo>
                  <a:lnTo>
                    <a:pt x="355" y="889"/>
                  </a:lnTo>
                  <a:lnTo>
                    <a:pt x="353" y="890"/>
                  </a:lnTo>
                  <a:lnTo>
                    <a:pt x="351" y="889"/>
                  </a:lnTo>
                  <a:lnTo>
                    <a:pt x="350" y="890"/>
                  </a:lnTo>
                  <a:lnTo>
                    <a:pt x="348" y="889"/>
                  </a:lnTo>
                  <a:lnTo>
                    <a:pt x="348" y="890"/>
                  </a:lnTo>
                  <a:lnTo>
                    <a:pt x="350" y="893"/>
                  </a:lnTo>
                  <a:lnTo>
                    <a:pt x="350" y="893"/>
                  </a:lnTo>
                  <a:lnTo>
                    <a:pt x="348" y="896"/>
                  </a:lnTo>
                  <a:lnTo>
                    <a:pt x="347" y="898"/>
                  </a:lnTo>
                  <a:lnTo>
                    <a:pt x="350" y="901"/>
                  </a:lnTo>
                  <a:lnTo>
                    <a:pt x="350" y="901"/>
                  </a:lnTo>
                  <a:lnTo>
                    <a:pt x="348" y="905"/>
                  </a:lnTo>
                  <a:lnTo>
                    <a:pt x="347" y="907"/>
                  </a:lnTo>
                  <a:lnTo>
                    <a:pt x="346" y="916"/>
                  </a:lnTo>
                  <a:lnTo>
                    <a:pt x="346" y="919"/>
                  </a:lnTo>
                  <a:lnTo>
                    <a:pt x="342" y="927"/>
                  </a:lnTo>
                  <a:lnTo>
                    <a:pt x="342" y="927"/>
                  </a:lnTo>
                  <a:lnTo>
                    <a:pt x="339" y="931"/>
                  </a:lnTo>
                  <a:lnTo>
                    <a:pt x="336" y="934"/>
                  </a:lnTo>
                  <a:lnTo>
                    <a:pt x="329" y="936"/>
                  </a:lnTo>
                  <a:lnTo>
                    <a:pt x="329" y="936"/>
                  </a:lnTo>
                  <a:lnTo>
                    <a:pt x="327" y="936"/>
                  </a:lnTo>
                  <a:lnTo>
                    <a:pt x="324" y="936"/>
                  </a:lnTo>
                  <a:lnTo>
                    <a:pt x="323" y="938"/>
                  </a:lnTo>
                  <a:lnTo>
                    <a:pt x="321" y="936"/>
                  </a:lnTo>
                  <a:lnTo>
                    <a:pt x="320" y="936"/>
                  </a:lnTo>
                  <a:lnTo>
                    <a:pt x="317" y="935"/>
                  </a:lnTo>
                  <a:lnTo>
                    <a:pt x="313" y="936"/>
                  </a:lnTo>
                  <a:lnTo>
                    <a:pt x="310" y="936"/>
                  </a:lnTo>
                  <a:lnTo>
                    <a:pt x="310" y="936"/>
                  </a:lnTo>
                  <a:lnTo>
                    <a:pt x="308" y="940"/>
                  </a:lnTo>
                  <a:lnTo>
                    <a:pt x="305" y="943"/>
                  </a:lnTo>
                  <a:lnTo>
                    <a:pt x="304" y="945"/>
                  </a:lnTo>
                  <a:lnTo>
                    <a:pt x="300" y="942"/>
                  </a:lnTo>
                  <a:lnTo>
                    <a:pt x="296" y="942"/>
                  </a:lnTo>
                  <a:lnTo>
                    <a:pt x="296" y="940"/>
                  </a:lnTo>
                  <a:lnTo>
                    <a:pt x="293" y="939"/>
                  </a:lnTo>
                  <a:lnTo>
                    <a:pt x="292" y="936"/>
                  </a:lnTo>
                  <a:lnTo>
                    <a:pt x="292" y="936"/>
                  </a:lnTo>
                  <a:lnTo>
                    <a:pt x="292" y="939"/>
                  </a:lnTo>
                  <a:lnTo>
                    <a:pt x="286" y="940"/>
                  </a:lnTo>
                  <a:lnTo>
                    <a:pt x="286" y="942"/>
                  </a:lnTo>
                  <a:lnTo>
                    <a:pt x="293" y="946"/>
                  </a:lnTo>
                  <a:lnTo>
                    <a:pt x="293" y="949"/>
                  </a:lnTo>
                  <a:lnTo>
                    <a:pt x="292" y="950"/>
                  </a:lnTo>
                  <a:lnTo>
                    <a:pt x="292" y="950"/>
                  </a:lnTo>
                  <a:lnTo>
                    <a:pt x="289" y="953"/>
                  </a:lnTo>
                  <a:lnTo>
                    <a:pt x="287" y="955"/>
                  </a:lnTo>
                  <a:lnTo>
                    <a:pt x="290" y="958"/>
                  </a:lnTo>
                  <a:lnTo>
                    <a:pt x="290" y="958"/>
                  </a:lnTo>
                  <a:lnTo>
                    <a:pt x="289" y="966"/>
                  </a:lnTo>
                  <a:lnTo>
                    <a:pt x="293" y="969"/>
                  </a:lnTo>
                  <a:lnTo>
                    <a:pt x="293" y="972"/>
                  </a:lnTo>
                  <a:lnTo>
                    <a:pt x="296" y="973"/>
                  </a:lnTo>
                  <a:lnTo>
                    <a:pt x="293" y="976"/>
                  </a:lnTo>
                  <a:lnTo>
                    <a:pt x="290" y="976"/>
                  </a:lnTo>
                  <a:lnTo>
                    <a:pt x="289" y="980"/>
                  </a:lnTo>
                  <a:lnTo>
                    <a:pt x="287" y="980"/>
                  </a:lnTo>
                  <a:lnTo>
                    <a:pt x="286" y="978"/>
                  </a:lnTo>
                  <a:lnTo>
                    <a:pt x="287" y="977"/>
                  </a:lnTo>
                  <a:lnTo>
                    <a:pt x="287" y="977"/>
                  </a:lnTo>
                  <a:lnTo>
                    <a:pt x="286" y="973"/>
                  </a:lnTo>
                  <a:lnTo>
                    <a:pt x="286" y="969"/>
                  </a:lnTo>
                  <a:lnTo>
                    <a:pt x="286" y="966"/>
                  </a:lnTo>
                  <a:lnTo>
                    <a:pt x="285" y="962"/>
                  </a:lnTo>
                  <a:lnTo>
                    <a:pt x="281" y="961"/>
                  </a:lnTo>
                  <a:lnTo>
                    <a:pt x="282" y="954"/>
                  </a:lnTo>
                  <a:lnTo>
                    <a:pt x="282" y="954"/>
                  </a:lnTo>
                  <a:lnTo>
                    <a:pt x="279" y="953"/>
                  </a:lnTo>
                  <a:lnTo>
                    <a:pt x="278" y="954"/>
                  </a:lnTo>
                  <a:lnTo>
                    <a:pt x="279" y="957"/>
                  </a:lnTo>
                  <a:lnTo>
                    <a:pt x="275" y="959"/>
                  </a:lnTo>
                  <a:lnTo>
                    <a:pt x="273" y="959"/>
                  </a:lnTo>
                  <a:lnTo>
                    <a:pt x="268" y="969"/>
                  </a:lnTo>
                  <a:lnTo>
                    <a:pt x="266" y="969"/>
                  </a:lnTo>
                  <a:lnTo>
                    <a:pt x="263" y="970"/>
                  </a:lnTo>
                  <a:lnTo>
                    <a:pt x="260" y="969"/>
                  </a:lnTo>
                  <a:lnTo>
                    <a:pt x="260" y="968"/>
                  </a:lnTo>
                  <a:lnTo>
                    <a:pt x="256" y="968"/>
                  </a:lnTo>
                  <a:lnTo>
                    <a:pt x="255" y="966"/>
                  </a:lnTo>
                  <a:lnTo>
                    <a:pt x="255" y="965"/>
                  </a:lnTo>
                  <a:lnTo>
                    <a:pt x="252" y="964"/>
                  </a:lnTo>
                  <a:lnTo>
                    <a:pt x="249" y="965"/>
                  </a:lnTo>
                  <a:lnTo>
                    <a:pt x="248" y="968"/>
                  </a:lnTo>
                  <a:lnTo>
                    <a:pt x="252" y="970"/>
                  </a:lnTo>
                  <a:lnTo>
                    <a:pt x="252" y="970"/>
                  </a:lnTo>
                  <a:lnTo>
                    <a:pt x="254" y="974"/>
                  </a:lnTo>
                  <a:lnTo>
                    <a:pt x="254" y="980"/>
                  </a:lnTo>
                  <a:lnTo>
                    <a:pt x="251" y="980"/>
                  </a:lnTo>
                  <a:lnTo>
                    <a:pt x="252" y="988"/>
                  </a:lnTo>
                  <a:lnTo>
                    <a:pt x="254" y="991"/>
                  </a:lnTo>
                  <a:lnTo>
                    <a:pt x="251" y="989"/>
                  </a:lnTo>
                  <a:lnTo>
                    <a:pt x="249" y="991"/>
                  </a:lnTo>
                  <a:lnTo>
                    <a:pt x="249" y="992"/>
                  </a:lnTo>
                  <a:lnTo>
                    <a:pt x="249" y="992"/>
                  </a:lnTo>
                  <a:lnTo>
                    <a:pt x="247" y="995"/>
                  </a:lnTo>
                  <a:lnTo>
                    <a:pt x="245" y="996"/>
                  </a:lnTo>
                  <a:lnTo>
                    <a:pt x="245" y="996"/>
                  </a:lnTo>
                  <a:lnTo>
                    <a:pt x="248" y="997"/>
                  </a:lnTo>
                  <a:lnTo>
                    <a:pt x="249" y="999"/>
                  </a:lnTo>
                  <a:lnTo>
                    <a:pt x="249" y="1004"/>
                  </a:lnTo>
                  <a:lnTo>
                    <a:pt x="249" y="1008"/>
                  </a:lnTo>
                  <a:lnTo>
                    <a:pt x="248" y="1012"/>
                  </a:lnTo>
                  <a:lnTo>
                    <a:pt x="251" y="1015"/>
                  </a:lnTo>
                  <a:lnTo>
                    <a:pt x="249" y="1016"/>
                  </a:lnTo>
                  <a:lnTo>
                    <a:pt x="248" y="1016"/>
                  </a:lnTo>
                  <a:lnTo>
                    <a:pt x="247" y="1018"/>
                  </a:lnTo>
                  <a:lnTo>
                    <a:pt x="247" y="1019"/>
                  </a:lnTo>
                  <a:lnTo>
                    <a:pt x="248" y="1020"/>
                  </a:lnTo>
                  <a:lnTo>
                    <a:pt x="247" y="1022"/>
                  </a:lnTo>
                  <a:lnTo>
                    <a:pt x="247" y="1022"/>
                  </a:lnTo>
                  <a:lnTo>
                    <a:pt x="248" y="1026"/>
                  </a:lnTo>
                  <a:lnTo>
                    <a:pt x="248" y="1029"/>
                  </a:lnTo>
                  <a:lnTo>
                    <a:pt x="244" y="1035"/>
                  </a:lnTo>
                  <a:lnTo>
                    <a:pt x="240" y="1042"/>
                  </a:lnTo>
                  <a:lnTo>
                    <a:pt x="235" y="1048"/>
                  </a:lnTo>
                  <a:lnTo>
                    <a:pt x="230" y="1046"/>
                  </a:lnTo>
                  <a:lnTo>
                    <a:pt x="230" y="1045"/>
                  </a:lnTo>
                  <a:lnTo>
                    <a:pt x="228" y="1044"/>
                  </a:lnTo>
                  <a:lnTo>
                    <a:pt x="226" y="1042"/>
                  </a:lnTo>
                  <a:lnTo>
                    <a:pt x="226" y="1048"/>
                  </a:lnTo>
                  <a:lnTo>
                    <a:pt x="226" y="1048"/>
                  </a:lnTo>
                  <a:lnTo>
                    <a:pt x="224" y="1049"/>
                  </a:lnTo>
                  <a:lnTo>
                    <a:pt x="221" y="1049"/>
                  </a:lnTo>
                  <a:lnTo>
                    <a:pt x="218" y="1050"/>
                  </a:lnTo>
                  <a:lnTo>
                    <a:pt x="233" y="1054"/>
                  </a:lnTo>
                  <a:lnTo>
                    <a:pt x="230" y="1056"/>
                  </a:lnTo>
                  <a:lnTo>
                    <a:pt x="230" y="1056"/>
                  </a:lnTo>
                  <a:lnTo>
                    <a:pt x="229" y="1054"/>
                  </a:lnTo>
                  <a:lnTo>
                    <a:pt x="226" y="1053"/>
                  </a:lnTo>
                  <a:lnTo>
                    <a:pt x="221" y="1053"/>
                  </a:lnTo>
                  <a:lnTo>
                    <a:pt x="217" y="1054"/>
                  </a:lnTo>
                  <a:lnTo>
                    <a:pt x="216" y="1054"/>
                  </a:lnTo>
                  <a:lnTo>
                    <a:pt x="213" y="1053"/>
                  </a:lnTo>
                  <a:lnTo>
                    <a:pt x="213" y="1057"/>
                  </a:lnTo>
                  <a:lnTo>
                    <a:pt x="209" y="1054"/>
                  </a:lnTo>
                  <a:lnTo>
                    <a:pt x="209" y="1057"/>
                  </a:lnTo>
                  <a:lnTo>
                    <a:pt x="210" y="1060"/>
                  </a:lnTo>
                  <a:lnTo>
                    <a:pt x="210" y="1063"/>
                  </a:lnTo>
                  <a:lnTo>
                    <a:pt x="205" y="1065"/>
                  </a:lnTo>
                  <a:lnTo>
                    <a:pt x="207" y="1069"/>
                  </a:lnTo>
                  <a:lnTo>
                    <a:pt x="206" y="1069"/>
                  </a:lnTo>
                  <a:lnTo>
                    <a:pt x="209" y="1072"/>
                  </a:lnTo>
                  <a:lnTo>
                    <a:pt x="209" y="1072"/>
                  </a:lnTo>
                  <a:lnTo>
                    <a:pt x="209" y="1075"/>
                  </a:lnTo>
                  <a:lnTo>
                    <a:pt x="207" y="1080"/>
                  </a:lnTo>
                  <a:lnTo>
                    <a:pt x="206" y="1090"/>
                  </a:lnTo>
                  <a:lnTo>
                    <a:pt x="206" y="1090"/>
                  </a:lnTo>
                  <a:lnTo>
                    <a:pt x="201" y="1092"/>
                  </a:lnTo>
                  <a:lnTo>
                    <a:pt x="199" y="1094"/>
                  </a:lnTo>
                  <a:lnTo>
                    <a:pt x="197" y="1095"/>
                  </a:lnTo>
                  <a:lnTo>
                    <a:pt x="197" y="1099"/>
                  </a:lnTo>
                  <a:lnTo>
                    <a:pt x="194" y="1099"/>
                  </a:lnTo>
                  <a:lnTo>
                    <a:pt x="194" y="1102"/>
                  </a:lnTo>
                  <a:lnTo>
                    <a:pt x="194" y="1102"/>
                  </a:lnTo>
                  <a:lnTo>
                    <a:pt x="191" y="1105"/>
                  </a:lnTo>
                  <a:lnTo>
                    <a:pt x="190" y="1107"/>
                  </a:lnTo>
                  <a:lnTo>
                    <a:pt x="188" y="1106"/>
                  </a:lnTo>
                  <a:lnTo>
                    <a:pt x="186" y="1107"/>
                  </a:lnTo>
                  <a:lnTo>
                    <a:pt x="182" y="1106"/>
                  </a:lnTo>
                  <a:lnTo>
                    <a:pt x="182" y="1106"/>
                  </a:lnTo>
                  <a:lnTo>
                    <a:pt x="179" y="1107"/>
                  </a:lnTo>
                  <a:lnTo>
                    <a:pt x="178" y="1109"/>
                  </a:lnTo>
                  <a:lnTo>
                    <a:pt x="178" y="1120"/>
                  </a:lnTo>
                  <a:lnTo>
                    <a:pt x="176" y="1121"/>
                  </a:lnTo>
                  <a:lnTo>
                    <a:pt x="176" y="1121"/>
                  </a:lnTo>
                  <a:lnTo>
                    <a:pt x="175" y="1126"/>
                  </a:lnTo>
                  <a:lnTo>
                    <a:pt x="172" y="1130"/>
                  </a:lnTo>
                  <a:lnTo>
                    <a:pt x="168" y="1132"/>
                  </a:lnTo>
                  <a:lnTo>
                    <a:pt x="165" y="1136"/>
                  </a:lnTo>
                  <a:lnTo>
                    <a:pt x="164" y="1134"/>
                  </a:lnTo>
                  <a:lnTo>
                    <a:pt x="164" y="1134"/>
                  </a:lnTo>
                  <a:lnTo>
                    <a:pt x="160" y="1137"/>
                  </a:lnTo>
                  <a:lnTo>
                    <a:pt x="157" y="1139"/>
                  </a:lnTo>
                  <a:lnTo>
                    <a:pt x="159" y="1141"/>
                  </a:lnTo>
                  <a:lnTo>
                    <a:pt x="154" y="1144"/>
                  </a:lnTo>
                  <a:lnTo>
                    <a:pt x="152" y="1144"/>
                  </a:lnTo>
                  <a:lnTo>
                    <a:pt x="152" y="1144"/>
                  </a:lnTo>
                  <a:lnTo>
                    <a:pt x="149" y="1148"/>
                  </a:lnTo>
                  <a:lnTo>
                    <a:pt x="145" y="1152"/>
                  </a:lnTo>
                  <a:lnTo>
                    <a:pt x="141" y="1156"/>
                  </a:lnTo>
                  <a:lnTo>
                    <a:pt x="135" y="1158"/>
                  </a:lnTo>
                  <a:lnTo>
                    <a:pt x="133" y="1158"/>
                  </a:lnTo>
                  <a:lnTo>
                    <a:pt x="127" y="1159"/>
                  </a:lnTo>
                  <a:lnTo>
                    <a:pt x="126" y="1159"/>
                  </a:lnTo>
                  <a:lnTo>
                    <a:pt x="125" y="1155"/>
                  </a:lnTo>
                  <a:lnTo>
                    <a:pt x="123" y="1156"/>
                  </a:lnTo>
                  <a:lnTo>
                    <a:pt x="123" y="1156"/>
                  </a:lnTo>
                  <a:lnTo>
                    <a:pt x="119" y="1156"/>
                  </a:lnTo>
                  <a:lnTo>
                    <a:pt x="119" y="1156"/>
                  </a:lnTo>
                  <a:lnTo>
                    <a:pt x="118" y="1158"/>
                  </a:lnTo>
                  <a:lnTo>
                    <a:pt x="118" y="1158"/>
                  </a:lnTo>
                  <a:lnTo>
                    <a:pt x="119" y="1164"/>
                  </a:lnTo>
                  <a:lnTo>
                    <a:pt x="119" y="1164"/>
                  </a:lnTo>
                  <a:lnTo>
                    <a:pt x="116" y="1171"/>
                  </a:lnTo>
                  <a:lnTo>
                    <a:pt x="114" y="1175"/>
                  </a:lnTo>
                  <a:lnTo>
                    <a:pt x="106" y="1185"/>
                  </a:lnTo>
                  <a:lnTo>
                    <a:pt x="106" y="1185"/>
                  </a:lnTo>
                  <a:lnTo>
                    <a:pt x="104" y="1186"/>
                  </a:lnTo>
                  <a:lnTo>
                    <a:pt x="106" y="1187"/>
                  </a:lnTo>
                  <a:lnTo>
                    <a:pt x="106" y="1187"/>
                  </a:lnTo>
                  <a:lnTo>
                    <a:pt x="106" y="1191"/>
                  </a:lnTo>
                  <a:lnTo>
                    <a:pt x="102" y="1195"/>
                  </a:lnTo>
                  <a:lnTo>
                    <a:pt x="102" y="1195"/>
                  </a:lnTo>
                  <a:lnTo>
                    <a:pt x="103" y="1190"/>
                  </a:lnTo>
                  <a:lnTo>
                    <a:pt x="103" y="1187"/>
                  </a:lnTo>
                  <a:lnTo>
                    <a:pt x="102" y="1186"/>
                  </a:lnTo>
                  <a:lnTo>
                    <a:pt x="102" y="1186"/>
                  </a:lnTo>
                  <a:lnTo>
                    <a:pt x="97" y="1185"/>
                  </a:lnTo>
                  <a:lnTo>
                    <a:pt x="96" y="1183"/>
                  </a:lnTo>
                  <a:lnTo>
                    <a:pt x="93" y="1183"/>
                  </a:lnTo>
                  <a:lnTo>
                    <a:pt x="92" y="1182"/>
                  </a:lnTo>
                  <a:lnTo>
                    <a:pt x="91" y="1178"/>
                  </a:lnTo>
                  <a:lnTo>
                    <a:pt x="88" y="1176"/>
                  </a:lnTo>
                  <a:lnTo>
                    <a:pt x="88" y="1174"/>
                  </a:lnTo>
                  <a:lnTo>
                    <a:pt x="88" y="1171"/>
                  </a:lnTo>
                  <a:lnTo>
                    <a:pt x="88" y="1170"/>
                  </a:lnTo>
                  <a:lnTo>
                    <a:pt x="85" y="1172"/>
                  </a:lnTo>
                  <a:lnTo>
                    <a:pt x="81" y="1170"/>
                  </a:lnTo>
                  <a:lnTo>
                    <a:pt x="81" y="1170"/>
                  </a:lnTo>
                  <a:lnTo>
                    <a:pt x="77" y="1171"/>
                  </a:lnTo>
                  <a:lnTo>
                    <a:pt x="76" y="1172"/>
                  </a:lnTo>
                  <a:lnTo>
                    <a:pt x="72" y="1172"/>
                  </a:lnTo>
                  <a:lnTo>
                    <a:pt x="69" y="1174"/>
                  </a:lnTo>
                  <a:lnTo>
                    <a:pt x="65" y="1172"/>
                  </a:lnTo>
                  <a:lnTo>
                    <a:pt x="65" y="1172"/>
                  </a:lnTo>
                  <a:lnTo>
                    <a:pt x="64" y="1175"/>
                  </a:lnTo>
                  <a:lnTo>
                    <a:pt x="61" y="1176"/>
                  </a:lnTo>
                  <a:lnTo>
                    <a:pt x="59" y="1179"/>
                  </a:lnTo>
                  <a:lnTo>
                    <a:pt x="54" y="1183"/>
                  </a:lnTo>
                  <a:lnTo>
                    <a:pt x="53" y="1182"/>
                  </a:lnTo>
                  <a:lnTo>
                    <a:pt x="51" y="1185"/>
                  </a:lnTo>
                  <a:lnTo>
                    <a:pt x="49" y="1186"/>
                  </a:lnTo>
                  <a:lnTo>
                    <a:pt x="46" y="1189"/>
                  </a:lnTo>
                  <a:lnTo>
                    <a:pt x="43" y="1187"/>
                  </a:lnTo>
                  <a:lnTo>
                    <a:pt x="40" y="1191"/>
                  </a:lnTo>
                  <a:lnTo>
                    <a:pt x="40" y="1193"/>
                  </a:lnTo>
                  <a:lnTo>
                    <a:pt x="36" y="1195"/>
                  </a:lnTo>
                  <a:lnTo>
                    <a:pt x="36" y="1195"/>
                  </a:lnTo>
                  <a:lnTo>
                    <a:pt x="35" y="1200"/>
                  </a:lnTo>
                  <a:lnTo>
                    <a:pt x="34" y="1201"/>
                  </a:lnTo>
                  <a:lnTo>
                    <a:pt x="28" y="1202"/>
                  </a:lnTo>
                  <a:lnTo>
                    <a:pt x="26" y="1201"/>
                  </a:lnTo>
                  <a:lnTo>
                    <a:pt x="22" y="1204"/>
                  </a:lnTo>
                  <a:lnTo>
                    <a:pt x="16" y="1202"/>
                  </a:lnTo>
                  <a:lnTo>
                    <a:pt x="16" y="1206"/>
                  </a:lnTo>
                  <a:lnTo>
                    <a:pt x="9" y="1213"/>
                  </a:lnTo>
                  <a:lnTo>
                    <a:pt x="9" y="1221"/>
                  </a:lnTo>
                  <a:lnTo>
                    <a:pt x="5" y="1221"/>
                  </a:lnTo>
                  <a:lnTo>
                    <a:pt x="5" y="1225"/>
                  </a:lnTo>
                  <a:lnTo>
                    <a:pt x="3" y="1227"/>
                  </a:lnTo>
                  <a:lnTo>
                    <a:pt x="7" y="1232"/>
                  </a:lnTo>
                  <a:lnTo>
                    <a:pt x="7" y="1236"/>
                  </a:lnTo>
                  <a:lnTo>
                    <a:pt x="7" y="1236"/>
                  </a:lnTo>
                  <a:lnTo>
                    <a:pt x="8" y="1238"/>
                  </a:lnTo>
                  <a:lnTo>
                    <a:pt x="8" y="1238"/>
                  </a:lnTo>
                  <a:lnTo>
                    <a:pt x="8" y="1244"/>
                  </a:lnTo>
                  <a:lnTo>
                    <a:pt x="8" y="1244"/>
                  </a:lnTo>
                  <a:lnTo>
                    <a:pt x="9" y="1247"/>
                  </a:lnTo>
                  <a:lnTo>
                    <a:pt x="11" y="1248"/>
                  </a:lnTo>
                  <a:lnTo>
                    <a:pt x="11" y="1251"/>
                  </a:lnTo>
                  <a:lnTo>
                    <a:pt x="11" y="1251"/>
                  </a:lnTo>
                  <a:lnTo>
                    <a:pt x="9" y="1252"/>
                  </a:lnTo>
                  <a:lnTo>
                    <a:pt x="9" y="1255"/>
                  </a:lnTo>
                  <a:lnTo>
                    <a:pt x="4" y="1258"/>
                  </a:lnTo>
                  <a:lnTo>
                    <a:pt x="4" y="1261"/>
                  </a:lnTo>
                  <a:lnTo>
                    <a:pt x="0" y="1263"/>
                  </a:lnTo>
                  <a:lnTo>
                    <a:pt x="0" y="1263"/>
                  </a:lnTo>
                  <a:lnTo>
                    <a:pt x="1" y="1267"/>
                  </a:lnTo>
                  <a:lnTo>
                    <a:pt x="5" y="1271"/>
                  </a:lnTo>
                  <a:lnTo>
                    <a:pt x="9" y="1273"/>
                  </a:lnTo>
                  <a:lnTo>
                    <a:pt x="8" y="1274"/>
                  </a:lnTo>
                  <a:lnTo>
                    <a:pt x="11" y="1276"/>
                  </a:lnTo>
                  <a:lnTo>
                    <a:pt x="11" y="1280"/>
                  </a:lnTo>
                  <a:lnTo>
                    <a:pt x="13" y="1281"/>
                  </a:lnTo>
                  <a:lnTo>
                    <a:pt x="13" y="1282"/>
                  </a:lnTo>
                  <a:lnTo>
                    <a:pt x="15" y="1284"/>
                  </a:lnTo>
                  <a:lnTo>
                    <a:pt x="15" y="1284"/>
                  </a:lnTo>
                  <a:lnTo>
                    <a:pt x="19" y="1282"/>
                  </a:lnTo>
                  <a:lnTo>
                    <a:pt x="24" y="1281"/>
                  </a:lnTo>
                  <a:lnTo>
                    <a:pt x="26" y="1278"/>
                  </a:lnTo>
                  <a:lnTo>
                    <a:pt x="27" y="1278"/>
                  </a:lnTo>
                  <a:lnTo>
                    <a:pt x="30" y="1281"/>
                  </a:lnTo>
                  <a:lnTo>
                    <a:pt x="35" y="1276"/>
                  </a:lnTo>
                  <a:lnTo>
                    <a:pt x="40" y="1276"/>
                  </a:lnTo>
                  <a:lnTo>
                    <a:pt x="40" y="1276"/>
                  </a:lnTo>
                  <a:lnTo>
                    <a:pt x="43" y="1274"/>
                  </a:lnTo>
                  <a:lnTo>
                    <a:pt x="46" y="1273"/>
                  </a:lnTo>
                  <a:lnTo>
                    <a:pt x="53" y="1273"/>
                  </a:lnTo>
                  <a:lnTo>
                    <a:pt x="55" y="1270"/>
                  </a:lnTo>
                  <a:lnTo>
                    <a:pt x="57" y="1267"/>
                  </a:lnTo>
                  <a:lnTo>
                    <a:pt x="58" y="1267"/>
                  </a:lnTo>
                  <a:lnTo>
                    <a:pt x="59" y="1269"/>
                  </a:lnTo>
                  <a:lnTo>
                    <a:pt x="59" y="1269"/>
                  </a:lnTo>
                  <a:lnTo>
                    <a:pt x="62" y="1265"/>
                  </a:lnTo>
                  <a:lnTo>
                    <a:pt x="65" y="1259"/>
                  </a:lnTo>
                  <a:lnTo>
                    <a:pt x="66" y="1252"/>
                  </a:lnTo>
                  <a:lnTo>
                    <a:pt x="68" y="1248"/>
                  </a:lnTo>
                  <a:lnTo>
                    <a:pt x="68" y="1248"/>
                  </a:lnTo>
                  <a:lnTo>
                    <a:pt x="64" y="1244"/>
                  </a:lnTo>
                  <a:lnTo>
                    <a:pt x="62" y="1242"/>
                  </a:lnTo>
                  <a:lnTo>
                    <a:pt x="62" y="1239"/>
                  </a:lnTo>
                  <a:lnTo>
                    <a:pt x="69" y="1235"/>
                  </a:lnTo>
                  <a:lnTo>
                    <a:pt x="69" y="1232"/>
                  </a:lnTo>
                  <a:lnTo>
                    <a:pt x="68" y="1231"/>
                  </a:lnTo>
                  <a:lnTo>
                    <a:pt x="70" y="1228"/>
                  </a:lnTo>
                  <a:lnTo>
                    <a:pt x="70" y="1228"/>
                  </a:lnTo>
                  <a:lnTo>
                    <a:pt x="78" y="1227"/>
                  </a:lnTo>
                  <a:lnTo>
                    <a:pt x="84" y="1227"/>
                  </a:lnTo>
                  <a:lnTo>
                    <a:pt x="87" y="1228"/>
                  </a:lnTo>
                  <a:lnTo>
                    <a:pt x="89" y="1229"/>
                  </a:lnTo>
                  <a:lnTo>
                    <a:pt x="93" y="1229"/>
                  </a:lnTo>
                  <a:lnTo>
                    <a:pt x="93" y="1229"/>
                  </a:lnTo>
                  <a:lnTo>
                    <a:pt x="95" y="1232"/>
                  </a:lnTo>
                  <a:lnTo>
                    <a:pt x="97" y="1235"/>
                  </a:lnTo>
                  <a:lnTo>
                    <a:pt x="97" y="1235"/>
                  </a:lnTo>
                  <a:lnTo>
                    <a:pt x="102" y="1238"/>
                  </a:lnTo>
                  <a:lnTo>
                    <a:pt x="106" y="1242"/>
                  </a:lnTo>
                  <a:lnTo>
                    <a:pt x="106" y="1246"/>
                  </a:lnTo>
                  <a:lnTo>
                    <a:pt x="106" y="1246"/>
                  </a:lnTo>
                  <a:lnTo>
                    <a:pt x="110" y="1243"/>
                  </a:lnTo>
                  <a:lnTo>
                    <a:pt x="112" y="1240"/>
                  </a:lnTo>
                  <a:lnTo>
                    <a:pt x="116" y="1243"/>
                  </a:lnTo>
                  <a:lnTo>
                    <a:pt x="119" y="1242"/>
                  </a:lnTo>
                  <a:lnTo>
                    <a:pt x="125" y="1244"/>
                  </a:lnTo>
                  <a:lnTo>
                    <a:pt x="126" y="1247"/>
                  </a:lnTo>
                  <a:lnTo>
                    <a:pt x="129" y="1248"/>
                  </a:lnTo>
                  <a:lnTo>
                    <a:pt x="129" y="1250"/>
                  </a:lnTo>
                  <a:lnTo>
                    <a:pt x="131" y="1251"/>
                  </a:lnTo>
                  <a:lnTo>
                    <a:pt x="133" y="1250"/>
                  </a:lnTo>
                  <a:lnTo>
                    <a:pt x="133" y="1250"/>
                  </a:lnTo>
                  <a:lnTo>
                    <a:pt x="137" y="1248"/>
                  </a:lnTo>
                  <a:lnTo>
                    <a:pt x="141" y="1250"/>
                  </a:lnTo>
                  <a:lnTo>
                    <a:pt x="144" y="1254"/>
                  </a:lnTo>
                  <a:lnTo>
                    <a:pt x="148" y="1255"/>
                  </a:lnTo>
                  <a:lnTo>
                    <a:pt x="148" y="1255"/>
                  </a:lnTo>
                  <a:lnTo>
                    <a:pt x="154" y="1263"/>
                  </a:lnTo>
                  <a:lnTo>
                    <a:pt x="159" y="1269"/>
                  </a:lnTo>
                  <a:lnTo>
                    <a:pt x="161" y="1274"/>
                  </a:lnTo>
                  <a:lnTo>
                    <a:pt x="160" y="1278"/>
                  </a:lnTo>
                  <a:lnTo>
                    <a:pt x="160" y="1278"/>
                  </a:lnTo>
                  <a:lnTo>
                    <a:pt x="164" y="1281"/>
                  </a:lnTo>
                  <a:lnTo>
                    <a:pt x="167" y="1285"/>
                  </a:lnTo>
                  <a:lnTo>
                    <a:pt x="165" y="1286"/>
                  </a:lnTo>
                  <a:lnTo>
                    <a:pt x="168" y="1292"/>
                  </a:lnTo>
                  <a:lnTo>
                    <a:pt x="168" y="1293"/>
                  </a:lnTo>
                  <a:lnTo>
                    <a:pt x="167" y="1295"/>
                  </a:lnTo>
                  <a:lnTo>
                    <a:pt x="168" y="1296"/>
                  </a:lnTo>
                  <a:lnTo>
                    <a:pt x="164" y="1303"/>
                  </a:lnTo>
                  <a:lnTo>
                    <a:pt x="165" y="1305"/>
                  </a:lnTo>
                  <a:lnTo>
                    <a:pt x="168" y="1308"/>
                  </a:lnTo>
                  <a:lnTo>
                    <a:pt x="171" y="1311"/>
                  </a:lnTo>
                  <a:lnTo>
                    <a:pt x="168" y="1312"/>
                  </a:lnTo>
                  <a:lnTo>
                    <a:pt x="171" y="1314"/>
                  </a:lnTo>
                  <a:lnTo>
                    <a:pt x="172" y="1315"/>
                  </a:lnTo>
                  <a:lnTo>
                    <a:pt x="172" y="1319"/>
                  </a:lnTo>
                  <a:lnTo>
                    <a:pt x="172" y="1320"/>
                  </a:lnTo>
                  <a:lnTo>
                    <a:pt x="172" y="1320"/>
                  </a:lnTo>
                  <a:lnTo>
                    <a:pt x="178" y="1320"/>
                  </a:lnTo>
                  <a:lnTo>
                    <a:pt x="180" y="1323"/>
                  </a:lnTo>
                  <a:lnTo>
                    <a:pt x="182" y="1322"/>
                  </a:lnTo>
                  <a:lnTo>
                    <a:pt x="183" y="1330"/>
                  </a:lnTo>
                  <a:lnTo>
                    <a:pt x="183" y="1330"/>
                  </a:lnTo>
                  <a:lnTo>
                    <a:pt x="186" y="1331"/>
                  </a:lnTo>
                  <a:lnTo>
                    <a:pt x="190" y="1331"/>
                  </a:lnTo>
                  <a:lnTo>
                    <a:pt x="190" y="1328"/>
                  </a:lnTo>
                  <a:lnTo>
                    <a:pt x="194" y="1328"/>
                  </a:lnTo>
                  <a:lnTo>
                    <a:pt x="194" y="1320"/>
                  </a:lnTo>
                  <a:lnTo>
                    <a:pt x="194" y="1320"/>
                  </a:lnTo>
                  <a:lnTo>
                    <a:pt x="198" y="1315"/>
                  </a:lnTo>
                  <a:lnTo>
                    <a:pt x="199" y="1309"/>
                  </a:lnTo>
                  <a:lnTo>
                    <a:pt x="201" y="1307"/>
                  </a:lnTo>
                  <a:lnTo>
                    <a:pt x="202" y="1303"/>
                  </a:lnTo>
                  <a:lnTo>
                    <a:pt x="206" y="1301"/>
                  </a:lnTo>
                  <a:lnTo>
                    <a:pt x="209" y="1301"/>
                  </a:lnTo>
                  <a:lnTo>
                    <a:pt x="210" y="1300"/>
                  </a:lnTo>
                  <a:lnTo>
                    <a:pt x="213" y="1301"/>
                  </a:lnTo>
                  <a:lnTo>
                    <a:pt x="214" y="1300"/>
                  </a:lnTo>
                  <a:lnTo>
                    <a:pt x="218" y="1300"/>
                  </a:lnTo>
                  <a:lnTo>
                    <a:pt x="221" y="1304"/>
                  </a:lnTo>
                  <a:lnTo>
                    <a:pt x="225" y="1303"/>
                  </a:lnTo>
                  <a:lnTo>
                    <a:pt x="228" y="1296"/>
                  </a:lnTo>
                  <a:lnTo>
                    <a:pt x="229" y="1296"/>
                  </a:lnTo>
                  <a:lnTo>
                    <a:pt x="228" y="1293"/>
                  </a:lnTo>
                  <a:lnTo>
                    <a:pt x="228" y="1292"/>
                  </a:lnTo>
                  <a:lnTo>
                    <a:pt x="228" y="1289"/>
                  </a:lnTo>
                  <a:lnTo>
                    <a:pt x="228" y="1289"/>
                  </a:lnTo>
                  <a:lnTo>
                    <a:pt x="229" y="1288"/>
                  </a:lnTo>
                  <a:lnTo>
                    <a:pt x="230" y="1285"/>
                  </a:lnTo>
                  <a:lnTo>
                    <a:pt x="230" y="1285"/>
                  </a:lnTo>
                  <a:lnTo>
                    <a:pt x="235" y="1285"/>
                  </a:lnTo>
                  <a:lnTo>
                    <a:pt x="237" y="1284"/>
                  </a:lnTo>
                  <a:lnTo>
                    <a:pt x="237" y="1281"/>
                  </a:lnTo>
                  <a:lnTo>
                    <a:pt x="239" y="1278"/>
                  </a:lnTo>
                  <a:lnTo>
                    <a:pt x="239" y="1276"/>
                  </a:lnTo>
                  <a:lnTo>
                    <a:pt x="241" y="1273"/>
                  </a:lnTo>
                  <a:lnTo>
                    <a:pt x="239" y="1270"/>
                  </a:lnTo>
                  <a:lnTo>
                    <a:pt x="240" y="1267"/>
                  </a:lnTo>
                  <a:lnTo>
                    <a:pt x="239" y="1266"/>
                  </a:lnTo>
                  <a:lnTo>
                    <a:pt x="237" y="1265"/>
                  </a:lnTo>
                  <a:lnTo>
                    <a:pt x="235" y="1263"/>
                  </a:lnTo>
                  <a:lnTo>
                    <a:pt x="233" y="1263"/>
                  </a:lnTo>
                  <a:lnTo>
                    <a:pt x="233" y="1263"/>
                  </a:lnTo>
                  <a:lnTo>
                    <a:pt x="233" y="1258"/>
                  </a:lnTo>
                  <a:lnTo>
                    <a:pt x="235" y="1254"/>
                  </a:lnTo>
                  <a:lnTo>
                    <a:pt x="233" y="1252"/>
                  </a:lnTo>
                  <a:lnTo>
                    <a:pt x="232" y="1254"/>
                  </a:lnTo>
                  <a:lnTo>
                    <a:pt x="229" y="1252"/>
                  </a:lnTo>
                  <a:lnTo>
                    <a:pt x="229" y="1252"/>
                  </a:lnTo>
                  <a:lnTo>
                    <a:pt x="226" y="1252"/>
                  </a:lnTo>
                  <a:lnTo>
                    <a:pt x="224" y="1252"/>
                  </a:lnTo>
                  <a:lnTo>
                    <a:pt x="225" y="1251"/>
                  </a:lnTo>
                  <a:lnTo>
                    <a:pt x="228" y="1251"/>
                  </a:lnTo>
                  <a:lnTo>
                    <a:pt x="229" y="1251"/>
                  </a:lnTo>
                  <a:lnTo>
                    <a:pt x="229" y="1251"/>
                  </a:lnTo>
                  <a:lnTo>
                    <a:pt x="222" y="1248"/>
                  </a:lnTo>
                  <a:lnTo>
                    <a:pt x="217" y="1247"/>
                  </a:lnTo>
                  <a:lnTo>
                    <a:pt x="217" y="1244"/>
                  </a:lnTo>
                  <a:lnTo>
                    <a:pt x="221" y="1242"/>
                  </a:lnTo>
                  <a:lnTo>
                    <a:pt x="226" y="1244"/>
                  </a:lnTo>
                  <a:lnTo>
                    <a:pt x="226" y="1244"/>
                  </a:lnTo>
                  <a:lnTo>
                    <a:pt x="229" y="1240"/>
                  </a:lnTo>
                  <a:lnTo>
                    <a:pt x="232" y="1236"/>
                  </a:lnTo>
                  <a:lnTo>
                    <a:pt x="229" y="1236"/>
                  </a:lnTo>
                  <a:lnTo>
                    <a:pt x="229" y="1236"/>
                  </a:lnTo>
                  <a:lnTo>
                    <a:pt x="229" y="1232"/>
                  </a:lnTo>
                  <a:lnTo>
                    <a:pt x="229" y="1229"/>
                  </a:lnTo>
                  <a:lnTo>
                    <a:pt x="229" y="1228"/>
                  </a:lnTo>
                  <a:lnTo>
                    <a:pt x="229" y="1228"/>
                  </a:lnTo>
                  <a:lnTo>
                    <a:pt x="232" y="1225"/>
                  </a:lnTo>
                  <a:lnTo>
                    <a:pt x="235" y="1223"/>
                  </a:lnTo>
                  <a:lnTo>
                    <a:pt x="235" y="1219"/>
                  </a:lnTo>
                  <a:lnTo>
                    <a:pt x="235" y="1219"/>
                  </a:lnTo>
                  <a:lnTo>
                    <a:pt x="239" y="1216"/>
                  </a:lnTo>
                  <a:lnTo>
                    <a:pt x="243" y="1214"/>
                  </a:lnTo>
                  <a:lnTo>
                    <a:pt x="245" y="1217"/>
                  </a:lnTo>
                  <a:lnTo>
                    <a:pt x="247" y="1217"/>
                  </a:lnTo>
                  <a:lnTo>
                    <a:pt x="247" y="1214"/>
                  </a:lnTo>
                  <a:lnTo>
                    <a:pt x="244" y="1212"/>
                  </a:lnTo>
                  <a:lnTo>
                    <a:pt x="244" y="1209"/>
                  </a:lnTo>
                  <a:lnTo>
                    <a:pt x="244" y="1209"/>
                  </a:lnTo>
                  <a:lnTo>
                    <a:pt x="241" y="1208"/>
                  </a:lnTo>
                  <a:lnTo>
                    <a:pt x="241" y="1210"/>
                  </a:lnTo>
                  <a:lnTo>
                    <a:pt x="239" y="1210"/>
                  </a:lnTo>
                  <a:lnTo>
                    <a:pt x="235" y="1205"/>
                  </a:lnTo>
                  <a:lnTo>
                    <a:pt x="233" y="1204"/>
                  </a:lnTo>
                  <a:lnTo>
                    <a:pt x="230" y="1205"/>
                  </a:lnTo>
                  <a:lnTo>
                    <a:pt x="228" y="1201"/>
                  </a:lnTo>
                  <a:lnTo>
                    <a:pt x="229" y="1201"/>
                  </a:lnTo>
                  <a:lnTo>
                    <a:pt x="235" y="1202"/>
                  </a:lnTo>
                  <a:lnTo>
                    <a:pt x="237" y="1205"/>
                  </a:lnTo>
                  <a:lnTo>
                    <a:pt x="237" y="1205"/>
                  </a:lnTo>
                  <a:lnTo>
                    <a:pt x="240" y="1206"/>
                  </a:lnTo>
                  <a:lnTo>
                    <a:pt x="243" y="1206"/>
                  </a:lnTo>
                  <a:lnTo>
                    <a:pt x="243" y="1206"/>
                  </a:lnTo>
                  <a:lnTo>
                    <a:pt x="244" y="1202"/>
                  </a:lnTo>
                  <a:lnTo>
                    <a:pt x="245" y="1198"/>
                  </a:lnTo>
                  <a:lnTo>
                    <a:pt x="245" y="1197"/>
                  </a:lnTo>
                  <a:lnTo>
                    <a:pt x="245" y="1197"/>
                  </a:lnTo>
                  <a:lnTo>
                    <a:pt x="240" y="1195"/>
                  </a:lnTo>
                  <a:lnTo>
                    <a:pt x="237" y="1195"/>
                  </a:lnTo>
                  <a:lnTo>
                    <a:pt x="235" y="1194"/>
                  </a:lnTo>
                  <a:lnTo>
                    <a:pt x="236" y="1191"/>
                  </a:lnTo>
                  <a:lnTo>
                    <a:pt x="240" y="1194"/>
                  </a:lnTo>
                  <a:lnTo>
                    <a:pt x="241" y="1194"/>
                  </a:lnTo>
                  <a:lnTo>
                    <a:pt x="243" y="1193"/>
                  </a:lnTo>
                  <a:lnTo>
                    <a:pt x="243" y="1189"/>
                  </a:lnTo>
                  <a:lnTo>
                    <a:pt x="240" y="1187"/>
                  </a:lnTo>
                  <a:lnTo>
                    <a:pt x="240" y="1186"/>
                  </a:lnTo>
                  <a:lnTo>
                    <a:pt x="243" y="1185"/>
                  </a:lnTo>
                  <a:lnTo>
                    <a:pt x="244" y="1181"/>
                  </a:lnTo>
                  <a:lnTo>
                    <a:pt x="245" y="1181"/>
                  </a:lnTo>
                  <a:lnTo>
                    <a:pt x="245" y="1179"/>
                  </a:lnTo>
                  <a:lnTo>
                    <a:pt x="247" y="1179"/>
                  </a:lnTo>
                  <a:lnTo>
                    <a:pt x="248" y="1178"/>
                  </a:lnTo>
                  <a:lnTo>
                    <a:pt x="248" y="1176"/>
                  </a:lnTo>
                  <a:lnTo>
                    <a:pt x="249" y="1179"/>
                  </a:lnTo>
                  <a:lnTo>
                    <a:pt x="249" y="1179"/>
                  </a:lnTo>
                  <a:lnTo>
                    <a:pt x="252" y="1186"/>
                  </a:lnTo>
                  <a:lnTo>
                    <a:pt x="252" y="1193"/>
                  </a:lnTo>
                  <a:lnTo>
                    <a:pt x="254" y="1194"/>
                  </a:lnTo>
                  <a:lnTo>
                    <a:pt x="254" y="1194"/>
                  </a:lnTo>
                  <a:lnTo>
                    <a:pt x="255" y="1191"/>
                  </a:lnTo>
                  <a:lnTo>
                    <a:pt x="256" y="1189"/>
                  </a:lnTo>
                  <a:lnTo>
                    <a:pt x="256" y="1193"/>
                  </a:lnTo>
                  <a:lnTo>
                    <a:pt x="255" y="1194"/>
                  </a:lnTo>
                  <a:lnTo>
                    <a:pt x="255" y="1194"/>
                  </a:lnTo>
                  <a:lnTo>
                    <a:pt x="255" y="1200"/>
                  </a:lnTo>
                  <a:lnTo>
                    <a:pt x="254" y="1204"/>
                  </a:lnTo>
                  <a:lnTo>
                    <a:pt x="252" y="1206"/>
                  </a:lnTo>
                  <a:lnTo>
                    <a:pt x="252" y="1209"/>
                  </a:lnTo>
                  <a:lnTo>
                    <a:pt x="254" y="1210"/>
                  </a:lnTo>
                  <a:lnTo>
                    <a:pt x="256" y="1209"/>
                  </a:lnTo>
                  <a:lnTo>
                    <a:pt x="260" y="1209"/>
                  </a:lnTo>
                  <a:lnTo>
                    <a:pt x="262" y="1202"/>
                  </a:lnTo>
                  <a:lnTo>
                    <a:pt x="264" y="1202"/>
                  </a:lnTo>
                  <a:lnTo>
                    <a:pt x="264" y="1205"/>
                  </a:lnTo>
                  <a:lnTo>
                    <a:pt x="264" y="1206"/>
                  </a:lnTo>
                  <a:lnTo>
                    <a:pt x="263" y="1206"/>
                  </a:lnTo>
                  <a:lnTo>
                    <a:pt x="260" y="1213"/>
                  </a:lnTo>
                  <a:lnTo>
                    <a:pt x="259" y="1210"/>
                  </a:lnTo>
                  <a:lnTo>
                    <a:pt x="255" y="1214"/>
                  </a:lnTo>
                  <a:lnTo>
                    <a:pt x="256" y="1217"/>
                  </a:lnTo>
                  <a:lnTo>
                    <a:pt x="258" y="1220"/>
                  </a:lnTo>
                  <a:lnTo>
                    <a:pt x="260" y="1219"/>
                  </a:lnTo>
                  <a:lnTo>
                    <a:pt x="263" y="1214"/>
                  </a:lnTo>
                  <a:lnTo>
                    <a:pt x="268" y="1212"/>
                  </a:lnTo>
                  <a:lnTo>
                    <a:pt x="268" y="1209"/>
                  </a:lnTo>
                  <a:lnTo>
                    <a:pt x="273" y="1202"/>
                  </a:lnTo>
                  <a:lnTo>
                    <a:pt x="273" y="1195"/>
                  </a:lnTo>
                  <a:lnTo>
                    <a:pt x="271" y="1194"/>
                  </a:lnTo>
                  <a:lnTo>
                    <a:pt x="273" y="1191"/>
                  </a:lnTo>
                  <a:lnTo>
                    <a:pt x="274" y="1190"/>
                  </a:lnTo>
                  <a:lnTo>
                    <a:pt x="274" y="1190"/>
                  </a:lnTo>
                  <a:lnTo>
                    <a:pt x="274" y="1189"/>
                  </a:lnTo>
                  <a:lnTo>
                    <a:pt x="275" y="1186"/>
                  </a:lnTo>
                  <a:lnTo>
                    <a:pt x="278" y="1181"/>
                  </a:lnTo>
                  <a:lnTo>
                    <a:pt x="282" y="1178"/>
                  </a:lnTo>
                  <a:lnTo>
                    <a:pt x="285" y="1178"/>
                  </a:lnTo>
                  <a:lnTo>
                    <a:pt x="286" y="1178"/>
                  </a:lnTo>
                  <a:lnTo>
                    <a:pt x="290" y="1182"/>
                  </a:lnTo>
                  <a:lnTo>
                    <a:pt x="292" y="1185"/>
                  </a:lnTo>
                  <a:lnTo>
                    <a:pt x="293" y="1183"/>
                  </a:lnTo>
                  <a:lnTo>
                    <a:pt x="294" y="1182"/>
                  </a:lnTo>
                  <a:lnTo>
                    <a:pt x="296" y="1179"/>
                  </a:lnTo>
                  <a:lnTo>
                    <a:pt x="297" y="1178"/>
                  </a:lnTo>
                  <a:lnTo>
                    <a:pt x="297" y="1176"/>
                  </a:lnTo>
                  <a:lnTo>
                    <a:pt x="298" y="1174"/>
                  </a:lnTo>
                  <a:lnTo>
                    <a:pt x="300" y="1174"/>
                  </a:lnTo>
                  <a:lnTo>
                    <a:pt x="301" y="1171"/>
                  </a:lnTo>
                  <a:lnTo>
                    <a:pt x="304" y="1170"/>
                  </a:lnTo>
                  <a:lnTo>
                    <a:pt x="304" y="1168"/>
                  </a:lnTo>
                  <a:lnTo>
                    <a:pt x="308" y="1166"/>
                  </a:lnTo>
                  <a:lnTo>
                    <a:pt x="308" y="1166"/>
                  </a:lnTo>
                  <a:lnTo>
                    <a:pt x="309" y="1163"/>
                  </a:lnTo>
                  <a:lnTo>
                    <a:pt x="313" y="1160"/>
                  </a:lnTo>
                  <a:lnTo>
                    <a:pt x="320" y="1160"/>
                  </a:lnTo>
                  <a:lnTo>
                    <a:pt x="320" y="1162"/>
                  </a:lnTo>
                  <a:lnTo>
                    <a:pt x="325" y="1163"/>
                  </a:lnTo>
                  <a:lnTo>
                    <a:pt x="328" y="1163"/>
                  </a:lnTo>
                  <a:lnTo>
                    <a:pt x="329" y="1163"/>
                  </a:lnTo>
                  <a:lnTo>
                    <a:pt x="331" y="1167"/>
                  </a:lnTo>
                  <a:lnTo>
                    <a:pt x="334" y="1170"/>
                  </a:lnTo>
                  <a:lnTo>
                    <a:pt x="335" y="1168"/>
                  </a:lnTo>
                  <a:lnTo>
                    <a:pt x="335" y="1168"/>
                  </a:lnTo>
                  <a:lnTo>
                    <a:pt x="336" y="1164"/>
                  </a:lnTo>
                  <a:lnTo>
                    <a:pt x="338" y="1160"/>
                  </a:lnTo>
                  <a:lnTo>
                    <a:pt x="342" y="1160"/>
                  </a:lnTo>
                  <a:lnTo>
                    <a:pt x="342" y="1158"/>
                  </a:lnTo>
                  <a:lnTo>
                    <a:pt x="339" y="1156"/>
                  </a:lnTo>
                  <a:lnTo>
                    <a:pt x="340" y="1153"/>
                  </a:lnTo>
                  <a:lnTo>
                    <a:pt x="346" y="1149"/>
                  </a:lnTo>
                  <a:lnTo>
                    <a:pt x="346" y="1147"/>
                  </a:lnTo>
                  <a:lnTo>
                    <a:pt x="340" y="1143"/>
                  </a:lnTo>
                  <a:lnTo>
                    <a:pt x="342" y="1140"/>
                  </a:lnTo>
                  <a:lnTo>
                    <a:pt x="340" y="1139"/>
                  </a:lnTo>
                  <a:lnTo>
                    <a:pt x="340" y="1139"/>
                  </a:lnTo>
                  <a:lnTo>
                    <a:pt x="340" y="1136"/>
                  </a:lnTo>
                  <a:lnTo>
                    <a:pt x="343" y="1133"/>
                  </a:lnTo>
                  <a:lnTo>
                    <a:pt x="340" y="1130"/>
                  </a:lnTo>
                  <a:lnTo>
                    <a:pt x="340" y="1128"/>
                  </a:lnTo>
                  <a:lnTo>
                    <a:pt x="347" y="1120"/>
                  </a:lnTo>
                  <a:lnTo>
                    <a:pt x="351" y="1121"/>
                  </a:lnTo>
                  <a:lnTo>
                    <a:pt x="351" y="1121"/>
                  </a:lnTo>
                  <a:lnTo>
                    <a:pt x="351" y="1118"/>
                  </a:lnTo>
                  <a:lnTo>
                    <a:pt x="351" y="1115"/>
                  </a:lnTo>
                  <a:lnTo>
                    <a:pt x="348" y="1115"/>
                  </a:lnTo>
                  <a:lnTo>
                    <a:pt x="348" y="1115"/>
                  </a:lnTo>
                  <a:lnTo>
                    <a:pt x="347" y="1107"/>
                  </a:lnTo>
                  <a:lnTo>
                    <a:pt x="347" y="1105"/>
                  </a:lnTo>
                  <a:lnTo>
                    <a:pt x="351" y="1101"/>
                  </a:lnTo>
                  <a:lnTo>
                    <a:pt x="351" y="1101"/>
                  </a:lnTo>
                  <a:lnTo>
                    <a:pt x="353" y="1101"/>
                  </a:lnTo>
                  <a:lnTo>
                    <a:pt x="355" y="1099"/>
                  </a:lnTo>
                  <a:lnTo>
                    <a:pt x="358" y="1098"/>
                  </a:lnTo>
                  <a:lnTo>
                    <a:pt x="358" y="1098"/>
                  </a:lnTo>
                  <a:lnTo>
                    <a:pt x="363" y="1096"/>
                  </a:lnTo>
                  <a:lnTo>
                    <a:pt x="367" y="1095"/>
                  </a:lnTo>
                  <a:lnTo>
                    <a:pt x="370" y="1090"/>
                  </a:lnTo>
                  <a:lnTo>
                    <a:pt x="374" y="1091"/>
                  </a:lnTo>
                  <a:lnTo>
                    <a:pt x="373" y="1092"/>
                  </a:lnTo>
                  <a:lnTo>
                    <a:pt x="377" y="1096"/>
                  </a:lnTo>
                  <a:lnTo>
                    <a:pt x="377" y="1107"/>
                  </a:lnTo>
                  <a:lnTo>
                    <a:pt x="380" y="1110"/>
                  </a:lnTo>
                  <a:lnTo>
                    <a:pt x="381" y="1110"/>
                  </a:lnTo>
                  <a:lnTo>
                    <a:pt x="382" y="1105"/>
                  </a:lnTo>
                  <a:lnTo>
                    <a:pt x="385" y="1106"/>
                  </a:lnTo>
                  <a:lnTo>
                    <a:pt x="385" y="1106"/>
                  </a:lnTo>
                  <a:lnTo>
                    <a:pt x="388" y="1103"/>
                  </a:lnTo>
                  <a:lnTo>
                    <a:pt x="392" y="1103"/>
                  </a:lnTo>
                  <a:lnTo>
                    <a:pt x="399" y="1105"/>
                  </a:lnTo>
                  <a:lnTo>
                    <a:pt x="404" y="1102"/>
                  </a:lnTo>
                  <a:lnTo>
                    <a:pt x="405" y="1102"/>
                  </a:lnTo>
                  <a:lnTo>
                    <a:pt x="405" y="1103"/>
                  </a:lnTo>
                  <a:lnTo>
                    <a:pt x="407" y="1105"/>
                  </a:lnTo>
                  <a:lnTo>
                    <a:pt x="408" y="1102"/>
                  </a:lnTo>
                  <a:lnTo>
                    <a:pt x="408" y="1102"/>
                  </a:lnTo>
                  <a:lnTo>
                    <a:pt x="411" y="1101"/>
                  </a:lnTo>
                  <a:lnTo>
                    <a:pt x="414" y="1099"/>
                  </a:lnTo>
                  <a:lnTo>
                    <a:pt x="414" y="1099"/>
                  </a:lnTo>
                  <a:lnTo>
                    <a:pt x="426" y="1105"/>
                  </a:lnTo>
                  <a:lnTo>
                    <a:pt x="426" y="1105"/>
                  </a:lnTo>
                  <a:lnTo>
                    <a:pt x="430" y="1105"/>
                  </a:lnTo>
                  <a:lnTo>
                    <a:pt x="434" y="1103"/>
                  </a:lnTo>
                  <a:lnTo>
                    <a:pt x="438" y="1101"/>
                  </a:lnTo>
                  <a:lnTo>
                    <a:pt x="442" y="1101"/>
                  </a:lnTo>
                  <a:lnTo>
                    <a:pt x="443" y="1096"/>
                  </a:lnTo>
                  <a:lnTo>
                    <a:pt x="445" y="1096"/>
                  </a:lnTo>
                  <a:lnTo>
                    <a:pt x="452" y="1099"/>
                  </a:lnTo>
                  <a:lnTo>
                    <a:pt x="453" y="1098"/>
                  </a:lnTo>
                  <a:lnTo>
                    <a:pt x="453" y="1095"/>
                  </a:lnTo>
                  <a:lnTo>
                    <a:pt x="460" y="1092"/>
                  </a:lnTo>
                  <a:lnTo>
                    <a:pt x="461" y="1090"/>
                  </a:lnTo>
                  <a:lnTo>
                    <a:pt x="460" y="1088"/>
                  </a:lnTo>
                  <a:lnTo>
                    <a:pt x="460" y="1088"/>
                  </a:lnTo>
                  <a:lnTo>
                    <a:pt x="462" y="1084"/>
                  </a:lnTo>
                  <a:lnTo>
                    <a:pt x="467" y="1082"/>
                  </a:lnTo>
                  <a:lnTo>
                    <a:pt x="467" y="1082"/>
                  </a:lnTo>
                  <a:lnTo>
                    <a:pt x="475" y="1080"/>
                  </a:lnTo>
                  <a:lnTo>
                    <a:pt x="484" y="1080"/>
                  </a:lnTo>
                  <a:lnTo>
                    <a:pt x="484" y="1080"/>
                  </a:lnTo>
                  <a:lnTo>
                    <a:pt x="491" y="1083"/>
                  </a:lnTo>
                  <a:lnTo>
                    <a:pt x="491" y="1083"/>
                  </a:lnTo>
                  <a:lnTo>
                    <a:pt x="496" y="1082"/>
                  </a:lnTo>
                  <a:lnTo>
                    <a:pt x="502" y="1082"/>
                  </a:lnTo>
                  <a:lnTo>
                    <a:pt x="505" y="1080"/>
                  </a:lnTo>
                  <a:lnTo>
                    <a:pt x="505" y="1080"/>
                  </a:lnTo>
                  <a:lnTo>
                    <a:pt x="510" y="1082"/>
                  </a:lnTo>
                  <a:lnTo>
                    <a:pt x="514" y="1082"/>
                  </a:lnTo>
                  <a:lnTo>
                    <a:pt x="514" y="1082"/>
                  </a:lnTo>
                  <a:lnTo>
                    <a:pt x="525" y="1086"/>
                  </a:lnTo>
                  <a:lnTo>
                    <a:pt x="525" y="1086"/>
                  </a:lnTo>
                  <a:lnTo>
                    <a:pt x="541" y="1099"/>
                  </a:lnTo>
                  <a:lnTo>
                    <a:pt x="541" y="1099"/>
                  </a:lnTo>
                  <a:lnTo>
                    <a:pt x="544" y="1102"/>
                  </a:lnTo>
                  <a:lnTo>
                    <a:pt x="544" y="1106"/>
                  </a:lnTo>
                  <a:lnTo>
                    <a:pt x="543" y="1107"/>
                  </a:lnTo>
                  <a:lnTo>
                    <a:pt x="543" y="1109"/>
                  </a:lnTo>
                  <a:lnTo>
                    <a:pt x="543" y="1111"/>
                  </a:lnTo>
                  <a:lnTo>
                    <a:pt x="543" y="1111"/>
                  </a:lnTo>
                  <a:lnTo>
                    <a:pt x="545" y="1110"/>
                  </a:lnTo>
                  <a:lnTo>
                    <a:pt x="549" y="1109"/>
                  </a:lnTo>
                  <a:lnTo>
                    <a:pt x="552" y="1109"/>
                  </a:lnTo>
                  <a:lnTo>
                    <a:pt x="556" y="1109"/>
                  </a:lnTo>
                  <a:lnTo>
                    <a:pt x="556" y="1106"/>
                  </a:lnTo>
                  <a:lnTo>
                    <a:pt x="552" y="1101"/>
                  </a:lnTo>
                  <a:lnTo>
                    <a:pt x="552" y="1098"/>
                  </a:lnTo>
                  <a:lnTo>
                    <a:pt x="552" y="1098"/>
                  </a:lnTo>
                  <a:lnTo>
                    <a:pt x="557" y="1094"/>
                  </a:lnTo>
                  <a:lnTo>
                    <a:pt x="563" y="1092"/>
                  </a:lnTo>
                  <a:lnTo>
                    <a:pt x="564" y="1091"/>
                  </a:lnTo>
                  <a:lnTo>
                    <a:pt x="564" y="1087"/>
                  </a:lnTo>
                  <a:lnTo>
                    <a:pt x="561" y="1086"/>
                  </a:lnTo>
                  <a:lnTo>
                    <a:pt x="561" y="1083"/>
                  </a:lnTo>
                  <a:lnTo>
                    <a:pt x="560" y="1082"/>
                  </a:lnTo>
                  <a:lnTo>
                    <a:pt x="555" y="1086"/>
                  </a:lnTo>
                  <a:lnTo>
                    <a:pt x="555" y="1087"/>
                  </a:lnTo>
                  <a:lnTo>
                    <a:pt x="555" y="1087"/>
                  </a:lnTo>
                  <a:lnTo>
                    <a:pt x="549" y="1090"/>
                  </a:lnTo>
                  <a:lnTo>
                    <a:pt x="547" y="1088"/>
                  </a:lnTo>
                  <a:lnTo>
                    <a:pt x="548" y="1088"/>
                  </a:lnTo>
                  <a:lnTo>
                    <a:pt x="551" y="1088"/>
                  </a:lnTo>
                  <a:lnTo>
                    <a:pt x="553" y="1086"/>
                  </a:lnTo>
                  <a:lnTo>
                    <a:pt x="553" y="1084"/>
                  </a:lnTo>
                  <a:lnTo>
                    <a:pt x="552" y="1083"/>
                  </a:lnTo>
                  <a:lnTo>
                    <a:pt x="549" y="1082"/>
                  </a:lnTo>
                  <a:lnTo>
                    <a:pt x="548" y="1083"/>
                  </a:lnTo>
                  <a:lnTo>
                    <a:pt x="547" y="1086"/>
                  </a:lnTo>
                  <a:lnTo>
                    <a:pt x="545" y="1084"/>
                  </a:lnTo>
                  <a:lnTo>
                    <a:pt x="544" y="1083"/>
                  </a:lnTo>
                  <a:lnTo>
                    <a:pt x="544" y="1082"/>
                  </a:lnTo>
                  <a:lnTo>
                    <a:pt x="543" y="1080"/>
                  </a:lnTo>
                  <a:lnTo>
                    <a:pt x="541" y="1080"/>
                  </a:lnTo>
                  <a:lnTo>
                    <a:pt x="540" y="1079"/>
                  </a:lnTo>
                  <a:lnTo>
                    <a:pt x="540" y="1079"/>
                  </a:lnTo>
                  <a:lnTo>
                    <a:pt x="541" y="1079"/>
                  </a:lnTo>
                  <a:lnTo>
                    <a:pt x="544" y="1076"/>
                  </a:lnTo>
                  <a:lnTo>
                    <a:pt x="545" y="1077"/>
                  </a:lnTo>
                  <a:lnTo>
                    <a:pt x="545" y="1077"/>
                  </a:lnTo>
                  <a:lnTo>
                    <a:pt x="549" y="1076"/>
                  </a:lnTo>
                  <a:lnTo>
                    <a:pt x="553" y="1076"/>
                  </a:lnTo>
                  <a:lnTo>
                    <a:pt x="555" y="1075"/>
                  </a:lnTo>
                  <a:lnTo>
                    <a:pt x="555" y="1072"/>
                  </a:lnTo>
                  <a:lnTo>
                    <a:pt x="552" y="1069"/>
                  </a:lnTo>
                  <a:lnTo>
                    <a:pt x="553" y="1068"/>
                  </a:lnTo>
                  <a:lnTo>
                    <a:pt x="549" y="1065"/>
                  </a:lnTo>
                  <a:lnTo>
                    <a:pt x="551" y="1065"/>
                  </a:lnTo>
                  <a:lnTo>
                    <a:pt x="547" y="1063"/>
                  </a:lnTo>
                  <a:lnTo>
                    <a:pt x="547" y="1063"/>
                  </a:lnTo>
                  <a:lnTo>
                    <a:pt x="548" y="1056"/>
                  </a:lnTo>
                  <a:lnTo>
                    <a:pt x="549" y="1049"/>
                  </a:lnTo>
                  <a:lnTo>
                    <a:pt x="547" y="1048"/>
                  </a:lnTo>
                  <a:lnTo>
                    <a:pt x="548" y="1042"/>
                  </a:lnTo>
                  <a:lnTo>
                    <a:pt x="552" y="1041"/>
                  </a:lnTo>
                  <a:lnTo>
                    <a:pt x="555" y="1042"/>
                  </a:lnTo>
                  <a:lnTo>
                    <a:pt x="555" y="1042"/>
                  </a:lnTo>
                  <a:lnTo>
                    <a:pt x="552" y="1050"/>
                  </a:lnTo>
                  <a:lnTo>
                    <a:pt x="551" y="1057"/>
                  </a:lnTo>
                  <a:lnTo>
                    <a:pt x="551" y="1060"/>
                  </a:lnTo>
                  <a:lnTo>
                    <a:pt x="553" y="1061"/>
                  </a:lnTo>
                  <a:lnTo>
                    <a:pt x="556" y="1061"/>
                  </a:lnTo>
                  <a:lnTo>
                    <a:pt x="557" y="1063"/>
                  </a:lnTo>
                  <a:lnTo>
                    <a:pt x="555" y="1064"/>
                  </a:lnTo>
                  <a:lnTo>
                    <a:pt x="555" y="1064"/>
                  </a:lnTo>
                  <a:lnTo>
                    <a:pt x="557" y="1071"/>
                  </a:lnTo>
                  <a:lnTo>
                    <a:pt x="556" y="1077"/>
                  </a:lnTo>
                  <a:lnTo>
                    <a:pt x="557" y="1080"/>
                  </a:lnTo>
                  <a:lnTo>
                    <a:pt x="563" y="1080"/>
                  </a:lnTo>
                  <a:lnTo>
                    <a:pt x="564" y="1077"/>
                  </a:lnTo>
                  <a:lnTo>
                    <a:pt x="566" y="1080"/>
                  </a:lnTo>
                  <a:lnTo>
                    <a:pt x="564" y="1082"/>
                  </a:lnTo>
                  <a:lnTo>
                    <a:pt x="564" y="1083"/>
                  </a:lnTo>
                  <a:lnTo>
                    <a:pt x="566" y="1083"/>
                  </a:lnTo>
                  <a:lnTo>
                    <a:pt x="568" y="1082"/>
                  </a:lnTo>
                  <a:lnTo>
                    <a:pt x="575" y="1080"/>
                  </a:lnTo>
                  <a:lnTo>
                    <a:pt x="576" y="1077"/>
                  </a:lnTo>
                  <a:lnTo>
                    <a:pt x="582" y="1082"/>
                  </a:lnTo>
                  <a:lnTo>
                    <a:pt x="585" y="1082"/>
                  </a:lnTo>
                  <a:lnTo>
                    <a:pt x="583" y="1083"/>
                  </a:lnTo>
                  <a:lnTo>
                    <a:pt x="586" y="1084"/>
                  </a:lnTo>
                  <a:lnTo>
                    <a:pt x="585" y="1086"/>
                  </a:lnTo>
                  <a:lnTo>
                    <a:pt x="583" y="1086"/>
                  </a:lnTo>
                  <a:lnTo>
                    <a:pt x="582" y="1083"/>
                  </a:lnTo>
                  <a:lnTo>
                    <a:pt x="576" y="1083"/>
                  </a:lnTo>
                  <a:lnTo>
                    <a:pt x="576" y="1083"/>
                  </a:lnTo>
                  <a:lnTo>
                    <a:pt x="579" y="1086"/>
                  </a:lnTo>
                  <a:lnTo>
                    <a:pt x="580" y="1090"/>
                  </a:lnTo>
                  <a:lnTo>
                    <a:pt x="578" y="1094"/>
                  </a:lnTo>
                  <a:lnTo>
                    <a:pt x="578" y="1096"/>
                  </a:lnTo>
                  <a:lnTo>
                    <a:pt x="580" y="1098"/>
                  </a:lnTo>
                  <a:lnTo>
                    <a:pt x="580" y="1098"/>
                  </a:lnTo>
                  <a:lnTo>
                    <a:pt x="580" y="1102"/>
                  </a:lnTo>
                  <a:lnTo>
                    <a:pt x="580" y="1107"/>
                  </a:lnTo>
                  <a:lnTo>
                    <a:pt x="583" y="1107"/>
                  </a:lnTo>
                  <a:lnTo>
                    <a:pt x="586" y="1110"/>
                  </a:lnTo>
                  <a:lnTo>
                    <a:pt x="589" y="1109"/>
                  </a:lnTo>
                  <a:lnTo>
                    <a:pt x="589" y="1109"/>
                  </a:lnTo>
                  <a:lnTo>
                    <a:pt x="591" y="1109"/>
                  </a:lnTo>
                  <a:lnTo>
                    <a:pt x="594" y="1109"/>
                  </a:lnTo>
                  <a:lnTo>
                    <a:pt x="594" y="1109"/>
                  </a:lnTo>
                  <a:lnTo>
                    <a:pt x="597" y="1111"/>
                  </a:lnTo>
                  <a:lnTo>
                    <a:pt x="598" y="1114"/>
                  </a:lnTo>
                  <a:lnTo>
                    <a:pt x="598" y="1115"/>
                  </a:lnTo>
                  <a:lnTo>
                    <a:pt x="598" y="1117"/>
                  </a:lnTo>
                  <a:lnTo>
                    <a:pt x="598" y="1117"/>
                  </a:lnTo>
                  <a:lnTo>
                    <a:pt x="606" y="1122"/>
                  </a:lnTo>
                  <a:lnTo>
                    <a:pt x="612" y="1124"/>
                  </a:lnTo>
                  <a:lnTo>
                    <a:pt x="613" y="1124"/>
                  </a:lnTo>
                  <a:lnTo>
                    <a:pt x="616" y="1122"/>
                  </a:lnTo>
                  <a:lnTo>
                    <a:pt x="617" y="1122"/>
                  </a:lnTo>
                  <a:lnTo>
                    <a:pt x="620" y="1118"/>
                  </a:lnTo>
                  <a:lnTo>
                    <a:pt x="623" y="1118"/>
                  </a:lnTo>
                  <a:lnTo>
                    <a:pt x="624" y="1118"/>
                  </a:lnTo>
                  <a:lnTo>
                    <a:pt x="627" y="1115"/>
                  </a:lnTo>
                  <a:lnTo>
                    <a:pt x="627" y="1115"/>
                  </a:lnTo>
                  <a:lnTo>
                    <a:pt x="629" y="1115"/>
                  </a:lnTo>
                  <a:lnTo>
                    <a:pt x="632" y="1115"/>
                  </a:lnTo>
                  <a:lnTo>
                    <a:pt x="637" y="1117"/>
                  </a:lnTo>
                  <a:lnTo>
                    <a:pt x="637" y="1117"/>
                  </a:lnTo>
                  <a:lnTo>
                    <a:pt x="642" y="1114"/>
                  </a:lnTo>
                  <a:lnTo>
                    <a:pt x="646" y="1111"/>
                  </a:lnTo>
                  <a:lnTo>
                    <a:pt x="647" y="1107"/>
                  </a:lnTo>
                  <a:lnTo>
                    <a:pt x="647" y="1102"/>
                  </a:lnTo>
                  <a:lnTo>
                    <a:pt x="650" y="1099"/>
                  </a:lnTo>
                  <a:lnTo>
                    <a:pt x="648" y="1103"/>
                  </a:lnTo>
                  <a:lnTo>
                    <a:pt x="651" y="1105"/>
                  </a:lnTo>
                  <a:lnTo>
                    <a:pt x="648" y="1106"/>
                  </a:lnTo>
                  <a:lnTo>
                    <a:pt x="648" y="1106"/>
                  </a:lnTo>
                  <a:lnTo>
                    <a:pt x="647" y="1113"/>
                  </a:lnTo>
                  <a:lnTo>
                    <a:pt x="644" y="1118"/>
                  </a:lnTo>
                  <a:lnTo>
                    <a:pt x="646" y="1122"/>
                  </a:lnTo>
                  <a:lnTo>
                    <a:pt x="655" y="1122"/>
                  </a:lnTo>
                  <a:lnTo>
                    <a:pt x="655" y="1122"/>
                  </a:lnTo>
                  <a:lnTo>
                    <a:pt x="659" y="1125"/>
                  </a:lnTo>
                  <a:lnTo>
                    <a:pt x="661" y="1129"/>
                  </a:lnTo>
                  <a:lnTo>
                    <a:pt x="663" y="1132"/>
                  </a:lnTo>
                  <a:lnTo>
                    <a:pt x="667" y="1136"/>
                  </a:lnTo>
                  <a:lnTo>
                    <a:pt x="675" y="1143"/>
                  </a:lnTo>
                  <a:lnTo>
                    <a:pt x="674" y="1155"/>
                  </a:lnTo>
                  <a:lnTo>
                    <a:pt x="673" y="1155"/>
                  </a:lnTo>
                  <a:lnTo>
                    <a:pt x="671" y="1156"/>
                  </a:lnTo>
                  <a:lnTo>
                    <a:pt x="673" y="1158"/>
                  </a:lnTo>
                  <a:lnTo>
                    <a:pt x="673" y="1158"/>
                  </a:lnTo>
                  <a:lnTo>
                    <a:pt x="677" y="1160"/>
                  </a:lnTo>
                  <a:lnTo>
                    <a:pt x="682" y="1163"/>
                  </a:lnTo>
                  <a:lnTo>
                    <a:pt x="686" y="1167"/>
                  </a:lnTo>
                  <a:lnTo>
                    <a:pt x="689" y="1171"/>
                  </a:lnTo>
                  <a:lnTo>
                    <a:pt x="689" y="1171"/>
                  </a:lnTo>
                  <a:lnTo>
                    <a:pt x="696" y="1172"/>
                  </a:lnTo>
                  <a:lnTo>
                    <a:pt x="700" y="1174"/>
                  </a:lnTo>
                  <a:lnTo>
                    <a:pt x="701" y="1175"/>
                  </a:lnTo>
                  <a:lnTo>
                    <a:pt x="701" y="1175"/>
                  </a:lnTo>
                  <a:lnTo>
                    <a:pt x="704" y="1171"/>
                  </a:lnTo>
                  <a:lnTo>
                    <a:pt x="708" y="1167"/>
                  </a:lnTo>
                  <a:lnTo>
                    <a:pt x="709" y="1168"/>
                  </a:lnTo>
                  <a:lnTo>
                    <a:pt x="709" y="1168"/>
                  </a:lnTo>
                  <a:lnTo>
                    <a:pt x="716" y="1170"/>
                  </a:lnTo>
                  <a:lnTo>
                    <a:pt x="720" y="1172"/>
                  </a:lnTo>
                  <a:lnTo>
                    <a:pt x="720" y="1172"/>
                  </a:lnTo>
                  <a:lnTo>
                    <a:pt x="723" y="1176"/>
                  </a:lnTo>
                  <a:lnTo>
                    <a:pt x="727" y="1181"/>
                  </a:lnTo>
                  <a:lnTo>
                    <a:pt x="730" y="1178"/>
                  </a:lnTo>
                  <a:lnTo>
                    <a:pt x="731" y="1178"/>
                  </a:lnTo>
                  <a:lnTo>
                    <a:pt x="731" y="1178"/>
                  </a:lnTo>
                  <a:lnTo>
                    <a:pt x="734" y="1175"/>
                  </a:lnTo>
                  <a:lnTo>
                    <a:pt x="737" y="1172"/>
                  </a:lnTo>
                  <a:lnTo>
                    <a:pt x="742" y="1168"/>
                  </a:lnTo>
                  <a:lnTo>
                    <a:pt x="751" y="1170"/>
                  </a:lnTo>
                  <a:lnTo>
                    <a:pt x="756" y="1167"/>
                  </a:lnTo>
                  <a:lnTo>
                    <a:pt x="750" y="1164"/>
                  </a:lnTo>
                  <a:lnTo>
                    <a:pt x="750" y="1164"/>
                  </a:lnTo>
                  <a:lnTo>
                    <a:pt x="749" y="1160"/>
                  </a:lnTo>
                  <a:lnTo>
                    <a:pt x="749" y="1159"/>
                  </a:lnTo>
                  <a:lnTo>
                    <a:pt x="750" y="1153"/>
                  </a:lnTo>
                  <a:lnTo>
                    <a:pt x="750" y="1153"/>
                  </a:lnTo>
                  <a:lnTo>
                    <a:pt x="753" y="1140"/>
                  </a:lnTo>
                  <a:lnTo>
                    <a:pt x="754" y="1129"/>
                  </a:lnTo>
                  <a:lnTo>
                    <a:pt x="758" y="1118"/>
                  </a:lnTo>
                  <a:lnTo>
                    <a:pt x="762" y="1114"/>
                  </a:lnTo>
                  <a:lnTo>
                    <a:pt x="766" y="1109"/>
                  </a:lnTo>
                  <a:lnTo>
                    <a:pt x="766" y="1109"/>
                  </a:lnTo>
                  <a:lnTo>
                    <a:pt x="770" y="1107"/>
                  </a:lnTo>
                  <a:lnTo>
                    <a:pt x="773" y="1106"/>
                  </a:lnTo>
                  <a:lnTo>
                    <a:pt x="777" y="1103"/>
                  </a:lnTo>
                  <a:lnTo>
                    <a:pt x="781" y="1102"/>
                  </a:lnTo>
                  <a:lnTo>
                    <a:pt x="784" y="1096"/>
                  </a:lnTo>
                  <a:lnTo>
                    <a:pt x="784" y="1096"/>
                  </a:lnTo>
                  <a:lnTo>
                    <a:pt x="787" y="1096"/>
                  </a:lnTo>
                  <a:lnTo>
                    <a:pt x="791" y="1095"/>
                  </a:lnTo>
                  <a:lnTo>
                    <a:pt x="792" y="1096"/>
                  </a:lnTo>
                  <a:lnTo>
                    <a:pt x="794" y="1096"/>
                  </a:lnTo>
                  <a:lnTo>
                    <a:pt x="796" y="1092"/>
                  </a:lnTo>
                  <a:lnTo>
                    <a:pt x="799" y="1092"/>
                  </a:lnTo>
                  <a:lnTo>
                    <a:pt x="802" y="1088"/>
                  </a:lnTo>
                  <a:lnTo>
                    <a:pt x="803" y="1084"/>
                  </a:lnTo>
                  <a:lnTo>
                    <a:pt x="800" y="1084"/>
                  </a:lnTo>
                  <a:lnTo>
                    <a:pt x="800" y="1084"/>
                  </a:lnTo>
                  <a:lnTo>
                    <a:pt x="800" y="1080"/>
                  </a:lnTo>
                  <a:lnTo>
                    <a:pt x="803" y="1077"/>
                  </a:lnTo>
                  <a:lnTo>
                    <a:pt x="802" y="1073"/>
                  </a:lnTo>
                  <a:lnTo>
                    <a:pt x="804" y="1071"/>
                  </a:lnTo>
                  <a:lnTo>
                    <a:pt x="808" y="1069"/>
                  </a:lnTo>
                  <a:lnTo>
                    <a:pt x="808" y="1067"/>
                  </a:lnTo>
                  <a:lnTo>
                    <a:pt x="806" y="1065"/>
                  </a:lnTo>
                  <a:lnTo>
                    <a:pt x="807" y="1064"/>
                  </a:lnTo>
                  <a:lnTo>
                    <a:pt x="807" y="1064"/>
                  </a:lnTo>
                  <a:lnTo>
                    <a:pt x="811" y="1061"/>
                  </a:lnTo>
                  <a:lnTo>
                    <a:pt x="814" y="1057"/>
                  </a:lnTo>
                  <a:lnTo>
                    <a:pt x="812" y="1056"/>
                  </a:lnTo>
                  <a:lnTo>
                    <a:pt x="812" y="1056"/>
                  </a:lnTo>
                  <a:lnTo>
                    <a:pt x="808" y="1056"/>
                  </a:lnTo>
                  <a:lnTo>
                    <a:pt x="806" y="1057"/>
                  </a:lnTo>
                  <a:lnTo>
                    <a:pt x="803" y="1058"/>
                  </a:lnTo>
                  <a:lnTo>
                    <a:pt x="803" y="1058"/>
                  </a:lnTo>
                  <a:lnTo>
                    <a:pt x="800" y="1056"/>
                  </a:lnTo>
                  <a:lnTo>
                    <a:pt x="796" y="1054"/>
                  </a:lnTo>
                  <a:lnTo>
                    <a:pt x="791" y="1056"/>
                  </a:lnTo>
                  <a:lnTo>
                    <a:pt x="788" y="1053"/>
                  </a:lnTo>
                  <a:lnTo>
                    <a:pt x="788" y="1053"/>
                  </a:lnTo>
                  <a:lnTo>
                    <a:pt x="788" y="1050"/>
                  </a:lnTo>
                  <a:lnTo>
                    <a:pt x="787" y="1048"/>
                  </a:lnTo>
                  <a:lnTo>
                    <a:pt x="787" y="1044"/>
                  </a:lnTo>
                  <a:lnTo>
                    <a:pt x="785" y="1041"/>
                  </a:lnTo>
                  <a:lnTo>
                    <a:pt x="788" y="1039"/>
                  </a:lnTo>
                  <a:lnTo>
                    <a:pt x="788" y="1038"/>
                  </a:lnTo>
                  <a:lnTo>
                    <a:pt x="787" y="1037"/>
                  </a:lnTo>
                  <a:lnTo>
                    <a:pt x="788" y="1029"/>
                  </a:lnTo>
                  <a:lnTo>
                    <a:pt x="788" y="1029"/>
                  </a:lnTo>
                  <a:lnTo>
                    <a:pt x="792" y="1025"/>
                  </a:lnTo>
                  <a:lnTo>
                    <a:pt x="795" y="1019"/>
                  </a:lnTo>
                  <a:lnTo>
                    <a:pt x="798" y="1022"/>
                  </a:lnTo>
                  <a:lnTo>
                    <a:pt x="800" y="1022"/>
                  </a:lnTo>
                  <a:lnTo>
                    <a:pt x="802" y="1023"/>
                  </a:lnTo>
                  <a:lnTo>
                    <a:pt x="807" y="1020"/>
                  </a:lnTo>
                  <a:lnTo>
                    <a:pt x="807" y="1020"/>
                  </a:lnTo>
                  <a:lnTo>
                    <a:pt x="811" y="1020"/>
                  </a:lnTo>
                  <a:lnTo>
                    <a:pt x="814" y="1019"/>
                  </a:lnTo>
                  <a:lnTo>
                    <a:pt x="815" y="1018"/>
                  </a:lnTo>
                  <a:lnTo>
                    <a:pt x="811" y="1016"/>
                  </a:lnTo>
                  <a:lnTo>
                    <a:pt x="811" y="1015"/>
                  </a:lnTo>
                  <a:lnTo>
                    <a:pt x="807" y="1012"/>
                  </a:lnTo>
                  <a:lnTo>
                    <a:pt x="807" y="1011"/>
                  </a:lnTo>
                  <a:lnTo>
                    <a:pt x="808" y="1011"/>
                  </a:lnTo>
                  <a:lnTo>
                    <a:pt x="803" y="1008"/>
                  </a:lnTo>
                  <a:lnTo>
                    <a:pt x="803" y="1008"/>
                  </a:lnTo>
                  <a:lnTo>
                    <a:pt x="803" y="1006"/>
                  </a:lnTo>
                  <a:lnTo>
                    <a:pt x="803" y="1000"/>
                  </a:lnTo>
                  <a:lnTo>
                    <a:pt x="803" y="989"/>
                  </a:lnTo>
                  <a:lnTo>
                    <a:pt x="806" y="978"/>
                  </a:lnTo>
                  <a:lnTo>
                    <a:pt x="808" y="973"/>
                  </a:lnTo>
                  <a:lnTo>
                    <a:pt x="808" y="970"/>
                  </a:lnTo>
                  <a:lnTo>
                    <a:pt x="808" y="970"/>
                  </a:lnTo>
                  <a:lnTo>
                    <a:pt x="817" y="959"/>
                  </a:lnTo>
                  <a:lnTo>
                    <a:pt x="819" y="954"/>
                  </a:lnTo>
                  <a:lnTo>
                    <a:pt x="821" y="947"/>
                  </a:lnTo>
                  <a:lnTo>
                    <a:pt x="821" y="947"/>
                  </a:lnTo>
                  <a:lnTo>
                    <a:pt x="823" y="942"/>
                  </a:lnTo>
                  <a:lnTo>
                    <a:pt x="823" y="942"/>
                  </a:lnTo>
                  <a:lnTo>
                    <a:pt x="827" y="939"/>
                  </a:lnTo>
                  <a:lnTo>
                    <a:pt x="827" y="939"/>
                  </a:lnTo>
                  <a:lnTo>
                    <a:pt x="830" y="935"/>
                  </a:lnTo>
                  <a:lnTo>
                    <a:pt x="831" y="932"/>
                  </a:lnTo>
                  <a:lnTo>
                    <a:pt x="833" y="930"/>
                  </a:lnTo>
                  <a:lnTo>
                    <a:pt x="836" y="927"/>
                  </a:lnTo>
                  <a:lnTo>
                    <a:pt x="834" y="924"/>
                  </a:lnTo>
                  <a:lnTo>
                    <a:pt x="834" y="926"/>
                  </a:lnTo>
                  <a:lnTo>
                    <a:pt x="833" y="928"/>
                  </a:lnTo>
                  <a:lnTo>
                    <a:pt x="829" y="930"/>
                  </a:lnTo>
                  <a:lnTo>
                    <a:pt x="829" y="930"/>
                  </a:lnTo>
                  <a:lnTo>
                    <a:pt x="827" y="926"/>
                  </a:lnTo>
                  <a:lnTo>
                    <a:pt x="827" y="923"/>
                  </a:lnTo>
                  <a:lnTo>
                    <a:pt x="827" y="916"/>
                  </a:lnTo>
                  <a:lnTo>
                    <a:pt x="827" y="916"/>
                  </a:lnTo>
                  <a:lnTo>
                    <a:pt x="826" y="908"/>
                  </a:lnTo>
                  <a:lnTo>
                    <a:pt x="825" y="898"/>
                  </a:lnTo>
                  <a:lnTo>
                    <a:pt x="825" y="898"/>
                  </a:lnTo>
                  <a:lnTo>
                    <a:pt x="821" y="894"/>
                  </a:lnTo>
                  <a:lnTo>
                    <a:pt x="821" y="894"/>
                  </a:lnTo>
                  <a:lnTo>
                    <a:pt x="819" y="888"/>
                  </a:lnTo>
                  <a:lnTo>
                    <a:pt x="818" y="885"/>
                  </a:lnTo>
                  <a:lnTo>
                    <a:pt x="814" y="881"/>
                  </a:lnTo>
                  <a:lnTo>
                    <a:pt x="815" y="877"/>
                  </a:lnTo>
                  <a:lnTo>
                    <a:pt x="817" y="877"/>
                  </a:lnTo>
                  <a:lnTo>
                    <a:pt x="822" y="886"/>
                  </a:lnTo>
                  <a:lnTo>
                    <a:pt x="823" y="886"/>
                  </a:lnTo>
                  <a:lnTo>
                    <a:pt x="825" y="883"/>
                  </a:lnTo>
                  <a:lnTo>
                    <a:pt x="826" y="885"/>
                  </a:lnTo>
                  <a:lnTo>
                    <a:pt x="826" y="888"/>
                  </a:lnTo>
                  <a:lnTo>
                    <a:pt x="826" y="888"/>
                  </a:lnTo>
                  <a:lnTo>
                    <a:pt x="827" y="890"/>
                  </a:lnTo>
                  <a:lnTo>
                    <a:pt x="830" y="893"/>
                  </a:lnTo>
                  <a:lnTo>
                    <a:pt x="831" y="898"/>
                  </a:lnTo>
                  <a:lnTo>
                    <a:pt x="831" y="902"/>
                  </a:lnTo>
                  <a:lnTo>
                    <a:pt x="833" y="904"/>
                  </a:lnTo>
                  <a:lnTo>
                    <a:pt x="833" y="907"/>
                  </a:lnTo>
                  <a:lnTo>
                    <a:pt x="836" y="908"/>
                  </a:lnTo>
                  <a:lnTo>
                    <a:pt x="836" y="908"/>
                  </a:lnTo>
                  <a:lnTo>
                    <a:pt x="838" y="912"/>
                  </a:lnTo>
                  <a:lnTo>
                    <a:pt x="840" y="917"/>
                  </a:lnTo>
                  <a:lnTo>
                    <a:pt x="840" y="917"/>
                  </a:lnTo>
                  <a:lnTo>
                    <a:pt x="837" y="919"/>
                  </a:lnTo>
                  <a:lnTo>
                    <a:pt x="834" y="920"/>
                  </a:lnTo>
                  <a:lnTo>
                    <a:pt x="834" y="921"/>
                  </a:lnTo>
                  <a:lnTo>
                    <a:pt x="834" y="921"/>
                  </a:lnTo>
                  <a:lnTo>
                    <a:pt x="840" y="924"/>
                  </a:lnTo>
                  <a:lnTo>
                    <a:pt x="844" y="926"/>
                  </a:lnTo>
                  <a:lnTo>
                    <a:pt x="848" y="927"/>
                  </a:lnTo>
                  <a:lnTo>
                    <a:pt x="852" y="928"/>
                  </a:lnTo>
                  <a:lnTo>
                    <a:pt x="852" y="928"/>
                  </a:lnTo>
                  <a:lnTo>
                    <a:pt x="855" y="927"/>
                  </a:lnTo>
                  <a:lnTo>
                    <a:pt x="857" y="927"/>
                  </a:lnTo>
                  <a:lnTo>
                    <a:pt x="859" y="928"/>
                  </a:lnTo>
                  <a:lnTo>
                    <a:pt x="859" y="927"/>
                  </a:lnTo>
                  <a:lnTo>
                    <a:pt x="860" y="921"/>
                  </a:lnTo>
                  <a:lnTo>
                    <a:pt x="860" y="921"/>
                  </a:lnTo>
                  <a:lnTo>
                    <a:pt x="867" y="917"/>
                  </a:lnTo>
                  <a:lnTo>
                    <a:pt x="875" y="915"/>
                  </a:lnTo>
                  <a:lnTo>
                    <a:pt x="878" y="913"/>
                  </a:lnTo>
                  <a:lnTo>
                    <a:pt x="876" y="913"/>
                  </a:lnTo>
                  <a:lnTo>
                    <a:pt x="876" y="913"/>
                  </a:lnTo>
                  <a:lnTo>
                    <a:pt x="876" y="908"/>
                  </a:lnTo>
                  <a:lnTo>
                    <a:pt x="876" y="902"/>
                  </a:lnTo>
                  <a:lnTo>
                    <a:pt x="878" y="901"/>
                  </a:lnTo>
                  <a:lnTo>
                    <a:pt x="878" y="901"/>
                  </a:lnTo>
                  <a:lnTo>
                    <a:pt x="879" y="904"/>
                  </a:lnTo>
                  <a:lnTo>
                    <a:pt x="879" y="908"/>
                  </a:lnTo>
                  <a:lnTo>
                    <a:pt x="879" y="911"/>
                  </a:lnTo>
                  <a:lnTo>
                    <a:pt x="880" y="913"/>
                  </a:lnTo>
                  <a:lnTo>
                    <a:pt x="887" y="904"/>
                  </a:lnTo>
                  <a:lnTo>
                    <a:pt x="887" y="904"/>
                  </a:lnTo>
                  <a:lnTo>
                    <a:pt x="886" y="900"/>
                  </a:lnTo>
                  <a:lnTo>
                    <a:pt x="887" y="897"/>
                  </a:lnTo>
                  <a:lnTo>
                    <a:pt x="890" y="894"/>
                  </a:lnTo>
                  <a:lnTo>
                    <a:pt x="893" y="892"/>
                  </a:lnTo>
                  <a:lnTo>
                    <a:pt x="893" y="890"/>
                  </a:lnTo>
                  <a:lnTo>
                    <a:pt x="893" y="890"/>
                  </a:lnTo>
                  <a:lnTo>
                    <a:pt x="899" y="886"/>
                  </a:lnTo>
                  <a:lnTo>
                    <a:pt x="907" y="883"/>
                  </a:lnTo>
                  <a:lnTo>
                    <a:pt x="907" y="883"/>
                  </a:lnTo>
                  <a:lnTo>
                    <a:pt x="924" y="881"/>
                  </a:lnTo>
                  <a:lnTo>
                    <a:pt x="924" y="881"/>
                  </a:lnTo>
                  <a:lnTo>
                    <a:pt x="936" y="881"/>
                  </a:lnTo>
                  <a:lnTo>
                    <a:pt x="936" y="881"/>
                  </a:lnTo>
                  <a:lnTo>
                    <a:pt x="947" y="878"/>
                  </a:lnTo>
                  <a:lnTo>
                    <a:pt x="947" y="878"/>
                  </a:lnTo>
                  <a:lnTo>
                    <a:pt x="951" y="879"/>
                  </a:lnTo>
                  <a:lnTo>
                    <a:pt x="952" y="879"/>
                  </a:lnTo>
                  <a:lnTo>
                    <a:pt x="955" y="879"/>
                  </a:lnTo>
                  <a:lnTo>
                    <a:pt x="955" y="879"/>
                  </a:lnTo>
                  <a:lnTo>
                    <a:pt x="955" y="877"/>
                  </a:lnTo>
                  <a:lnTo>
                    <a:pt x="956" y="874"/>
                  </a:lnTo>
                  <a:lnTo>
                    <a:pt x="960" y="870"/>
                  </a:lnTo>
                  <a:lnTo>
                    <a:pt x="960" y="870"/>
                  </a:lnTo>
                  <a:lnTo>
                    <a:pt x="964" y="869"/>
                  </a:lnTo>
                  <a:lnTo>
                    <a:pt x="970" y="870"/>
                  </a:lnTo>
                  <a:lnTo>
                    <a:pt x="979" y="871"/>
                  </a:lnTo>
                  <a:lnTo>
                    <a:pt x="979" y="871"/>
                  </a:lnTo>
                  <a:lnTo>
                    <a:pt x="982" y="871"/>
                  </a:lnTo>
                  <a:lnTo>
                    <a:pt x="985" y="871"/>
                  </a:lnTo>
                  <a:lnTo>
                    <a:pt x="990" y="869"/>
                  </a:lnTo>
                  <a:lnTo>
                    <a:pt x="990" y="869"/>
                  </a:lnTo>
                  <a:lnTo>
                    <a:pt x="997" y="867"/>
                  </a:lnTo>
                  <a:lnTo>
                    <a:pt x="997" y="867"/>
                  </a:lnTo>
                  <a:lnTo>
                    <a:pt x="998" y="866"/>
                  </a:lnTo>
                  <a:lnTo>
                    <a:pt x="998" y="866"/>
                  </a:lnTo>
                  <a:lnTo>
                    <a:pt x="1004" y="863"/>
                  </a:lnTo>
                  <a:lnTo>
                    <a:pt x="1009" y="859"/>
                  </a:lnTo>
                  <a:lnTo>
                    <a:pt x="1009" y="859"/>
                  </a:lnTo>
                  <a:lnTo>
                    <a:pt x="1013" y="856"/>
                  </a:lnTo>
                  <a:lnTo>
                    <a:pt x="1015" y="854"/>
                  </a:lnTo>
                  <a:lnTo>
                    <a:pt x="1017" y="852"/>
                  </a:lnTo>
                  <a:lnTo>
                    <a:pt x="1024" y="850"/>
                  </a:lnTo>
                  <a:lnTo>
                    <a:pt x="1024" y="850"/>
                  </a:lnTo>
                  <a:lnTo>
                    <a:pt x="1038" y="855"/>
                  </a:lnTo>
                  <a:lnTo>
                    <a:pt x="1046" y="856"/>
                  </a:lnTo>
                  <a:lnTo>
                    <a:pt x="1053" y="858"/>
                  </a:lnTo>
                  <a:lnTo>
                    <a:pt x="1057" y="860"/>
                  </a:lnTo>
                  <a:lnTo>
                    <a:pt x="1057" y="860"/>
                  </a:lnTo>
                  <a:lnTo>
                    <a:pt x="1061" y="859"/>
                  </a:lnTo>
                  <a:lnTo>
                    <a:pt x="1065" y="860"/>
                  </a:lnTo>
                  <a:lnTo>
                    <a:pt x="1074" y="864"/>
                  </a:lnTo>
                  <a:lnTo>
                    <a:pt x="1074" y="864"/>
                  </a:lnTo>
                  <a:lnTo>
                    <a:pt x="1085" y="870"/>
                  </a:lnTo>
                  <a:lnTo>
                    <a:pt x="1085" y="870"/>
                  </a:lnTo>
                  <a:lnTo>
                    <a:pt x="1097" y="879"/>
                  </a:lnTo>
                  <a:lnTo>
                    <a:pt x="1097" y="879"/>
                  </a:lnTo>
                  <a:lnTo>
                    <a:pt x="1107" y="883"/>
                  </a:lnTo>
                  <a:lnTo>
                    <a:pt x="1107" y="883"/>
                  </a:lnTo>
                  <a:lnTo>
                    <a:pt x="1114" y="889"/>
                  </a:lnTo>
                  <a:lnTo>
                    <a:pt x="1114" y="889"/>
                  </a:lnTo>
                  <a:lnTo>
                    <a:pt x="1126" y="896"/>
                  </a:lnTo>
                  <a:lnTo>
                    <a:pt x="1126" y="896"/>
                  </a:lnTo>
                  <a:lnTo>
                    <a:pt x="1135" y="904"/>
                  </a:lnTo>
                  <a:lnTo>
                    <a:pt x="1145" y="912"/>
                  </a:lnTo>
                  <a:lnTo>
                    <a:pt x="1145" y="912"/>
                  </a:lnTo>
                  <a:lnTo>
                    <a:pt x="1167" y="934"/>
                  </a:lnTo>
                  <a:lnTo>
                    <a:pt x="1188" y="957"/>
                  </a:lnTo>
                  <a:lnTo>
                    <a:pt x="1188" y="957"/>
                  </a:lnTo>
                  <a:lnTo>
                    <a:pt x="1188" y="959"/>
                  </a:lnTo>
                  <a:lnTo>
                    <a:pt x="1188" y="961"/>
                  </a:lnTo>
                  <a:lnTo>
                    <a:pt x="1188" y="962"/>
                  </a:lnTo>
                  <a:lnTo>
                    <a:pt x="1186" y="966"/>
                  </a:lnTo>
                  <a:lnTo>
                    <a:pt x="1186" y="966"/>
                  </a:lnTo>
                  <a:lnTo>
                    <a:pt x="1187" y="970"/>
                  </a:lnTo>
                  <a:lnTo>
                    <a:pt x="1186" y="976"/>
                  </a:lnTo>
                  <a:lnTo>
                    <a:pt x="1184" y="984"/>
                  </a:lnTo>
                  <a:lnTo>
                    <a:pt x="1186" y="985"/>
                  </a:lnTo>
                  <a:lnTo>
                    <a:pt x="1186" y="985"/>
                  </a:lnTo>
                  <a:lnTo>
                    <a:pt x="1190" y="983"/>
                  </a:lnTo>
                  <a:lnTo>
                    <a:pt x="1194" y="976"/>
                  </a:lnTo>
                  <a:lnTo>
                    <a:pt x="1201" y="965"/>
                  </a:lnTo>
                  <a:lnTo>
                    <a:pt x="1201" y="965"/>
                  </a:lnTo>
                  <a:lnTo>
                    <a:pt x="1199" y="958"/>
                  </a:lnTo>
                  <a:lnTo>
                    <a:pt x="1196" y="953"/>
                  </a:lnTo>
                  <a:lnTo>
                    <a:pt x="1195" y="953"/>
                  </a:lnTo>
                  <a:lnTo>
                    <a:pt x="1192" y="951"/>
                  </a:lnTo>
                  <a:lnTo>
                    <a:pt x="1192" y="951"/>
                  </a:lnTo>
                  <a:lnTo>
                    <a:pt x="1190" y="951"/>
                  </a:lnTo>
                  <a:lnTo>
                    <a:pt x="1187" y="951"/>
                  </a:lnTo>
                  <a:lnTo>
                    <a:pt x="1182" y="945"/>
                  </a:lnTo>
                  <a:lnTo>
                    <a:pt x="1182" y="945"/>
                  </a:lnTo>
                  <a:lnTo>
                    <a:pt x="1183" y="940"/>
                  </a:lnTo>
                  <a:lnTo>
                    <a:pt x="1183" y="936"/>
                  </a:lnTo>
                  <a:lnTo>
                    <a:pt x="1186" y="934"/>
                  </a:lnTo>
                  <a:lnTo>
                    <a:pt x="1188" y="931"/>
                  </a:lnTo>
                  <a:lnTo>
                    <a:pt x="1190" y="928"/>
                  </a:lnTo>
                  <a:lnTo>
                    <a:pt x="1191" y="927"/>
                  </a:lnTo>
                  <a:lnTo>
                    <a:pt x="1188" y="926"/>
                  </a:lnTo>
                  <a:lnTo>
                    <a:pt x="1188" y="926"/>
                  </a:lnTo>
                  <a:lnTo>
                    <a:pt x="1188" y="923"/>
                  </a:lnTo>
                  <a:lnTo>
                    <a:pt x="1188" y="921"/>
                  </a:lnTo>
                  <a:lnTo>
                    <a:pt x="1192" y="916"/>
                  </a:lnTo>
                  <a:lnTo>
                    <a:pt x="1196" y="912"/>
                  </a:lnTo>
                  <a:lnTo>
                    <a:pt x="1199" y="909"/>
                  </a:lnTo>
                  <a:lnTo>
                    <a:pt x="1203" y="911"/>
                  </a:lnTo>
                  <a:lnTo>
                    <a:pt x="1203" y="911"/>
                  </a:lnTo>
                  <a:lnTo>
                    <a:pt x="1206" y="909"/>
                  </a:lnTo>
                  <a:lnTo>
                    <a:pt x="1209" y="909"/>
                  </a:lnTo>
                  <a:lnTo>
                    <a:pt x="1215" y="911"/>
                  </a:lnTo>
                  <a:lnTo>
                    <a:pt x="1222" y="912"/>
                  </a:lnTo>
                  <a:lnTo>
                    <a:pt x="1229" y="912"/>
                  </a:lnTo>
                  <a:lnTo>
                    <a:pt x="1233" y="916"/>
                  </a:lnTo>
                  <a:lnTo>
                    <a:pt x="1233" y="916"/>
                  </a:lnTo>
                  <a:lnTo>
                    <a:pt x="1248" y="917"/>
                  </a:lnTo>
                  <a:lnTo>
                    <a:pt x="1256" y="920"/>
                  </a:lnTo>
                  <a:lnTo>
                    <a:pt x="1260" y="921"/>
                  </a:lnTo>
                  <a:lnTo>
                    <a:pt x="1263" y="920"/>
                  </a:lnTo>
                  <a:lnTo>
                    <a:pt x="1266" y="921"/>
                  </a:lnTo>
                  <a:lnTo>
                    <a:pt x="1271" y="921"/>
                  </a:lnTo>
                  <a:lnTo>
                    <a:pt x="1274" y="919"/>
                  </a:lnTo>
                  <a:lnTo>
                    <a:pt x="1281" y="919"/>
                  </a:lnTo>
                  <a:lnTo>
                    <a:pt x="1285" y="921"/>
                  </a:lnTo>
                  <a:lnTo>
                    <a:pt x="1285" y="923"/>
                  </a:lnTo>
                  <a:lnTo>
                    <a:pt x="1285" y="923"/>
                  </a:lnTo>
                  <a:lnTo>
                    <a:pt x="1290" y="924"/>
                  </a:lnTo>
                  <a:lnTo>
                    <a:pt x="1296" y="923"/>
                  </a:lnTo>
                  <a:lnTo>
                    <a:pt x="1300" y="927"/>
                  </a:lnTo>
                  <a:lnTo>
                    <a:pt x="1304" y="924"/>
                  </a:lnTo>
                  <a:lnTo>
                    <a:pt x="1306" y="930"/>
                  </a:lnTo>
                  <a:lnTo>
                    <a:pt x="1306" y="930"/>
                  </a:lnTo>
                  <a:lnTo>
                    <a:pt x="1310" y="932"/>
                  </a:lnTo>
                  <a:lnTo>
                    <a:pt x="1317" y="934"/>
                  </a:lnTo>
                  <a:lnTo>
                    <a:pt x="1329" y="936"/>
                  </a:lnTo>
                  <a:lnTo>
                    <a:pt x="1329" y="936"/>
                  </a:lnTo>
                  <a:lnTo>
                    <a:pt x="1329" y="940"/>
                  </a:lnTo>
                  <a:lnTo>
                    <a:pt x="1331" y="946"/>
                  </a:lnTo>
                  <a:lnTo>
                    <a:pt x="1333" y="947"/>
                  </a:lnTo>
                  <a:lnTo>
                    <a:pt x="1333" y="947"/>
                  </a:lnTo>
                  <a:lnTo>
                    <a:pt x="1339" y="943"/>
                  </a:lnTo>
                  <a:lnTo>
                    <a:pt x="1343" y="939"/>
                  </a:lnTo>
                  <a:lnTo>
                    <a:pt x="1343" y="939"/>
                  </a:lnTo>
                  <a:lnTo>
                    <a:pt x="1346" y="938"/>
                  </a:lnTo>
                  <a:lnTo>
                    <a:pt x="1350" y="938"/>
                  </a:lnTo>
                  <a:lnTo>
                    <a:pt x="1358" y="938"/>
                  </a:lnTo>
                  <a:lnTo>
                    <a:pt x="1366" y="938"/>
                  </a:lnTo>
                  <a:lnTo>
                    <a:pt x="1369" y="936"/>
                  </a:lnTo>
                  <a:lnTo>
                    <a:pt x="1370" y="935"/>
                  </a:lnTo>
                  <a:lnTo>
                    <a:pt x="1371" y="931"/>
                  </a:lnTo>
                  <a:lnTo>
                    <a:pt x="1373" y="928"/>
                  </a:lnTo>
                  <a:lnTo>
                    <a:pt x="1373" y="927"/>
                  </a:lnTo>
                  <a:lnTo>
                    <a:pt x="1370" y="926"/>
                  </a:lnTo>
                  <a:lnTo>
                    <a:pt x="1369" y="924"/>
                  </a:lnTo>
                  <a:lnTo>
                    <a:pt x="1369" y="924"/>
                  </a:lnTo>
                  <a:lnTo>
                    <a:pt x="1370" y="920"/>
                  </a:lnTo>
                  <a:lnTo>
                    <a:pt x="1371" y="916"/>
                  </a:lnTo>
                  <a:lnTo>
                    <a:pt x="1378" y="912"/>
                  </a:lnTo>
                  <a:lnTo>
                    <a:pt x="1381" y="907"/>
                  </a:lnTo>
                  <a:lnTo>
                    <a:pt x="1380" y="907"/>
                  </a:lnTo>
                  <a:lnTo>
                    <a:pt x="1376" y="907"/>
                  </a:lnTo>
                  <a:lnTo>
                    <a:pt x="1376" y="907"/>
                  </a:lnTo>
                  <a:lnTo>
                    <a:pt x="1373" y="904"/>
                  </a:lnTo>
                  <a:lnTo>
                    <a:pt x="1370" y="901"/>
                  </a:lnTo>
                  <a:lnTo>
                    <a:pt x="1370" y="898"/>
                  </a:lnTo>
                  <a:lnTo>
                    <a:pt x="1371" y="896"/>
                  </a:lnTo>
                  <a:lnTo>
                    <a:pt x="1373" y="890"/>
                  </a:lnTo>
                  <a:lnTo>
                    <a:pt x="1374" y="889"/>
                  </a:lnTo>
                  <a:lnTo>
                    <a:pt x="1374" y="886"/>
                  </a:lnTo>
                  <a:lnTo>
                    <a:pt x="1373" y="886"/>
                  </a:lnTo>
                  <a:lnTo>
                    <a:pt x="1371" y="883"/>
                  </a:lnTo>
                  <a:lnTo>
                    <a:pt x="1369" y="886"/>
                  </a:lnTo>
                  <a:lnTo>
                    <a:pt x="1369" y="886"/>
                  </a:lnTo>
                  <a:lnTo>
                    <a:pt x="1366" y="888"/>
                  </a:lnTo>
                  <a:lnTo>
                    <a:pt x="1365" y="889"/>
                  </a:lnTo>
                  <a:lnTo>
                    <a:pt x="1363" y="893"/>
                  </a:lnTo>
                  <a:lnTo>
                    <a:pt x="1361" y="892"/>
                  </a:lnTo>
                  <a:lnTo>
                    <a:pt x="1359" y="890"/>
                  </a:lnTo>
                  <a:lnTo>
                    <a:pt x="1361" y="885"/>
                  </a:lnTo>
                  <a:lnTo>
                    <a:pt x="1361" y="885"/>
                  </a:lnTo>
                  <a:lnTo>
                    <a:pt x="1357" y="886"/>
                  </a:lnTo>
                  <a:lnTo>
                    <a:pt x="1355" y="890"/>
                  </a:lnTo>
                  <a:lnTo>
                    <a:pt x="1352" y="889"/>
                  </a:lnTo>
                  <a:lnTo>
                    <a:pt x="1352" y="888"/>
                  </a:lnTo>
                  <a:lnTo>
                    <a:pt x="1354" y="888"/>
                  </a:lnTo>
                  <a:lnTo>
                    <a:pt x="1354" y="885"/>
                  </a:lnTo>
                  <a:lnTo>
                    <a:pt x="1351" y="886"/>
                  </a:lnTo>
                  <a:lnTo>
                    <a:pt x="1350" y="883"/>
                  </a:lnTo>
                  <a:lnTo>
                    <a:pt x="1347" y="881"/>
                  </a:lnTo>
                  <a:lnTo>
                    <a:pt x="1346" y="882"/>
                  </a:lnTo>
                  <a:lnTo>
                    <a:pt x="1344" y="886"/>
                  </a:lnTo>
                  <a:lnTo>
                    <a:pt x="1339" y="889"/>
                  </a:lnTo>
                  <a:lnTo>
                    <a:pt x="1343" y="885"/>
                  </a:lnTo>
                  <a:lnTo>
                    <a:pt x="1343" y="879"/>
                  </a:lnTo>
                  <a:lnTo>
                    <a:pt x="1339" y="883"/>
                  </a:lnTo>
                  <a:lnTo>
                    <a:pt x="1336" y="885"/>
                  </a:lnTo>
                  <a:lnTo>
                    <a:pt x="1333" y="883"/>
                  </a:lnTo>
                  <a:lnTo>
                    <a:pt x="1335" y="882"/>
                  </a:lnTo>
                  <a:lnTo>
                    <a:pt x="1338" y="882"/>
                  </a:lnTo>
                  <a:lnTo>
                    <a:pt x="1344" y="878"/>
                  </a:lnTo>
                  <a:lnTo>
                    <a:pt x="1344" y="878"/>
                  </a:lnTo>
                  <a:lnTo>
                    <a:pt x="1344" y="873"/>
                  </a:lnTo>
                  <a:lnTo>
                    <a:pt x="1343" y="870"/>
                  </a:lnTo>
                  <a:lnTo>
                    <a:pt x="1343" y="869"/>
                  </a:lnTo>
                  <a:lnTo>
                    <a:pt x="1346" y="870"/>
                  </a:lnTo>
                  <a:lnTo>
                    <a:pt x="1346" y="869"/>
                  </a:lnTo>
                  <a:lnTo>
                    <a:pt x="1344" y="867"/>
                  </a:lnTo>
                  <a:lnTo>
                    <a:pt x="1342" y="866"/>
                  </a:lnTo>
                  <a:lnTo>
                    <a:pt x="1342" y="866"/>
                  </a:lnTo>
                  <a:lnTo>
                    <a:pt x="1338" y="867"/>
                  </a:lnTo>
                  <a:lnTo>
                    <a:pt x="1335" y="870"/>
                  </a:lnTo>
                  <a:lnTo>
                    <a:pt x="1329" y="878"/>
                  </a:lnTo>
                  <a:lnTo>
                    <a:pt x="1324" y="878"/>
                  </a:lnTo>
                  <a:lnTo>
                    <a:pt x="1324" y="878"/>
                  </a:lnTo>
                  <a:lnTo>
                    <a:pt x="1324" y="875"/>
                  </a:lnTo>
                  <a:lnTo>
                    <a:pt x="1324" y="874"/>
                  </a:lnTo>
                  <a:lnTo>
                    <a:pt x="1327" y="871"/>
                  </a:lnTo>
                  <a:lnTo>
                    <a:pt x="1327" y="869"/>
                  </a:lnTo>
                  <a:lnTo>
                    <a:pt x="1327" y="869"/>
                  </a:lnTo>
                  <a:lnTo>
                    <a:pt x="1329" y="867"/>
                  </a:lnTo>
                  <a:lnTo>
                    <a:pt x="1331" y="866"/>
                  </a:lnTo>
                  <a:lnTo>
                    <a:pt x="1328" y="866"/>
                  </a:lnTo>
                  <a:lnTo>
                    <a:pt x="1328" y="863"/>
                  </a:lnTo>
                  <a:lnTo>
                    <a:pt x="1331" y="860"/>
                  </a:lnTo>
                  <a:lnTo>
                    <a:pt x="1333" y="859"/>
                  </a:lnTo>
                  <a:lnTo>
                    <a:pt x="1338" y="862"/>
                  </a:lnTo>
                  <a:lnTo>
                    <a:pt x="1338" y="860"/>
                  </a:lnTo>
                  <a:lnTo>
                    <a:pt x="1338" y="859"/>
                  </a:lnTo>
                  <a:lnTo>
                    <a:pt x="1338" y="854"/>
                  </a:lnTo>
                  <a:lnTo>
                    <a:pt x="1336" y="855"/>
                  </a:lnTo>
                  <a:lnTo>
                    <a:pt x="1335" y="855"/>
                  </a:lnTo>
                  <a:lnTo>
                    <a:pt x="1335" y="852"/>
                  </a:lnTo>
                  <a:lnTo>
                    <a:pt x="1338" y="851"/>
                  </a:lnTo>
                  <a:lnTo>
                    <a:pt x="1339" y="851"/>
                  </a:lnTo>
                  <a:lnTo>
                    <a:pt x="1342" y="852"/>
                  </a:lnTo>
                  <a:lnTo>
                    <a:pt x="1339" y="859"/>
                  </a:lnTo>
                  <a:lnTo>
                    <a:pt x="1339" y="859"/>
                  </a:lnTo>
                  <a:lnTo>
                    <a:pt x="1348" y="863"/>
                  </a:lnTo>
                  <a:lnTo>
                    <a:pt x="1358" y="864"/>
                  </a:lnTo>
                  <a:lnTo>
                    <a:pt x="1358" y="863"/>
                  </a:lnTo>
                  <a:lnTo>
                    <a:pt x="1357" y="862"/>
                  </a:lnTo>
                  <a:lnTo>
                    <a:pt x="1355" y="860"/>
                  </a:lnTo>
                  <a:lnTo>
                    <a:pt x="1352" y="859"/>
                  </a:lnTo>
                  <a:lnTo>
                    <a:pt x="1352" y="859"/>
                  </a:lnTo>
                  <a:lnTo>
                    <a:pt x="1350" y="855"/>
                  </a:lnTo>
                  <a:lnTo>
                    <a:pt x="1350" y="850"/>
                  </a:lnTo>
                  <a:lnTo>
                    <a:pt x="1352" y="848"/>
                  </a:lnTo>
                  <a:lnTo>
                    <a:pt x="1352" y="848"/>
                  </a:lnTo>
                  <a:lnTo>
                    <a:pt x="1355" y="851"/>
                  </a:lnTo>
                  <a:lnTo>
                    <a:pt x="1357" y="854"/>
                  </a:lnTo>
                  <a:lnTo>
                    <a:pt x="1357" y="855"/>
                  </a:lnTo>
                  <a:lnTo>
                    <a:pt x="1358" y="858"/>
                  </a:lnTo>
                  <a:lnTo>
                    <a:pt x="1357" y="860"/>
                  </a:lnTo>
                  <a:lnTo>
                    <a:pt x="1357" y="862"/>
                  </a:lnTo>
                  <a:lnTo>
                    <a:pt x="1357" y="862"/>
                  </a:lnTo>
                  <a:lnTo>
                    <a:pt x="1363" y="863"/>
                  </a:lnTo>
                  <a:lnTo>
                    <a:pt x="1365" y="862"/>
                  </a:lnTo>
                  <a:lnTo>
                    <a:pt x="1366" y="860"/>
                  </a:lnTo>
                  <a:lnTo>
                    <a:pt x="1369" y="862"/>
                  </a:lnTo>
                  <a:lnTo>
                    <a:pt x="1369" y="863"/>
                  </a:lnTo>
                  <a:lnTo>
                    <a:pt x="1370" y="863"/>
                  </a:lnTo>
                  <a:lnTo>
                    <a:pt x="1370" y="863"/>
                  </a:lnTo>
                  <a:lnTo>
                    <a:pt x="1373" y="869"/>
                  </a:lnTo>
                  <a:lnTo>
                    <a:pt x="1377" y="871"/>
                  </a:lnTo>
                  <a:lnTo>
                    <a:pt x="1377" y="873"/>
                  </a:lnTo>
                  <a:lnTo>
                    <a:pt x="1377" y="873"/>
                  </a:lnTo>
                  <a:lnTo>
                    <a:pt x="1374" y="875"/>
                  </a:lnTo>
                  <a:lnTo>
                    <a:pt x="1370" y="877"/>
                  </a:lnTo>
                  <a:lnTo>
                    <a:pt x="1370" y="879"/>
                  </a:lnTo>
                  <a:lnTo>
                    <a:pt x="1373" y="879"/>
                  </a:lnTo>
                  <a:lnTo>
                    <a:pt x="1373" y="879"/>
                  </a:lnTo>
                  <a:lnTo>
                    <a:pt x="1374" y="878"/>
                  </a:lnTo>
                  <a:lnTo>
                    <a:pt x="1377" y="877"/>
                  </a:lnTo>
                  <a:lnTo>
                    <a:pt x="1381" y="871"/>
                  </a:lnTo>
                  <a:lnTo>
                    <a:pt x="1381" y="871"/>
                  </a:lnTo>
                  <a:lnTo>
                    <a:pt x="1388" y="866"/>
                  </a:lnTo>
                  <a:lnTo>
                    <a:pt x="1388" y="866"/>
                  </a:lnTo>
                  <a:lnTo>
                    <a:pt x="1393" y="863"/>
                  </a:lnTo>
                  <a:lnTo>
                    <a:pt x="1399" y="862"/>
                  </a:lnTo>
                  <a:lnTo>
                    <a:pt x="1408" y="859"/>
                  </a:lnTo>
                  <a:lnTo>
                    <a:pt x="1408" y="859"/>
                  </a:lnTo>
                  <a:lnTo>
                    <a:pt x="1416" y="859"/>
                  </a:lnTo>
                  <a:lnTo>
                    <a:pt x="1426" y="859"/>
                  </a:lnTo>
                  <a:lnTo>
                    <a:pt x="1437" y="860"/>
                  </a:lnTo>
                  <a:lnTo>
                    <a:pt x="1441" y="862"/>
                  </a:lnTo>
                  <a:lnTo>
                    <a:pt x="1443" y="863"/>
                  </a:lnTo>
                  <a:lnTo>
                    <a:pt x="1445" y="863"/>
                  </a:lnTo>
                  <a:lnTo>
                    <a:pt x="1445" y="863"/>
                  </a:lnTo>
                  <a:lnTo>
                    <a:pt x="1447" y="860"/>
                  </a:lnTo>
                  <a:lnTo>
                    <a:pt x="1447" y="858"/>
                  </a:lnTo>
                  <a:lnTo>
                    <a:pt x="1447" y="858"/>
                  </a:lnTo>
                  <a:lnTo>
                    <a:pt x="1446" y="860"/>
                  </a:lnTo>
                  <a:lnTo>
                    <a:pt x="1445" y="860"/>
                  </a:lnTo>
                  <a:lnTo>
                    <a:pt x="1443" y="859"/>
                  </a:lnTo>
                  <a:lnTo>
                    <a:pt x="1441" y="859"/>
                  </a:lnTo>
                  <a:lnTo>
                    <a:pt x="1438" y="856"/>
                  </a:lnTo>
                  <a:lnTo>
                    <a:pt x="1437" y="852"/>
                  </a:lnTo>
                  <a:lnTo>
                    <a:pt x="1439" y="854"/>
                  </a:lnTo>
                  <a:lnTo>
                    <a:pt x="1439" y="855"/>
                  </a:lnTo>
                  <a:lnTo>
                    <a:pt x="1441" y="856"/>
                  </a:lnTo>
                  <a:lnTo>
                    <a:pt x="1442" y="854"/>
                  </a:lnTo>
                  <a:lnTo>
                    <a:pt x="1445" y="855"/>
                  </a:lnTo>
                  <a:lnTo>
                    <a:pt x="1447" y="854"/>
                  </a:lnTo>
                  <a:lnTo>
                    <a:pt x="1447" y="855"/>
                  </a:lnTo>
                  <a:lnTo>
                    <a:pt x="1447" y="855"/>
                  </a:lnTo>
                  <a:lnTo>
                    <a:pt x="1453" y="851"/>
                  </a:lnTo>
                  <a:lnTo>
                    <a:pt x="1453" y="851"/>
                  </a:lnTo>
                  <a:lnTo>
                    <a:pt x="1460" y="850"/>
                  </a:lnTo>
                  <a:lnTo>
                    <a:pt x="1468" y="848"/>
                  </a:lnTo>
                  <a:lnTo>
                    <a:pt x="1472" y="839"/>
                  </a:lnTo>
                  <a:lnTo>
                    <a:pt x="1447" y="84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02" name="Freeform 363">
              <a:extLst>
                <a:ext uri="{FF2B5EF4-FFF2-40B4-BE49-F238E27FC236}">
                  <a16:creationId xmlns:a16="http://schemas.microsoft.com/office/drawing/2014/main" id="{7B7C5DB1-18B0-4A10-918B-065CBB07AB60}"/>
                </a:ext>
              </a:extLst>
            </p:cNvPr>
            <p:cNvSpPr>
              <a:spLocks/>
            </p:cNvSpPr>
            <p:nvPr/>
          </p:nvSpPr>
          <p:spPr bwMode="auto">
            <a:xfrm>
              <a:off x="2984500" y="4635569"/>
              <a:ext cx="593725" cy="688975"/>
            </a:xfrm>
            <a:custGeom>
              <a:avLst/>
              <a:gdLst>
                <a:gd name="T0" fmla="*/ 285 w 747"/>
                <a:gd name="T1" fmla="*/ 807 h 868"/>
                <a:gd name="T2" fmla="*/ 279 w 747"/>
                <a:gd name="T3" fmla="*/ 747 h 868"/>
                <a:gd name="T4" fmla="*/ 335 w 747"/>
                <a:gd name="T5" fmla="*/ 772 h 868"/>
                <a:gd name="T6" fmla="*/ 382 w 747"/>
                <a:gd name="T7" fmla="*/ 731 h 868"/>
                <a:gd name="T8" fmla="*/ 427 w 747"/>
                <a:gd name="T9" fmla="*/ 748 h 868"/>
                <a:gd name="T10" fmla="*/ 510 w 747"/>
                <a:gd name="T11" fmla="*/ 729 h 868"/>
                <a:gd name="T12" fmla="*/ 534 w 747"/>
                <a:gd name="T13" fmla="*/ 687 h 868"/>
                <a:gd name="T14" fmla="*/ 572 w 747"/>
                <a:gd name="T15" fmla="*/ 738 h 868"/>
                <a:gd name="T16" fmla="*/ 612 w 747"/>
                <a:gd name="T17" fmla="*/ 762 h 868"/>
                <a:gd name="T18" fmla="*/ 674 w 747"/>
                <a:gd name="T19" fmla="*/ 697 h 868"/>
                <a:gd name="T20" fmla="*/ 704 w 747"/>
                <a:gd name="T21" fmla="*/ 634 h 868"/>
                <a:gd name="T22" fmla="*/ 732 w 747"/>
                <a:gd name="T23" fmla="*/ 597 h 868"/>
                <a:gd name="T24" fmla="*/ 726 w 747"/>
                <a:gd name="T25" fmla="*/ 492 h 868"/>
                <a:gd name="T26" fmla="*/ 605 w 747"/>
                <a:gd name="T27" fmla="*/ 374 h 868"/>
                <a:gd name="T28" fmla="*/ 572 w 747"/>
                <a:gd name="T29" fmla="*/ 325 h 868"/>
                <a:gd name="T30" fmla="*/ 587 w 747"/>
                <a:gd name="T31" fmla="*/ 274 h 868"/>
                <a:gd name="T32" fmla="*/ 547 w 747"/>
                <a:gd name="T33" fmla="*/ 226 h 868"/>
                <a:gd name="T34" fmla="*/ 509 w 747"/>
                <a:gd name="T35" fmla="*/ 172 h 868"/>
                <a:gd name="T36" fmla="*/ 525 w 747"/>
                <a:gd name="T37" fmla="*/ 74 h 868"/>
                <a:gd name="T38" fmla="*/ 428 w 747"/>
                <a:gd name="T39" fmla="*/ 20 h 868"/>
                <a:gd name="T40" fmla="*/ 344 w 747"/>
                <a:gd name="T41" fmla="*/ 89 h 868"/>
                <a:gd name="T42" fmla="*/ 287 w 747"/>
                <a:gd name="T43" fmla="*/ 158 h 868"/>
                <a:gd name="T44" fmla="*/ 220 w 747"/>
                <a:gd name="T45" fmla="*/ 146 h 868"/>
                <a:gd name="T46" fmla="*/ 188 w 747"/>
                <a:gd name="T47" fmla="*/ 157 h 868"/>
                <a:gd name="T48" fmla="*/ 161 w 747"/>
                <a:gd name="T49" fmla="*/ 194 h 868"/>
                <a:gd name="T50" fmla="*/ 130 w 747"/>
                <a:gd name="T51" fmla="*/ 169 h 868"/>
                <a:gd name="T52" fmla="*/ 93 w 747"/>
                <a:gd name="T53" fmla="*/ 157 h 868"/>
                <a:gd name="T54" fmla="*/ 68 w 747"/>
                <a:gd name="T55" fmla="*/ 180 h 868"/>
                <a:gd name="T56" fmla="*/ 43 w 747"/>
                <a:gd name="T57" fmla="*/ 200 h 868"/>
                <a:gd name="T58" fmla="*/ 27 w 747"/>
                <a:gd name="T59" fmla="*/ 230 h 868"/>
                <a:gd name="T60" fmla="*/ 40 w 747"/>
                <a:gd name="T61" fmla="*/ 270 h 868"/>
                <a:gd name="T62" fmla="*/ 54 w 747"/>
                <a:gd name="T63" fmla="*/ 275 h 868"/>
                <a:gd name="T64" fmla="*/ 69 w 747"/>
                <a:gd name="T65" fmla="*/ 280 h 868"/>
                <a:gd name="T66" fmla="*/ 85 w 747"/>
                <a:gd name="T67" fmla="*/ 299 h 868"/>
                <a:gd name="T68" fmla="*/ 92 w 747"/>
                <a:gd name="T69" fmla="*/ 310 h 868"/>
                <a:gd name="T70" fmla="*/ 74 w 747"/>
                <a:gd name="T71" fmla="*/ 320 h 868"/>
                <a:gd name="T72" fmla="*/ 66 w 747"/>
                <a:gd name="T73" fmla="*/ 351 h 868"/>
                <a:gd name="T74" fmla="*/ 50 w 747"/>
                <a:gd name="T75" fmla="*/ 384 h 868"/>
                <a:gd name="T76" fmla="*/ 42 w 747"/>
                <a:gd name="T77" fmla="*/ 415 h 868"/>
                <a:gd name="T78" fmla="*/ 49 w 747"/>
                <a:gd name="T79" fmla="*/ 426 h 868"/>
                <a:gd name="T80" fmla="*/ 78 w 747"/>
                <a:gd name="T81" fmla="*/ 400 h 868"/>
                <a:gd name="T82" fmla="*/ 72 w 747"/>
                <a:gd name="T83" fmla="*/ 435 h 868"/>
                <a:gd name="T84" fmla="*/ 32 w 747"/>
                <a:gd name="T85" fmla="*/ 453 h 868"/>
                <a:gd name="T86" fmla="*/ 2 w 747"/>
                <a:gd name="T87" fmla="*/ 491 h 868"/>
                <a:gd name="T88" fmla="*/ 36 w 747"/>
                <a:gd name="T89" fmla="*/ 518 h 868"/>
                <a:gd name="T90" fmla="*/ 68 w 747"/>
                <a:gd name="T91" fmla="*/ 542 h 868"/>
                <a:gd name="T92" fmla="*/ 95 w 747"/>
                <a:gd name="T93" fmla="*/ 552 h 868"/>
                <a:gd name="T94" fmla="*/ 81 w 747"/>
                <a:gd name="T95" fmla="*/ 583 h 868"/>
                <a:gd name="T96" fmla="*/ 97 w 747"/>
                <a:gd name="T97" fmla="*/ 591 h 868"/>
                <a:gd name="T98" fmla="*/ 68 w 747"/>
                <a:gd name="T99" fmla="*/ 609 h 868"/>
                <a:gd name="T100" fmla="*/ 49 w 747"/>
                <a:gd name="T101" fmla="*/ 645 h 868"/>
                <a:gd name="T102" fmla="*/ 43 w 747"/>
                <a:gd name="T103" fmla="*/ 670 h 868"/>
                <a:gd name="T104" fmla="*/ 47 w 747"/>
                <a:gd name="T105" fmla="*/ 689 h 868"/>
                <a:gd name="T106" fmla="*/ 46 w 747"/>
                <a:gd name="T107" fmla="*/ 719 h 868"/>
                <a:gd name="T108" fmla="*/ 70 w 747"/>
                <a:gd name="T109" fmla="*/ 778 h 868"/>
                <a:gd name="T110" fmla="*/ 100 w 747"/>
                <a:gd name="T111" fmla="*/ 812 h 868"/>
                <a:gd name="T112" fmla="*/ 126 w 747"/>
                <a:gd name="T113" fmla="*/ 795 h 868"/>
                <a:gd name="T114" fmla="*/ 137 w 747"/>
                <a:gd name="T115" fmla="*/ 807 h 868"/>
                <a:gd name="T116" fmla="*/ 165 w 747"/>
                <a:gd name="T117" fmla="*/ 831 h 868"/>
                <a:gd name="T118" fmla="*/ 192 w 747"/>
                <a:gd name="T119" fmla="*/ 850 h 868"/>
                <a:gd name="T120" fmla="*/ 207 w 747"/>
                <a:gd name="T121" fmla="*/ 865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7" h="868">
                  <a:moveTo>
                    <a:pt x="218" y="856"/>
                  </a:moveTo>
                  <a:lnTo>
                    <a:pt x="228" y="845"/>
                  </a:lnTo>
                  <a:lnTo>
                    <a:pt x="234" y="850"/>
                  </a:lnTo>
                  <a:lnTo>
                    <a:pt x="236" y="842"/>
                  </a:lnTo>
                  <a:lnTo>
                    <a:pt x="253" y="842"/>
                  </a:lnTo>
                  <a:lnTo>
                    <a:pt x="262" y="827"/>
                  </a:lnTo>
                  <a:lnTo>
                    <a:pt x="270" y="831"/>
                  </a:lnTo>
                  <a:lnTo>
                    <a:pt x="278" y="823"/>
                  </a:lnTo>
                  <a:lnTo>
                    <a:pt x="287" y="820"/>
                  </a:lnTo>
                  <a:lnTo>
                    <a:pt x="285" y="807"/>
                  </a:lnTo>
                  <a:lnTo>
                    <a:pt x="278" y="801"/>
                  </a:lnTo>
                  <a:lnTo>
                    <a:pt x="278" y="786"/>
                  </a:lnTo>
                  <a:lnTo>
                    <a:pt x="264" y="781"/>
                  </a:lnTo>
                  <a:lnTo>
                    <a:pt x="268" y="778"/>
                  </a:lnTo>
                  <a:lnTo>
                    <a:pt x="267" y="767"/>
                  </a:lnTo>
                  <a:lnTo>
                    <a:pt x="277" y="759"/>
                  </a:lnTo>
                  <a:lnTo>
                    <a:pt x="268" y="750"/>
                  </a:lnTo>
                  <a:lnTo>
                    <a:pt x="274" y="743"/>
                  </a:lnTo>
                  <a:lnTo>
                    <a:pt x="278" y="742"/>
                  </a:lnTo>
                  <a:lnTo>
                    <a:pt x="279" y="747"/>
                  </a:lnTo>
                  <a:lnTo>
                    <a:pt x="290" y="748"/>
                  </a:lnTo>
                  <a:lnTo>
                    <a:pt x="289" y="758"/>
                  </a:lnTo>
                  <a:lnTo>
                    <a:pt x="297" y="761"/>
                  </a:lnTo>
                  <a:lnTo>
                    <a:pt x="302" y="759"/>
                  </a:lnTo>
                  <a:lnTo>
                    <a:pt x="305" y="750"/>
                  </a:lnTo>
                  <a:lnTo>
                    <a:pt x="320" y="743"/>
                  </a:lnTo>
                  <a:lnTo>
                    <a:pt x="320" y="748"/>
                  </a:lnTo>
                  <a:lnTo>
                    <a:pt x="329" y="753"/>
                  </a:lnTo>
                  <a:lnTo>
                    <a:pt x="329" y="772"/>
                  </a:lnTo>
                  <a:lnTo>
                    <a:pt x="335" y="772"/>
                  </a:lnTo>
                  <a:lnTo>
                    <a:pt x="339" y="777"/>
                  </a:lnTo>
                  <a:lnTo>
                    <a:pt x="350" y="776"/>
                  </a:lnTo>
                  <a:lnTo>
                    <a:pt x="357" y="778"/>
                  </a:lnTo>
                  <a:lnTo>
                    <a:pt x="367" y="759"/>
                  </a:lnTo>
                  <a:lnTo>
                    <a:pt x="381" y="763"/>
                  </a:lnTo>
                  <a:lnTo>
                    <a:pt x="382" y="757"/>
                  </a:lnTo>
                  <a:lnTo>
                    <a:pt x="389" y="759"/>
                  </a:lnTo>
                  <a:lnTo>
                    <a:pt x="380" y="744"/>
                  </a:lnTo>
                  <a:lnTo>
                    <a:pt x="384" y="743"/>
                  </a:lnTo>
                  <a:lnTo>
                    <a:pt x="382" y="731"/>
                  </a:lnTo>
                  <a:lnTo>
                    <a:pt x="386" y="727"/>
                  </a:lnTo>
                  <a:lnTo>
                    <a:pt x="389" y="725"/>
                  </a:lnTo>
                  <a:lnTo>
                    <a:pt x="400" y="728"/>
                  </a:lnTo>
                  <a:lnTo>
                    <a:pt x="407" y="734"/>
                  </a:lnTo>
                  <a:lnTo>
                    <a:pt x="397" y="740"/>
                  </a:lnTo>
                  <a:lnTo>
                    <a:pt x="393" y="753"/>
                  </a:lnTo>
                  <a:lnTo>
                    <a:pt x="397" y="757"/>
                  </a:lnTo>
                  <a:lnTo>
                    <a:pt x="408" y="747"/>
                  </a:lnTo>
                  <a:lnTo>
                    <a:pt x="418" y="750"/>
                  </a:lnTo>
                  <a:lnTo>
                    <a:pt x="427" y="748"/>
                  </a:lnTo>
                  <a:lnTo>
                    <a:pt x="431" y="754"/>
                  </a:lnTo>
                  <a:lnTo>
                    <a:pt x="435" y="754"/>
                  </a:lnTo>
                  <a:lnTo>
                    <a:pt x="454" y="735"/>
                  </a:lnTo>
                  <a:lnTo>
                    <a:pt x="466" y="734"/>
                  </a:lnTo>
                  <a:lnTo>
                    <a:pt x="475" y="739"/>
                  </a:lnTo>
                  <a:lnTo>
                    <a:pt x="481" y="729"/>
                  </a:lnTo>
                  <a:lnTo>
                    <a:pt x="500" y="750"/>
                  </a:lnTo>
                  <a:lnTo>
                    <a:pt x="509" y="753"/>
                  </a:lnTo>
                  <a:lnTo>
                    <a:pt x="514" y="738"/>
                  </a:lnTo>
                  <a:lnTo>
                    <a:pt x="510" y="729"/>
                  </a:lnTo>
                  <a:lnTo>
                    <a:pt x="499" y="724"/>
                  </a:lnTo>
                  <a:lnTo>
                    <a:pt x="499" y="717"/>
                  </a:lnTo>
                  <a:lnTo>
                    <a:pt x="495" y="713"/>
                  </a:lnTo>
                  <a:lnTo>
                    <a:pt x="503" y="712"/>
                  </a:lnTo>
                  <a:lnTo>
                    <a:pt x="506" y="708"/>
                  </a:lnTo>
                  <a:lnTo>
                    <a:pt x="511" y="712"/>
                  </a:lnTo>
                  <a:lnTo>
                    <a:pt x="515" y="704"/>
                  </a:lnTo>
                  <a:lnTo>
                    <a:pt x="518" y="708"/>
                  </a:lnTo>
                  <a:lnTo>
                    <a:pt x="526" y="691"/>
                  </a:lnTo>
                  <a:lnTo>
                    <a:pt x="534" y="687"/>
                  </a:lnTo>
                  <a:lnTo>
                    <a:pt x="541" y="698"/>
                  </a:lnTo>
                  <a:lnTo>
                    <a:pt x="545" y="700"/>
                  </a:lnTo>
                  <a:lnTo>
                    <a:pt x="548" y="694"/>
                  </a:lnTo>
                  <a:lnTo>
                    <a:pt x="548" y="712"/>
                  </a:lnTo>
                  <a:lnTo>
                    <a:pt x="555" y="716"/>
                  </a:lnTo>
                  <a:lnTo>
                    <a:pt x="559" y="712"/>
                  </a:lnTo>
                  <a:lnTo>
                    <a:pt x="557" y="720"/>
                  </a:lnTo>
                  <a:lnTo>
                    <a:pt x="563" y="724"/>
                  </a:lnTo>
                  <a:lnTo>
                    <a:pt x="561" y="732"/>
                  </a:lnTo>
                  <a:lnTo>
                    <a:pt x="572" y="738"/>
                  </a:lnTo>
                  <a:lnTo>
                    <a:pt x="587" y="732"/>
                  </a:lnTo>
                  <a:lnTo>
                    <a:pt x="589" y="739"/>
                  </a:lnTo>
                  <a:lnTo>
                    <a:pt x="570" y="761"/>
                  </a:lnTo>
                  <a:lnTo>
                    <a:pt x="571" y="765"/>
                  </a:lnTo>
                  <a:lnTo>
                    <a:pt x="591" y="784"/>
                  </a:lnTo>
                  <a:lnTo>
                    <a:pt x="599" y="774"/>
                  </a:lnTo>
                  <a:lnTo>
                    <a:pt x="595" y="772"/>
                  </a:lnTo>
                  <a:lnTo>
                    <a:pt x="604" y="773"/>
                  </a:lnTo>
                  <a:lnTo>
                    <a:pt x="614" y="769"/>
                  </a:lnTo>
                  <a:lnTo>
                    <a:pt x="612" y="762"/>
                  </a:lnTo>
                  <a:lnTo>
                    <a:pt x="617" y="758"/>
                  </a:lnTo>
                  <a:lnTo>
                    <a:pt x="623" y="762"/>
                  </a:lnTo>
                  <a:lnTo>
                    <a:pt x="624" y="758"/>
                  </a:lnTo>
                  <a:lnTo>
                    <a:pt x="633" y="720"/>
                  </a:lnTo>
                  <a:lnTo>
                    <a:pt x="632" y="712"/>
                  </a:lnTo>
                  <a:lnTo>
                    <a:pt x="640" y="693"/>
                  </a:lnTo>
                  <a:lnTo>
                    <a:pt x="652" y="696"/>
                  </a:lnTo>
                  <a:lnTo>
                    <a:pt x="650" y="686"/>
                  </a:lnTo>
                  <a:lnTo>
                    <a:pt x="659" y="683"/>
                  </a:lnTo>
                  <a:lnTo>
                    <a:pt x="674" y="697"/>
                  </a:lnTo>
                  <a:lnTo>
                    <a:pt x="685" y="693"/>
                  </a:lnTo>
                  <a:lnTo>
                    <a:pt x="680" y="683"/>
                  </a:lnTo>
                  <a:lnTo>
                    <a:pt x="671" y="682"/>
                  </a:lnTo>
                  <a:lnTo>
                    <a:pt x="681" y="671"/>
                  </a:lnTo>
                  <a:lnTo>
                    <a:pt x="688" y="672"/>
                  </a:lnTo>
                  <a:lnTo>
                    <a:pt x="693" y="659"/>
                  </a:lnTo>
                  <a:lnTo>
                    <a:pt x="693" y="659"/>
                  </a:lnTo>
                  <a:lnTo>
                    <a:pt x="697" y="644"/>
                  </a:lnTo>
                  <a:lnTo>
                    <a:pt x="700" y="644"/>
                  </a:lnTo>
                  <a:lnTo>
                    <a:pt x="704" y="634"/>
                  </a:lnTo>
                  <a:lnTo>
                    <a:pt x="700" y="644"/>
                  </a:lnTo>
                  <a:lnTo>
                    <a:pt x="708" y="644"/>
                  </a:lnTo>
                  <a:lnTo>
                    <a:pt x="717" y="639"/>
                  </a:lnTo>
                  <a:lnTo>
                    <a:pt x="716" y="628"/>
                  </a:lnTo>
                  <a:lnTo>
                    <a:pt x="711" y="625"/>
                  </a:lnTo>
                  <a:lnTo>
                    <a:pt x="707" y="614"/>
                  </a:lnTo>
                  <a:lnTo>
                    <a:pt x="713" y="617"/>
                  </a:lnTo>
                  <a:lnTo>
                    <a:pt x="717" y="609"/>
                  </a:lnTo>
                  <a:lnTo>
                    <a:pt x="726" y="605"/>
                  </a:lnTo>
                  <a:lnTo>
                    <a:pt x="732" y="597"/>
                  </a:lnTo>
                  <a:lnTo>
                    <a:pt x="728" y="584"/>
                  </a:lnTo>
                  <a:lnTo>
                    <a:pt x="726" y="582"/>
                  </a:lnTo>
                  <a:lnTo>
                    <a:pt x="734" y="567"/>
                  </a:lnTo>
                  <a:lnTo>
                    <a:pt x="713" y="559"/>
                  </a:lnTo>
                  <a:lnTo>
                    <a:pt x="715" y="554"/>
                  </a:lnTo>
                  <a:lnTo>
                    <a:pt x="730" y="545"/>
                  </a:lnTo>
                  <a:lnTo>
                    <a:pt x="746" y="541"/>
                  </a:lnTo>
                  <a:lnTo>
                    <a:pt x="747" y="538"/>
                  </a:lnTo>
                  <a:lnTo>
                    <a:pt x="738" y="515"/>
                  </a:lnTo>
                  <a:lnTo>
                    <a:pt x="726" y="492"/>
                  </a:lnTo>
                  <a:lnTo>
                    <a:pt x="724" y="489"/>
                  </a:lnTo>
                  <a:lnTo>
                    <a:pt x="700" y="455"/>
                  </a:lnTo>
                  <a:lnTo>
                    <a:pt x="693" y="451"/>
                  </a:lnTo>
                  <a:lnTo>
                    <a:pt x="667" y="431"/>
                  </a:lnTo>
                  <a:lnTo>
                    <a:pt x="651" y="420"/>
                  </a:lnTo>
                  <a:lnTo>
                    <a:pt x="620" y="405"/>
                  </a:lnTo>
                  <a:lnTo>
                    <a:pt x="618" y="397"/>
                  </a:lnTo>
                  <a:lnTo>
                    <a:pt x="606" y="389"/>
                  </a:lnTo>
                  <a:lnTo>
                    <a:pt x="609" y="378"/>
                  </a:lnTo>
                  <a:lnTo>
                    <a:pt x="605" y="374"/>
                  </a:lnTo>
                  <a:lnTo>
                    <a:pt x="602" y="365"/>
                  </a:lnTo>
                  <a:lnTo>
                    <a:pt x="612" y="360"/>
                  </a:lnTo>
                  <a:lnTo>
                    <a:pt x="613" y="354"/>
                  </a:lnTo>
                  <a:lnTo>
                    <a:pt x="609" y="344"/>
                  </a:lnTo>
                  <a:lnTo>
                    <a:pt x="595" y="332"/>
                  </a:lnTo>
                  <a:lnTo>
                    <a:pt x="597" y="328"/>
                  </a:lnTo>
                  <a:lnTo>
                    <a:pt x="593" y="324"/>
                  </a:lnTo>
                  <a:lnTo>
                    <a:pt x="591" y="327"/>
                  </a:lnTo>
                  <a:lnTo>
                    <a:pt x="579" y="323"/>
                  </a:lnTo>
                  <a:lnTo>
                    <a:pt x="572" y="325"/>
                  </a:lnTo>
                  <a:lnTo>
                    <a:pt x="571" y="312"/>
                  </a:lnTo>
                  <a:lnTo>
                    <a:pt x="553" y="306"/>
                  </a:lnTo>
                  <a:lnTo>
                    <a:pt x="559" y="298"/>
                  </a:lnTo>
                  <a:lnTo>
                    <a:pt x="557" y="293"/>
                  </a:lnTo>
                  <a:lnTo>
                    <a:pt x="568" y="272"/>
                  </a:lnTo>
                  <a:lnTo>
                    <a:pt x="574" y="275"/>
                  </a:lnTo>
                  <a:lnTo>
                    <a:pt x="578" y="271"/>
                  </a:lnTo>
                  <a:lnTo>
                    <a:pt x="582" y="275"/>
                  </a:lnTo>
                  <a:lnTo>
                    <a:pt x="585" y="272"/>
                  </a:lnTo>
                  <a:lnTo>
                    <a:pt x="587" y="274"/>
                  </a:lnTo>
                  <a:lnTo>
                    <a:pt x="587" y="270"/>
                  </a:lnTo>
                  <a:lnTo>
                    <a:pt x="595" y="263"/>
                  </a:lnTo>
                  <a:lnTo>
                    <a:pt x="594" y="256"/>
                  </a:lnTo>
                  <a:lnTo>
                    <a:pt x="589" y="253"/>
                  </a:lnTo>
                  <a:lnTo>
                    <a:pt x="597" y="242"/>
                  </a:lnTo>
                  <a:lnTo>
                    <a:pt x="582" y="229"/>
                  </a:lnTo>
                  <a:lnTo>
                    <a:pt x="559" y="222"/>
                  </a:lnTo>
                  <a:lnTo>
                    <a:pt x="555" y="225"/>
                  </a:lnTo>
                  <a:lnTo>
                    <a:pt x="555" y="221"/>
                  </a:lnTo>
                  <a:lnTo>
                    <a:pt x="547" y="226"/>
                  </a:lnTo>
                  <a:lnTo>
                    <a:pt x="540" y="221"/>
                  </a:lnTo>
                  <a:lnTo>
                    <a:pt x="528" y="211"/>
                  </a:lnTo>
                  <a:lnTo>
                    <a:pt x="523" y="213"/>
                  </a:lnTo>
                  <a:lnTo>
                    <a:pt x="519" y="210"/>
                  </a:lnTo>
                  <a:lnTo>
                    <a:pt x="515" y="213"/>
                  </a:lnTo>
                  <a:lnTo>
                    <a:pt x="509" y="209"/>
                  </a:lnTo>
                  <a:lnTo>
                    <a:pt x="509" y="203"/>
                  </a:lnTo>
                  <a:lnTo>
                    <a:pt x="499" y="188"/>
                  </a:lnTo>
                  <a:lnTo>
                    <a:pt x="500" y="181"/>
                  </a:lnTo>
                  <a:lnTo>
                    <a:pt x="509" y="172"/>
                  </a:lnTo>
                  <a:lnTo>
                    <a:pt x="510" y="153"/>
                  </a:lnTo>
                  <a:lnTo>
                    <a:pt x="533" y="138"/>
                  </a:lnTo>
                  <a:lnTo>
                    <a:pt x="534" y="119"/>
                  </a:lnTo>
                  <a:lnTo>
                    <a:pt x="528" y="111"/>
                  </a:lnTo>
                  <a:lnTo>
                    <a:pt x="525" y="108"/>
                  </a:lnTo>
                  <a:lnTo>
                    <a:pt x="528" y="101"/>
                  </a:lnTo>
                  <a:lnTo>
                    <a:pt x="525" y="100"/>
                  </a:lnTo>
                  <a:lnTo>
                    <a:pt x="522" y="84"/>
                  </a:lnTo>
                  <a:lnTo>
                    <a:pt x="525" y="81"/>
                  </a:lnTo>
                  <a:lnTo>
                    <a:pt x="525" y="74"/>
                  </a:lnTo>
                  <a:lnTo>
                    <a:pt x="511" y="54"/>
                  </a:lnTo>
                  <a:lnTo>
                    <a:pt x="511" y="40"/>
                  </a:lnTo>
                  <a:lnTo>
                    <a:pt x="491" y="19"/>
                  </a:lnTo>
                  <a:lnTo>
                    <a:pt x="480" y="16"/>
                  </a:lnTo>
                  <a:lnTo>
                    <a:pt x="461" y="6"/>
                  </a:lnTo>
                  <a:lnTo>
                    <a:pt x="460" y="0"/>
                  </a:lnTo>
                  <a:lnTo>
                    <a:pt x="450" y="8"/>
                  </a:lnTo>
                  <a:lnTo>
                    <a:pt x="446" y="19"/>
                  </a:lnTo>
                  <a:lnTo>
                    <a:pt x="439" y="21"/>
                  </a:lnTo>
                  <a:lnTo>
                    <a:pt x="428" y="20"/>
                  </a:lnTo>
                  <a:lnTo>
                    <a:pt x="424" y="29"/>
                  </a:lnTo>
                  <a:lnTo>
                    <a:pt x="418" y="34"/>
                  </a:lnTo>
                  <a:lnTo>
                    <a:pt x="404" y="35"/>
                  </a:lnTo>
                  <a:lnTo>
                    <a:pt x="395" y="23"/>
                  </a:lnTo>
                  <a:lnTo>
                    <a:pt x="395" y="42"/>
                  </a:lnTo>
                  <a:lnTo>
                    <a:pt x="389" y="40"/>
                  </a:lnTo>
                  <a:lnTo>
                    <a:pt x="369" y="67"/>
                  </a:lnTo>
                  <a:lnTo>
                    <a:pt x="357" y="82"/>
                  </a:lnTo>
                  <a:lnTo>
                    <a:pt x="354" y="81"/>
                  </a:lnTo>
                  <a:lnTo>
                    <a:pt x="344" y="89"/>
                  </a:lnTo>
                  <a:lnTo>
                    <a:pt x="339" y="91"/>
                  </a:lnTo>
                  <a:lnTo>
                    <a:pt x="331" y="89"/>
                  </a:lnTo>
                  <a:lnTo>
                    <a:pt x="320" y="104"/>
                  </a:lnTo>
                  <a:lnTo>
                    <a:pt x="306" y="108"/>
                  </a:lnTo>
                  <a:lnTo>
                    <a:pt x="306" y="123"/>
                  </a:lnTo>
                  <a:lnTo>
                    <a:pt x="312" y="130"/>
                  </a:lnTo>
                  <a:lnTo>
                    <a:pt x="306" y="134"/>
                  </a:lnTo>
                  <a:lnTo>
                    <a:pt x="309" y="139"/>
                  </a:lnTo>
                  <a:lnTo>
                    <a:pt x="287" y="148"/>
                  </a:lnTo>
                  <a:lnTo>
                    <a:pt x="287" y="158"/>
                  </a:lnTo>
                  <a:lnTo>
                    <a:pt x="271" y="164"/>
                  </a:lnTo>
                  <a:lnTo>
                    <a:pt x="256" y="154"/>
                  </a:lnTo>
                  <a:lnTo>
                    <a:pt x="253" y="172"/>
                  </a:lnTo>
                  <a:lnTo>
                    <a:pt x="243" y="160"/>
                  </a:lnTo>
                  <a:lnTo>
                    <a:pt x="233" y="167"/>
                  </a:lnTo>
                  <a:lnTo>
                    <a:pt x="229" y="161"/>
                  </a:lnTo>
                  <a:lnTo>
                    <a:pt x="230" y="150"/>
                  </a:lnTo>
                  <a:lnTo>
                    <a:pt x="226" y="152"/>
                  </a:lnTo>
                  <a:lnTo>
                    <a:pt x="225" y="146"/>
                  </a:lnTo>
                  <a:lnTo>
                    <a:pt x="220" y="146"/>
                  </a:lnTo>
                  <a:lnTo>
                    <a:pt x="217" y="141"/>
                  </a:lnTo>
                  <a:lnTo>
                    <a:pt x="201" y="148"/>
                  </a:lnTo>
                  <a:lnTo>
                    <a:pt x="192" y="141"/>
                  </a:lnTo>
                  <a:lnTo>
                    <a:pt x="186" y="146"/>
                  </a:lnTo>
                  <a:lnTo>
                    <a:pt x="187" y="148"/>
                  </a:lnTo>
                  <a:lnTo>
                    <a:pt x="188" y="150"/>
                  </a:lnTo>
                  <a:lnTo>
                    <a:pt x="190" y="154"/>
                  </a:lnTo>
                  <a:lnTo>
                    <a:pt x="190" y="156"/>
                  </a:lnTo>
                  <a:lnTo>
                    <a:pt x="190" y="156"/>
                  </a:lnTo>
                  <a:lnTo>
                    <a:pt x="188" y="157"/>
                  </a:lnTo>
                  <a:lnTo>
                    <a:pt x="187" y="160"/>
                  </a:lnTo>
                  <a:lnTo>
                    <a:pt x="187" y="165"/>
                  </a:lnTo>
                  <a:lnTo>
                    <a:pt x="184" y="169"/>
                  </a:lnTo>
                  <a:lnTo>
                    <a:pt x="184" y="175"/>
                  </a:lnTo>
                  <a:lnTo>
                    <a:pt x="184" y="176"/>
                  </a:lnTo>
                  <a:lnTo>
                    <a:pt x="183" y="177"/>
                  </a:lnTo>
                  <a:lnTo>
                    <a:pt x="182" y="183"/>
                  </a:lnTo>
                  <a:lnTo>
                    <a:pt x="172" y="183"/>
                  </a:lnTo>
                  <a:lnTo>
                    <a:pt x="165" y="190"/>
                  </a:lnTo>
                  <a:lnTo>
                    <a:pt x="161" y="194"/>
                  </a:lnTo>
                  <a:lnTo>
                    <a:pt x="157" y="200"/>
                  </a:lnTo>
                  <a:lnTo>
                    <a:pt x="156" y="200"/>
                  </a:lnTo>
                  <a:lnTo>
                    <a:pt x="156" y="196"/>
                  </a:lnTo>
                  <a:lnTo>
                    <a:pt x="153" y="191"/>
                  </a:lnTo>
                  <a:lnTo>
                    <a:pt x="150" y="187"/>
                  </a:lnTo>
                  <a:lnTo>
                    <a:pt x="148" y="184"/>
                  </a:lnTo>
                  <a:lnTo>
                    <a:pt x="146" y="181"/>
                  </a:lnTo>
                  <a:lnTo>
                    <a:pt x="144" y="176"/>
                  </a:lnTo>
                  <a:lnTo>
                    <a:pt x="137" y="171"/>
                  </a:lnTo>
                  <a:lnTo>
                    <a:pt x="130" y="169"/>
                  </a:lnTo>
                  <a:lnTo>
                    <a:pt x="129" y="169"/>
                  </a:lnTo>
                  <a:lnTo>
                    <a:pt x="123" y="167"/>
                  </a:lnTo>
                  <a:lnTo>
                    <a:pt x="118" y="171"/>
                  </a:lnTo>
                  <a:lnTo>
                    <a:pt x="112" y="172"/>
                  </a:lnTo>
                  <a:lnTo>
                    <a:pt x="108" y="173"/>
                  </a:lnTo>
                  <a:lnTo>
                    <a:pt x="99" y="167"/>
                  </a:lnTo>
                  <a:lnTo>
                    <a:pt x="95" y="161"/>
                  </a:lnTo>
                  <a:lnTo>
                    <a:pt x="95" y="157"/>
                  </a:lnTo>
                  <a:lnTo>
                    <a:pt x="93" y="157"/>
                  </a:lnTo>
                  <a:lnTo>
                    <a:pt x="93" y="157"/>
                  </a:lnTo>
                  <a:lnTo>
                    <a:pt x="89" y="161"/>
                  </a:lnTo>
                  <a:lnTo>
                    <a:pt x="83" y="162"/>
                  </a:lnTo>
                  <a:lnTo>
                    <a:pt x="81" y="164"/>
                  </a:lnTo>
                  <a:lnTo>
                    <a:pt x="80" y="167"/>
                  </a:lnTo>
                  <a:lnTo>
                    <a:pt x="80" y="167"/>
                  </a:lnTo>
                  <a:lnTo>
                    <a:pt x="78" y="168"/>
                  </a:lnTo>
                  <a:lnTo>
                    <a:pt x="74" y="175"/>
                  </a:lnTo>
                  <a:lnTo>
                    <a:pt x="74" y="176"/>
                  </a:lnTo>
                  <a:lnTo>
                    <a:pt x="69" y="180"/>
                  </a:lnTo>
                  <a:lnTo>
                    <a:pt x="68" y="180"/>
                  </a:lnTo>
                  <a:lnTo>
                    <a:pt x="64" y="181"/>
                  </a:lnTo>
                  <a:lnTo>
                    <a:pt x="62" y="181"/>
                  </a:lnTo>
                  <a:lnTo>
                    <a:pt x="62" y="181"/>
                  </a:lnTo>
                  <a:lnTo>
                    <a:pt x="61" y="181"/>
                  </a:lnTo>
                  <a:lnTo>
                    <a:pt x="54" y="181"/>
                  </a:lnTo>
                  <a:lnTo>
                    <a:pt x="50" y="180"/>
                  </a:lnTo>
                  <a:lnTo>
                    <a:pt x="47" y="183"/>
                  </a:lnTo>
                  <a:lnTo>
                    <a:pt x="45" y="188"/>
                  </a:lnTo>
                  <a:lnTo>
                    <a:pt x="43" y="195"/>
                  </a:lnTo>
                  <a:lnTo>
                    <a:pt x="43" y="200"/>
                  </a:lnTo>
                  <a:lnTo>
                    <a:pt x="40" y="202"/>
                  </a:lnTo>
                  <a:lnTo>
                    <a:pt x="34" y="202"/>
                  </a:lnTo>
                  <a:lnTo>
                    <a:pt x="32" y="204"/>
                  </a:lnTo>
                  <a:lnTo>
                    <a:pt x="35" y="207"/>
                  </a:lnTo>
                  <a:lnTo>
                    <a:pt x="32" y="209"/>
                  </a:lnTo>
                  <a:lnTo>
                    <a:pt x="30" y="211"/>
                  </a:lnTo>
                  <a:lnTo>
                    <a:pt x="34" y="215"/>
                  </a:lnTo>
                  <a:lnTo>
                    <a:pt x="38" y="221"/>
                  </a:lnTo>
                  <a:lnTo>
                    <a:pt x="34" y="223"/>
                  </a:lnTo>
                  <a:lnTo>
                    <a:pt x="27" y="230"/>
                  </a:lnTo>
                  <a:lnTo>
                    <a:pt x="30" y="234"/>
                  </a:lnTo>
                  <a:lnTo>
                    <a:pt x="24" y="249"/>
                  </a:lnTo>
                  <a:lnTo>
                    <a:pt x="24" y="256"/>
                  </a:lnTo>
                  <a:lnTo>
                    <a:pt x="28" y="256"/>
                  </a:lnTo>
                  <a:lnTo>
                    <a:pt x="28" y="256"/>
                  </a:lnTo>
                  <a:lnTo>
                    <a:pt x="30" y="257"/>
                  </a:lnTo>
                  <a:lnTo>
                    <a:pt x="27" y="263"/>
                  </a:lnTo>
                  <a:lnTo>
                    <a:pt x="28" y="264"/>
                  </a:lnTo>
                  <a:lnTo>
                    <a:pt x="32" y="267"/>
                  </a:lnTo>
                  <a:lnTo>
                    <a:pt x="40" y="270"/>
                  </a:lnTo>
                  <a:lnTo>
                    <a:pt x="42" y="270"/>
                  </a:lnTo>
                  <a:lnTo>
                    <a:pt x="42" y="270"/>
                  </a:lnTo>
                  <a:lnTo>
                    <a:pt x="43" y="270"/>
                  </a:lnTo>
                  <a:lnTo>
                    <a:pt x="45" y="270"/>
                  </a:lnTo>
                  <a:lnTo>
                    <a:pt x="46" y="267"/>
                  </a:lnTo>
                  <a:lnTo>
                    <a:pt x="46" y="266"/>
                  </a:lnTo>
                  <a:lnTo>
                    <a:pt x="51" y="263"/>
                  </a:lnTo>
                  <a:lnTo>
                    <a:pt x="53" y="267"/>
                  </a:lnTo>
                  <a:lnTo>
                    <a:pt x="53" y="268"/>
                  </a:lnTo>
                  <a:lnTo>
                    <a:pt x="54" y="275"/>
                  </a:lnTo>
                  <a:lnTo>
                    <a:pt x="54" y="275"/>
                  </a:lnTo>
                  <a:lnTo>
                    <a:pt x="55" y="278"/>
                  </a:lnTo>
                  <a:lnTo>
                    <a:pt x="55" y="279"/>
                  </a:lnTo>
                  <a:lnTo>
                    <a:pt x="58" y="280"/>
                  </a:lnTo>
                  <a:lnTo>
                    <a:pt x="61" y="279"/>
                  </a:lnTo>
                  <a:lnTo>
                    <a:pt x="62" y="279"/>
                  </a:lnTo>
                  <a:lnTo>
                    <a:pt x="65" y="279"/>
                  </a:lnTo>
                  <a:lnTo>
                    <a:pt x="66" y="280"/>
                  </a:lnTo>
                  <a:lnTo>
                    <a:pt x="66" y="280"/>
                  </a:lnTo>
                  <a:lnTo>
                    <a:pt x="69" y="280"/>
                  </a:lnTo>
                  <a:lnTo>
                    <a:pt x="73" y="283"/>
                  </a:lnTo>
                  <a:lnTo>
                    <a:pt x="77" y="289"/>
                  </a:lnTo>
                  <a:lnTo>
                    <a:pt x="77" y="289"/>
                  </a:lnTo>
                  <a:lnTo>
                    <a:pt x="77" y="290"/>
                  </a:lnTo>
                  <a:lnTo>
                    <a:pt x="77" y="291"/>
                  </a:lnTo>
                  <a:lnTo>
                    <a:pt x="87" y="297"/>
                  </a:lnTo>
                  <a:lnTo>
                    <a:pt x="87" y="298"/>
                  </a:lnTo>
                  <a:lnTo>
                    <a:pt x="85" y="298"/>
                  </a:lnTo>
                  <a:lnTo>
                    <a:pt x="85" y="299"/>
                  </a:lnTo>
                  <a:lnTo>
                    <a:pt x="85" y="299"/>
                  </a:lnTo>
                  <a:lnTo>
                    <a:pt x="87" y="302"/>
                  </a:lnTo>
                  <a:lnTo>
                    <a:pt x="92" y="302"/>
                  </a:lnTo>
                  <a:lnTo>
                    <a:pt x="95" y="301"/>
                  </a:lnTo>
                  <a:lnTo>
                    <a:pt x="96" y="302"/>
                  </a:lnTo>
                  <a:lnTo>
                    <a:pt x="96" y="306"/>
                  </a:lnTo>
                  <a:lnTo>
                    <a:pt x="99" y="309"/>
                  </a:lnTo>
                  <a:lnTo>
                    <a:pt x="97" y="312"/>
                  </a:lnTo>
                  <a:lnTo>
                    <a:pt x="95" y="312"/>
                  </a:lnTo>
                  <a:lnTo>
                    <a:pt x="93" y="312"/>
                  </a:lnTo>
                  <a:lnTo>
                    <a:pt x="92" y="310"/>
                  </a:lnTo>
                  <a:lnTo>
                    <a:pt x="93" y="306"/>
                  </a:lnTo>
                  <a:lnTo>
                    <a:pt x="91" y="306"/>
                  </a:lnTo>
                  <a:lnTo>
                    <a:pt x="89" y="306"/>
                  </a:lnTo>
                  <a:lnTo>
                    <a:pt x="87" y="309"/>
                  </a:lnTo>
                  <a:lnTo>
                    <a:pt x="76" y="309"/>
                  </a:lnTo>
                  <a:lnTo>
                    <a:pt x="74" y="312"/>
                  </a:lnTo>
                  <a:lnTo>
                    <a:pt x="74" y="316"/>
                  </a:lnTo>
                  <a:lnTo>
                    <a:pt x="74" y="316"/>
                  </a:lnTo>
                  <a:lnTo>
                    <a:pt x="76" y="317"/>
                  </a:lnTo>
                  <a:lnTo>
                    <a:pt x="74" y="320"/>
                  </a:lnTo>
                  <a:lnTo>
                    <a:pt x="73" y="323"/>
                  </a:lnTo>
                  <a:lnTo>
                    <a:pt x="69" y="324"/>
                  </a:lnTo>
                  <a:lnTo>
                    <a:pt x="66" y="327"/>
                  </a:lnTo>
                  <a:lnTo>
                    <a:pt x="68" y="327"/>
                  </a:lnTo>
                  <a:lnTo>
                    <a:pt x="68" y="329"/>
                  </a:lnTo>
                  <a:lnTo>
                    <a:pt x="68" y="332"/>
                  </a:lnTo>
                  <a:lnTo>
                    <a:pt x="68" y="339"/>
                  </a:lnTo>
                  <a:lnTo>
                    <a:pt x="68" y="340"/>
                  </a:lnTo>
                  <a:lnTo>
                    <a:pt x="68" y="346"/>
                  </a:lnTo>
                  <a:lnTo>
                    <a:pt x="66" y="351"/>
                  </a:lnTo>
                  <a:lnTo>
                    <a:pt x="65" y="352"/>
                  </a:lnTo>
                  <a:lnTo>
                    <a:pt x="65" y="352"/>
                  </a:lnTo>
                  <a:lnTo>
                    <a:pt x="62" y="355"/>
                  </a:lnTo>
                  <a:lnTo>
                    <a:pt x="55" y="358"/>
                  </a:lnTo>
                  <a:lnTo>
                    <a:pt x="54" y="359"/>
                  </a:lnTo>
                  <a:lnTo>
                    <a:pt x="55" y="360"/>
                  </a:lnTo>
                  <a:lnTo>
                    <a:pt x="58" y="366"/>
                  </a:lnTo>
                  <a:lnTo>
                    <a:pt x="53" y="375"/>
                  </a:lnTo>
                  <a:lnTo>
                    <a:pt x="51" y="377"/>
                  </a:lnTo>
                  <a:lnTo>
                    <a:pt x="50" y="384"/>
                  </a:lnTo>
                  <a:lnTo>
                    <a:pt x="50" y="386"/>
                  </a:lnTo>
                  <a:lnTo>
                    <a:pt x="47" y="388"/>
                  </a:lnTo>
                  <a:lnTo>
                    <a:pt x="45" y="389"/>
                  </a:lnTo>
                  <a:lnTo>
                    <a:pt x="42" y="392"/>
                  </a:lnTo>
                  <a:lnTo>
                    <a:pt x="40" y="392"/>
                  </a:lnTo>
                  <a:lnTo>
                    <a:pt x="35" y="393"/>
                  </a:lnTo>
                  <a:lnTo>
                    <a:pt x="35" y="401"/>
                  </a:lnTo>
                  <a:lnTo>
                    <a:pt x="35" y="401"/>
                  </a:lnTo>
                  <a:lnTo>
                    <a:pt x="38" y="405"/>
                  </a:lnTo>
                  <a:lnTo>
                    <a:pt x="42" y="415"/>
                  </a:lnTo>
                  <a:lnTo>
                    <a:pt x="42" y="423"/>
                  </a:lnTo>
                  <a:lnTo>
                    <a:pt x="36" y="424"/>
                  </a:lnTo>
                  <a:lnTo>
                    <a:pt x="35" y="427"/>
                  </a:lnTo>
                  <a:lnTo>
                    <a:pt x="35" y="427"/>
                  </a:lnTo>
                  <a:lnTo>
                    <a:pt x="35" y="428"/>
                  </a:lnTo>
                  <a:lnTo>
                    <a:pt x="36" y="430"/>
                  </a:lnTo>
                  <a:lnTo>
                    <a:pt x="36" y="430"/>
                  </a:lnTo>
                  <a:lnTo>
                    <a:pt x="38" y="430"/>
                  </a:lnTo>
                  <a:lnTo>
                    <a:pt x="40" y="430"/>
                  </a:lnTo>
                  <a:lnTo>
                    <a:pt x="49" y="426"/>
                  </a:lnTo>
                  <a:lnTo>
                    <a:pt x="53" y="424"/>
                  </a:lnTo>
                  <a:lnTo>
                    <a:pt x="54" y="422"/>
                  </a:lnTo>
                  <a:lnTo>
                    <a:pt x="54" y="420"/>
                  </a:lnTo>
                  <a:lnTo>
                    <a:pt x="50" y="417"/>
                  </a:lnTo>
                  <a:lnTo>
                    <a:pt x="57" y="413"/>
                  </a:lnTo>
                  <a:lnTo>
                    <a:pt x="59" y="412"/>
                  </a:lnTo>
                  <a:lnTo>
                    <a:pt x="62" y="411"/>
                  </a:lnTo>
                  <a:lnTo>
                    <a:pt x="65" y="409"/>
                  </a:lnTo>
                  <a:lnTo>
                    <a:pt x="74" y="401"/>
                  </a:lnTo>
                  <a:lnTo>
                    <a:pt x="78" y="400"/>
                  </a:lnTo>
                  <a:lnTo>
                    <a:pt x="80" y="400"/>
                  </a:lnTo>
                  <a:lnTo>
                    <a:pt x="84" y="404"/>
                  </a:lnTo>
                  <a:lnTo>
                    <a:pt x="85" y="411"/>
                  </a:lnTo>
                  <a:lnTo>
                    <a:pt x="83" y="424"/>
                  </a:lnTo>
                  <a:lnTo>
                    <a:pt x="84" y="431"/>
                  </a:lnTo>
                  <a:lnTo>
                    <a:pt x="84" y="436"/>
                  </a:lnTo>
                  <a:lnTo>
                    <a:pt x="80" y="435"/>
                  </a:lnTo>
                  <a:lnTo>
                    <a:pt x="74" y="432"/>
                  </a:lnTo>
                  <a:lnTo>
                    <a:pt x="73" y="432"/>
                  </a:lnTo>
                  <a:lnTo>
                    <a:pt x="72" y="435"/>
                  </a:lnTo>
                  <a:lnTo>
                    <a:pt x="70" y="438"/>
                  </a:lnTo>
                  <a:lnTo>
                    <a:pt x="70" y="441"/>
                  </a:lnTo>
                  <a:lnTo>
                    <a:pt x="72" y="446"/>
                  </a:lnTo>
                  <a:lnTo>
                    <a:pt x="70" y="447"/>
                  </a:lnTo>
                  <a:lnTo>
                    <a:pt x="68" y="447"/>
                  </a:lnTo>
                  <a:lnTo>
                    <a:pt x="61" y="446"/>
                  </a:lnTo>
                  <a:lnTo>
                    <a:pt x="54" y="447"/>
                  </a:lnTo>
                  <a:lnTo>
                    <a:pt x="47" y="447"/>
                  </a:lnTo>
                  <a:lnTo>
                    <a:pt x="40" y="451"/>
                  </a:lnTo>
                  <a:lnTo>
                    <a:pt x="32" y="453"/>
                  </a:lnTo>
                  <a:lnTo>
                    <a:pt x="19" y="462"/>
                  </a:lnTo>
                  <a:lnTo>
                    <a:pt x="13" y="462"/>
                  </a:lnTo>
                  <a:lnTo>
                    <a:pt x="13" y="462"/>
                  </a:lnTo>
                  <a:lnTo>
                    <a:pt x="9" y="465"/>
                  </a:lnTo>
                  <a:lnTo>
                    <a:pt x="7" y="468"/>
                  </a:lnTo>
                  <a:lnTo>
                    <a:pt x="5" y="472"/>
                  </a:lnTo>
                  <a:lnTo>
                    <a:pt x="1" y="477"/>
                  </a:lnTo>
                  <a:lnTo>
                    <a:pt x="0" y="483"/>
                  </a:lnTo>
                  <a:lnTo>
                    <a:pt x="1" y="485"/>
                  </a:lnTo>
                  <a:lnTo>
                    <a:pt x="2" y="491"/>
                  </a:lnTo>
                  <a:lnTo>
                    <a:pt x="2" y="491"/>
                  </a:lnTo>
                  <a:lnTo>
                    <a:pt x="5" y="496"/>
                  </a:lnTo>
                  <a:lnTo>
                    <a:pt x="23" y="506"/>
                  </a:lnTo>
                  <a:lnTo>
                    <a:pt x="27" y="510"/>
                  </a:lnTo>
                  <a:lnTo>
                    <a:pt x="27" y="510"/>
                  </a:lnTo>
                  <a:lnTo>
                    <a:pt x="28" y="514"/>
                  </a:lnTo>
                  <a:lnTo>
                    <a:pt x="28" y="515"/>
                  </a:lnTo>
                  <a:lnTo>
                    <a:pt x="31" y="515"/>
                  </a:lnTo>
                  <a:lnTo>
                    <a:pt x="35" y="516"/>
                  </a:lnTo>
                  <a:lnTo>
                    <a:pt x="36" y="518"/>
                  </a:lnTo>
                  <a:lnTo>
                    <a:pt x="36" y="518"/>
                  </a:lnTo>
                  <a:lnTo>
                    <a:pt x="38" y="521"/>
                  </a:lnTo>
                  <a:lnTo>
                    <a:pt x="47" y="526"/>
                  </a:lnTo>
                  <a:lnTo>
                    <a:pt x="49" y="530"/>
                  </a:lnTo>
                  <a:lnTo>
                    <a:pt x="54" y="535"/>
                  </a:lnTo>
                  <a:lnTo>
                    <a:pt x="57" y="537"/>
                  </a:lnTo>
                  <a:lnTo>
                    <a:pt x="58" y="538"/>
                  </a:lnTo>
                  <a:lnTo>
                    <a:pt x="62" y="541"/>
                  </a:lnTo>
                  <a:lnTo>
                    <a:pt x="66" y="541"/>
                  </a:lnTo>
                  <a:lnTo>
                    <a:pt x="68" y="542"/>
                  </a:lnTo>
                  <a:lnTo>
                    <a:pt x="68" y="542"/>
                  </a:lnTo>
                  <a:lnTo>
                    <a:pt x="72" y="541"/>
                  </a:lnTo>
                  <a:lnTo>
                    <a:pt x="81" y="538"/>
                  </a:lnTo>
                  <a:lnTo>
                    <a:pt x="91" y="537"/>
                  </a:lnTo>
                  <a:lnTo>
                    <a:pt x="93" y="538"/>
                  </a:lnTo>
                  <a:lnTo>
                    <a:pt x="95" y="538"/>
                  </a:lnTo>
                  <a:lnTo>
                    <a:pt x="97" y="540"/>
                  </a:lnTo>
                  <a:lnTo>
                    <a:pt x="97" y="541"/>
                  </a:lnTo>
                  <a:lnTo>
                    <a:pt x="99" y="544"/>
                  </a:lnTo>
                  <a:lnTo>
                    <a:pt x="95" y="552"/>
                  </a:lnTo>
                  <a:lnTo>
                    <a:pt x="83" y="559"/>
                  </a:lnTo>
                  <a:lnTo>
                    <a:pt x="81" y="564"/>
                  </a:lnTo>
                  <a:lnTo>
                    <a:pt x="84" y="568"/>
                  </a:lnTo>
                  <a:lnTo>
                    <a:pt x="81" y="573"/>
                  </a:lnTo>
                  <a:lnTo>
                    <a:pt x="81" y="575"/>
                  </a:lnTo>
                  <a:lnTo>
                    <a:pt x="80" y="578"/>
                  </a:lnTo>
                  <a:lnTo>
                    <a:pt x="80" y="578"/>
                  </a:lnTo>
                  <a:lnTo>
                    <a:pt x="80" y="579"/>
                  </a:lnTo>
                  <a:lnTo>
                    <a:pt x="81" y="582"/>
                  </a:lnTo>
                  <a:lnTo>
                    <a:pt x="81" y="583"/>
                  </a:lnTo>
                  <a:lnTo>
                    <a:pt x="81" y="584"/>
                  </a:lnTo>
                  <a:lnTo>
                    <a:pt x="83" y="586"/>
                  </a:lnTo>
                  <a:lnTo>
                    <a:pt x="88" y="587"/>
                  </a:lnTo>
                  <a:lnTo>
                    <a:pt x="88" y="588"/>
                  </a:lnTo>
                  <a:lnTo>
                    <a:pt x="95" y="588"/>
                  </a:lnTo>
                  <a:lnTo>
                    <a:pt x="97" y="588"/>
                  </a:lnTo>
                  <a:lnTo>
                    <a:pt x="100" y="590"/>
                  </a:lnTo>
                  <a:lnTo>
                    <a:pt x="100" y="591"/>
                  </a:lnTo>
                  <a:lnTo>
                    <a:pt x="97" y="591"/>
                  </a:lnTo>
                  <a:lnTo>
                    <a:pt x="97" y="591"/>
                  </a:lnTo>
                  <a:lnTo>
                    <a:pt x="95" y="595"/>
                  </a:lnTo>
                  <a:lnTo>
                    <a:pt x="93" y="595"/>
                  </a:lnTo>
                  <a:lnTo>
                    <a:pt x="89" y="595"/>
                  </a:lnTo>
                  <a:lnTo>
                    <a:pt x="83" y="592"/>
                  </a:lnTo>
                  <a:lnTo>
                    <a:pt x="74" y="598"/>
                  </a:lnTo>
                  <a:lnTo>
                    <a:pt x="68" y="599"/>
                  </a:lnTo>
                  <a:lnTo>
                    <a:pt x="66" y="601"/>
                  </a:lnTo>
                  <a:lnTo>
                    <a:pt x="65" y="602"/>
                  </a:lnTo>
                  <a:lnTo>
                    <a:pt x="68" y="607"/>
                  </a:lnTo>
                  <a:lnTo>
                    <a:pt x="68" y="609"/>
                  </a:lnTo>
                  <a:lnTo>
                    <a:pt x="58" y="610"/>
                  </a:lnTo>
                  <a:lnTo>
                    <a:pt x="58" y="613"/>
                  </a:lnTo>
                  <a:lnTo>
                    <a:pt x="58" y="614"/>
                  </a:lnTo>
                  <a:lnTo>
                    <a:pt x="57" y="618"/>
                  </a:lnTo>
                  <a:lnTo>
                    <a:pt x="57" y="621"/>
                  </a:lnTo>
                  <a:lnTo>
                    <a:pt x="51" y="629"/>
                  </a:lnTo>
                  <a:lnTo>
                    <a:pt x="50" y="632"/>
                  </a:lnTo>
                  <a:lnTo>
                    <a:pt x="49" y="639"/>
                  </a:lnTo>
                  <a:lnTo>
                    <a:pt x="50" y="643"/>
                  </a:lnTo>
                  <a:lnTo>
                    <a:pt x="49" y="645"/>
                  </a:lnTo>
                  <a:lnTo>
                    <a:pt x="40" y="653"/>
                  </a:lnTo>
                  <a:lnTo>
                    <a:pt x="40" y="656"/>
                  </a:lnTo>
                  <a:lnTo>
                    <a:pt x="49" y="660"/>
                  </a:lnTo>
                  <a:lnTo>
                    <a:pt x="53" y="656"/>
                  </a:lnTo>
                  <a:lnTo>
                    <a:pt x="55" y="655"/>
                  </a:lnTo>
                  <a:lnTo>
                    <a:pt x="55" y="656"/>
                  </a:lnTo>
                  <a:lnTo>
                    <a:pt x="57" y="660"/>
                  </a:lnTo>
                  <a:lnTo>
                    <a:pt x="55" y="663"/>
                  </a:lnTo>
                  <a:lnTo>
                    <a:pt x="50" y="667"/>
                  </a:lnTo>
                  <a:lnTo>
                    <a:pt x="43" y="670"/>
                  </a:lnTo>
                  <a:lnTo>
                    <a:pt x="38" y="670"/>
                  </a:lnTo>
                  <a:lnTo>
                    <a:pt x="36" y="670"/>
                  </a:lnTo>
                  <a:lnTo>
                    <a:pt x="35" y="672"/>
                  </a:lnTo>
                  <a:lnTo>
                    <a:pt x="40" y="679"/>
                  </a:lnTo>
                  <a:lnTo>
                    <a:pt x="45" y="681"/>
                  </a:lnTo>
                  <a:lnTo>
                    <a:pt x="45" y="682"/>
                  </a:lnTo>
                  <a:lnTo>
                    <a:pt x="46" y="685"/>
                  </a:lnTo>
                  <a:lnTo>
                    <a:pt x="47" y="687"/>
                  </a:lnTo>
                  <a:lnTo>
                    <a:pt x="47" y="689"/>
                  </a:lnTo>
                  <a:lnTo>
                    <a:pt x="47" y="689"/>
                  </a:lnTo>
                  <a:lnTo>
                    <a:pt x="46" y="690"/>
                  </a:lnTo>
                  <a:lnTo>
                    <a:pt x="42" y="690"/>
                  </a:lnTo>
                  <a:lnTo>
                    <a:pt x="42" y="691"/>
                  </a:lnTo>
                  <a:lnTo>
                    <a:pt x="42" y="694"/>
                  </a:lnTo>
                  <a:lnTo>
                    <a:pt x="40" y="696"/>
                  </a:lnTo>
                  <a:lnTo>
                    <a:pt x="40" y="704"/>
                  </a:lnTo>
                  <a:lnTo>
                    <a:pt x="39" y="706"/>
                  </a:lnTo>
                  <a:lnTo>
                    <a:pt x="39" y="708"/>
                  </a:lnTo>
                  <a:lnTo>
                    <a:pt x="43" y="715"/>
                  </a:lnTo>
                  <a:lnTo>
                    <a:pt x="46" y="719"/>
                  </a:lnTo>
                  <a:lnTo>
                    <a:pt x="51" y="723"/>
                  </a:lnTo>
                  <a:lnTo>
                    <a:pt x="51" y="728"/>
                  </a:lnTo>
                  <a:lnTo>
                    <a:pt x="54" y="731"/>
                  </a:lnTo>
                  <a:lnTo>
                    <a:pt x="53" y="732"/>
                  </a:lnTo>
                  <a:lnTo>
                    <a:pt x="51" y="739"/>
                  </a:lnTo>
                  <a:lnTo>
                    <a:pt x="50" y="743"/>
                  </a:lnTo>
                  <a:lnTo>
                    <a:pt x="51" y="746"/>
                  </a:lnTo>
                  <a:lnTo>
                    <a:pt x="58" y="765"/>
                  </a:lnTo>
                  <a:lnTo>
                    <a:pt x="68" y="774"/>
                  </a:lnTo>
                  <a:lnTo>
                    <a:pt x="70" y="778"/>
                  </a:lnTo>
                  <a:lnTo>
                    <a:pt x="80" y="792"/>
                  </a:lnTo>
                  <a:lnTo>
                    <a:pt x="80" y="797"/>
                  </a:lnTo>
                  <a:lnTo>
                    <a:pt x="80" y="799"/>
                  </a:lnTo>
                  <a:lnTo>
                    <a:pt x="83" y="801"/>
                  </a:lnTo>
                  <a:lnTo>
                    <a:pt x="85" y="803"/>
                  </a:lnTo>
                  <a:lnTo>
                    <a:pt x="89" y="801"/>
                  </a:lnTo>
                  <a:lnTo>
                    <a:pt x="95" y="801"/>
                  </a:lnTo>
                  <a:lnTo>
                    <a:pt x="95" y="812"/>
                  </a:lnTo>
                  <a:lnTo>
                    <a:pt x="99" y="812"/>
                  </a:lnTo>
                  <a:lnTo>
                    <a:pt x="100" y="812"/>
                  </a:lnTo>
                  <a:lnTo>
                    <a:pt x="102" y="812"/>
                  </a:lnTo>
                  <a:lnTo>
                    <a:pt x="107" y="808"/>
                  </a:lnTo>
                  <a:lnTo>
                    <a:pt x="116" y="803"/>
                  </a:lnTo>
                  <a:lnTo>
                    <a:pt x="122" y="801"/>
                  </a:lnTo>
                  <a:lnTo>
                    <a:pt x="122" y="801"/>
                  </a:lnTo>
                  <a:lnTo>
                    <a:pt x="122" y="800"/>
                  </a:lnTo>
                  <a:lnTo>
                    <a:pt x="123" y="800"/>
                  </a:lnTo>
                  <a:lnTo>
                    <a:pt x="125" y="796"/>
                  </a:lnTo>
                  <a:lnTo>
                    <a:pt x="126" y="796"/>
                  </a:lnTo>
                  <a:lnTo>
                    <a:pt x="126" y="795"/>
                  </a:lnTo>
                  <a:lnTo>
                    <a:pt x="127" y="795"/>
                  </a:lnTo>
                  <a:lnTo>
                    <a:pt x="127" y="795"/>
                  </a:lnTo>
                  <a:lnTo>
                    <a:pt x="130" y="795"/>
                  </a:lnTo>
                  <a:lnTo>
                    <a:pt x="131" y="797"/>
                  </a:lnTo>
                  <a:lnTo>
                    <a:pt x="133" y="799"/>
                  </a:lnTo>
                  <a:lnTo>
                    <a:pt x="135" y="799"/>
                  </a:lnTo>
                  <a:lnTo>
                    <a:pt x="141" y="801"/>
                  </a:lnTo>
                  <a:lnTo>
                    <a:pt x="140" y="804"/>
                  </a:lnTo>
                  <a:lnTo>
                    <a:pt x="134" y="807"/>
                  </a:lnTo>
                  <a:lnTo>
                    <a:pt x="137" y="807"/>
                  </a:lnTo>
                  <a:lnTo>
                    <a:pt x="141" y="805"/>
                  </a:lnTo>
                  <a:lnTo>
                    <a:pt x="144" y="807"/>
                  </a:lnTo>
                  <a:lnTo>
                    <a:pt x="145" y="812"/>
                  </a:lnTo>
                  <a:lnTo>
                    <a:pt x="149" y="814"/>
                  </a:lnTo>
                  <a:lnTo>
                    <a:pt x="152" y="816"/>
                  </a:lnTo>
                  <a:lnTo>
                    <a:pt x="154" y="819"/>
                  </a:lnTo>
                  <a:lnTo>
                    <a:pt x="156" y="820"/>
                  </a:lnTo>
                  <a:lnTo>
                    <a:pt x="161" y="826"/>
                  </a:lnTo>
                  <a:lnTo>
                    <a:pt x="165" y="827"/>
                  </a:lnTo>
                  <a:lnTo>
                    <a:pt x="165" y="831"/>
                  </a:lnTo>
                  <a:lnTo>
                    <a:pt x="165" y="837"/>
                  </a:lnTo>
                  <a:lnTo>
                    <a:pt x="165" y="837"/>
                  </a:lnTo>
                  <a:lnTo>
                    <a:pt x="171" y="842"/>
                  </a:lnTo>
                  <a:lnTo>
                    <a:pt x="173" y="849"/>
                  </a:lnTo>
                  <a:lnTo>
                    <a:pt x="177" y="854"/>
                  </a:lnTo>
                  <a:lnTo>
                    <a:pt x="182" y="853"/>
                  </a:lnTo>
                  <a:lnTo>
                    <a:pt x="188" y="854"/>
                  </a:lnTo>
                  <a:lnTo>
                    <a:pt x="188" y="854"/>
                  </a:lnTo>
                  <a:lnTo>
                    <a:pt x="190" y="852"/>
                  </a:lnTo>
                  <a:lnTo>
                    <a:pt x="192" y="850"/>
                  </a:lnTo>
                  <a:lnTo>
                    <a:pt x="194" y="852"/>
                  </a:lnTo>
                  <a:lnTo>
                    <a:pt x="195" y="857"/>
                  </a:lnTo>
                  <a:lnTo>
                    <a:pt x="195" y="857"/>
                  </a:lnTo>
                  <a:lnTo>
                    <a:pt x="198" y="856"/>
                  </a:lnTo>
                  <a:lnTo>
                    <a:pt x="199" y="854"/>
                  </a:lnTo>
                  <a:lnTo>
                    <a:pt x="201" y="854"/>
                  </a:lnTo>
                  <a:lnTo>
                    <a:pt x="207" y="856"/>
                  </a:lnTo>
                  <a:lnTo>
                    <a:pt x="209" y="857"/>
                  </a:lnTo>
                  <a:lnTo>
                    <a:pt x="209" y="860"/>
                  </a:lnTo>
                  <a:lnTo>
                    <a:pt x="207" y="865"/>
                  </a:lnTo>
                  <a:lnTo>
                    <a:pt x="207" y="868"/>
                  </a:lnTo>
                  <a:lnTo>
                    <a:pt x="214" y="853"/>
                  </a:lnTo>
                  <a:lnTo>
                    <a:pt x="218" y="85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nvGrpSpPr>
            <p:cNvPr id="103" name="Group 102">
              <a:extLst>
                <a:ext uri="{FF2B5EF4-FFF2-40B4-BE49-F238E27FC236}">
                  <a16:creationId xmlns:a16="http://schemas.microsoft.com/office/drawing/2014/main" id="{BFCAC449-DAAA-4F7B-BD64-607721CAFE1E}"/>
                </a:ext>
              </a:extLst>
            </p:cNvPr>
            <p:cNvGrpSpPr/>
            <p:nvPr/>
          </p:nvGrpSpPr>
          <p:grpSpPr>
            <a:xfrm>
              <a:off x="2533650" y="3673544"/>
              <a:ext cx="831850" cy="1098550"/>
              <a:chOff x="2533650" y="3673544"/>
              <a:chExt cx="831850" cy="1098550"/>
            </a:xfrm>
            <a:grpFill/>
          </p:grpSpPr>
          <p:sp>
            <p:nvSpPr>
              <p:cNvPr id="278" name="Freeform 231">
                <a:extLst>
                  <a:ext uri="{FF2B5EF4-FFF2-40B4-BE49-F238E27FC236}">
                    <a16:creationId xmlns:a16="http://schemas.microsoft.com/office/drawing/2014/main" id="{8329B167-BC7C-48F2-B2A6-83D2B7552F46}"/>
                  </a:ext>
                </a:extLst>
              </p:cNvPr>
              <p:cNvSpPr>
                <a:spLocks/>
              </p:cNvSpPr>
              <p:nvPr/>
            </p:nvSpPr>
            <p:spPr bwMode="auto">
              <a:xfrm>
                <a:off x="2533650" y="4048194"/>
                <a:ext cx="141288" cy="179388"/>
              </a:xfrm>
              <a:custGeom>
                <a:avLst/>
                <a:gdLst>
                  <a:gd name="T0" fmla="*/ 163 w 178"/>
                  <a:gd name="T1" fmla="*/ 66 h 225"/>
                  <a:gd name="T2" fmla="*/ 178 w 178"/>
                  <a:gd name="T3" fmla="*/ 73 h 225"/>
                  <a:gd name="T4" fmla="*/ 170 w 178"/>
                  <a:gd name="T5" fmla="*/ 77 h 225"/>
                  <a:gd name="T6" fmla="*/ 166 w 178"/>
                  <a:gd name="T7" fmla="*/ 91 h 225"/>
                  <a:gd name="T8" fmla="*/ 158 w 178"/>
                  <a:gd name="T9" fmla="*/ 103 h 225"/>
                  <a:gd name="T10" fmla="*/ 154 w 178"/>
                  <a:gd name="T11" fmla="*/ 114 h 225"/>
                  <a:gd name="T12" fmla="*/ 144 w 178"/>
                  <a:gd name="T13" fmla="*/ 125 h 225"/>
                  <a:gd name="T14" fmla="*/ 148 w 178"/>
                  <a:gd name="T15" fmla="*/ 136 h 225"/>
                  <a:gd name="T16" fmla="*/ 141 w 178"/>
                  <a:gd name="T17" fmla="*/ 148 h 225"/>
                  <a:gd name="T18" fmla="*/ 128 w 178"/>
                  <a:gd name="T19" fmla="*/ 153 h 225"/>
                  <a:gd name="T20" fmla="*/ 121 w 178"/>
                  <a:gd name="T21" fmla="*/ 156 h 225"/>
                  <a:gd name="T22" fmla="*/ 118 w 178"/>
                  <a:gd name="T23" fmla="*/ 165 h 225"/>
                  <a:gd name="T24" fmla="*/ 103 w 178"/>
                  <a:gd name="T25" fmla="*/ 179 h 225"/>
                  <a:gd name="T26" fmla="*/ 97 w 178"/>
                  <a:gd name="T27" fmla="*/ 184 h 225"/>
                  <a:gd name="T28" fmla="*/ 91 w 178"/>
                  <a:gd name="T29" fmla="*/ 194 h 225"/>
                  <a:gd name="T30" fmla="*/ 71 w 178"/>
                  <a:gd name="T31" fmla="*/ 202 h 225"/>
                  <a:gd name="T32" fmla="*/ 63 w 178"/>
                  <a:gd name="T33" fmla="*/ 210 h 225"/>
                  <a:gd name="T34" fmla="*/ 69 w 178"/>
                  <a:gd name="T35" fmla="*/ 213 h 225"/>
                  <a:gd name="T36" fmla="*/ 64 w 178"/>
                  <a:gd name="T37" fmla="*/ 224 h 225"/>
                  <a:gd name="T38" fmla="*/ 63 w 178"/>
                  <a:gd name="T39" fmla="*/ 214 h 225"/>
                  <a:gd name="T40" fmla="*/ 57 w 178"/>
                  <a:gd name="T41" fmla="*/ 212 h 225"/>
                  <a:gd name="T42" fmla="*/ 49 w 178"/>
                  <a:gd name="T43" fmla="*/ 217 h 225"/>
                  <a:gd name="T44" fmla="*/ 41 w 178"/>
                  <a:gd name="T45" fmla="*/ 216 h 225"/>
                  <a:gd name="T46" fmla="*/ 38 w 178"/>
                  <a:gd name="T47" fmla="*/ 210 h 225"/>
                  <a:gd name="T48" fmla="*/ 33 w 178"/>
                  <a:gd name="T49" fmla="*/ 206 h 225"/>
                  <a:gd name="T50" fmla="*/ 22 w 178"/>
                  <a:gd name="T51" fmla="*/ 210 h 225"/>
                  <a:gd name="T52" fmla="*/ 21 w 178"/>
                  <a:gd name="T53" fmla="*/ 216 h 225"/>
                  <a:gd name="T54" fmla="*/ 10 w 178"/>
                  <a:gd name="T55" fmla="*/ 221 h 225"/>
                  <a:gd name="T56" fmla="*/ 4 w 178"/>
                  <a:gd name="T57" fmla="*/ 220 h 225"/>
                  <a:gd name="T58" fmla="*/ 4 w 178"/>
                  <a:gd name="T59" fmla="*/ 213 h 225"/>
                  <a:gd name="T60" fmla="*/ 11 w 178"/>
                  <a:gd name="T61" fmla="*/ 205 h 225"/>
                  <a:gd name="T62" fmla="*/ 7 w 178"/>
                  <a:gd name="T63" fmla="*/ 198 h 225"/>
                  <a:gd name="T64" fmla="*/ 14 w 178"/>
                  <a:gd name="T65" fmla="*/ 190 h 225"/>
                  <a:gd name="T66" fmla="*/ 22 w 178"/>
                  <a:gd name="T67" fmla="*/ 176 h 225"/>
                  <a:gd name="T68" fmla="*/ 22 w 178"/>
                  <a:gd name="T69" fmla="*/ 167 h 225"/>
                  <a:gd name="T70" fmla="*/ 21 w 178"/>
                  <a:gd name="T71" fmla="*/ 152 h 225"/>
                  <a:gd name="T72" fmla="*/ 27 w 178"/>
                  <a:gd name="T73" fmla="*/ 134 h 225"/>
                  <a:gd name="T74" fmla="*/ 36 w 178"/>
                  <a:gd name="T75" fmla="*/ 119 h 225"/>
                  <a:gd name="T76" fmla="*/ 48 w 178"/>
                  <a:gd name="T77" fmla="*/ 113 h 225"/>
                  <a:gd name="T78" fmla="*/ 61 w 178"/>
                  <a:gd name="T79" fmla="*/ 98 h 225"/>
                  <a:gd name="T80" fmla="*/ 75 w 178"/>
                  <a:gd name="T81" fmla="*/ 77 h 225"/>
                  <a:gd name="T82" fmla="*/ 86 w 178"/>
                  <a:gd name="T83" fmla="*/ 50 h 225"/>
                  <a:gd name="T84" fmla="*/ 91 w 178"/>
                  <a:gd name="T85" fmla="*/ 34 h 225"/>
                  <a:gd name="T86" fmla="*/ 120 w 178"/>
                  <a:gd name="T87" fmla="*/ 12 h 225"/>
                  <a:gd name="T88" fmla="*/ 137 w 178"/>
                  <a:gd name="T89" fmla="*/ 7 h 225"/>
                  <a:gd name="T90" fmla="*/ 158 w 178"/>
                  <a:gd name="T91" fmla="*/ 0 h 225"/>
                  <a:gd name="T92" fmla="*/ 155 w 178"/>
                  <a:gd name="T93" fmla="*/ 28 h 225"/>
                  <a:gd name="T94" fmla="*/ 151 w 178"/>
                  <a:gd name="T95" fmla="*/ 5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 h="225">
                    <a:moveTo>
                      <a:pt x="155" y="64"/>
                    </a:moveTo>
                    <a:lnTo>
                      <a:pt x="159" y="65"/>
                    </a:lnTo>
                    <a:lnTo>
                      <a:pt x="162" y="65"/>
                    </a:lnTo>
                    <a:lnTo>
                      <a:pt x="163" y="66"/>
                    </a:lnTo>
                    <a:lnTo>
                      <a:pt x="163" y="66"/>
                    </a:lnTo>
                    <a:lnTo>
                      <a:pt x="171" y="69"/>
                    </a:lnTo>
                    <a:lnTo>
                      <a:pt x="175" y="71"/>
                    </a:lnTo>
                    <a:lnTo>
                      <a:pt x="178" y="73"/>
                    </a:lnTo>
                    <a:lnTo>
                      <a:pt x="177" y="75"/>
                    </a:lnTo>
                    <a:lnTo>
                      <a:pt x="173" y="79"/>
                    </a:lnTo>
                    <a:lnTo>
                      <a:pt x="170" y="77"/>
                    </a:lnTo>
                    <a:lnTo>
                      <a:pt x="170" y="77"/>
                    </a:lnTo>
                    <a:lnTo>
                      <a:pt x="171" y="81"/>
                    </a:lnTo>
                    <a:lnTo>
                      <a:pt x="171" y="84"/>
                    </a:lnTo>
                    <a:lnTo>
                      <a:pt x="166" y="91"/>
                    </a:lnTo>
                    <a:lnTo>
                      <a:pt x="166" y="91"/>
                    </a:lnTo>
                    <a:lnTo>
                      <a:pt x="166" y="92"/>
                    </a:lnTo>
                    <a:lnTo>
                      <a:pt x="164" y="95"/>
                    </a:lnTo>
                    <a:lnTo>
                      <a:pt x="162" y="99"/>
                    </a:lnTo>
                    <a:lnTo>
                      <a:pt x="158" y="103"/>
                    </a:lnTo>
                    <a:lnTo>
                      <a:pt x="155" y="107"/>
                    </a:lnTo>
                    <a:lnTo>
                      <a:pt x="156" y="109"/>
                    </a:lnTo>
                    <a:lnTo>
                      <a:pt x="156" y="109"/>
                    </a:lnTo>
                    <a:lnTo>
                      <a:pt x="154" y="114"/>
                    </a:lnTo>
                    <a:lnTo>
                      <a:pt x="150" y="118"/>
                    </a:lnTo>
                    <a:lnTo>
                      <a:pt x="147" y="119"/>
                    </a:lnTo>
                    <a:lnTo>
                      <a:pt x="147" y="119"/>
                    </a:lnTo>
                    <a:lnTo>
                      <a:pt x="144" y="125"/>
                    </a:lnTo>
                    <a:lnTo>
                      <a:pt x="144" y="132"/>
                    </a:lnTo>
                    <a:lnTo>
                      <a:pt x="147" y="133"/>
                    </a:lnTo>
                    <a:lnTo>
                      <a:pt x="147" y="134"/>
                    </a:lnTo>
                    <a:lnTo>
                      <a:pt x="148" y="136"/>
                    </a:lnTo>
                    <a:lnTo>
                      <a:pt x="148" y="136"/>
                    </a:lnTo>
                    <a:lnTo>
                      <a:pt x="148" y="138"/>
                    </a:lnTo>
                    <a:lnTo>
                      <a:pt x="145" y="141"/>
                    </a:lnTo>
                    <a:lnTo>
                      <a:pt x="141" y="148"/>
                    </a:lnTo>
                    <a:lnTo>
                      <a:pt x="136" y="149"/>
                    </a:lnTo>
                    <a:lnTo>
                      <a:pt x="136" y="152"/>
                    </a:lnTo>
                    <a:lnTo>
                      <a:pt x="131" y="155"/>
                    </a:lnTo>
                    <a:lnTo>
                      <a:pt x="128" y="153"/>
                    </a:lnTo>
                    <a:lnTo>
                      <a:pt x="125" y="156"/>
                    </a:lnTo>
                    <a:lnTo>
                      <a:pt x="124" y="155"/>
                    </a:lnTo>
                    <a:lnTo>
                      <a:pt x="124" y="155"/>
                    </a:lnTo>
                    <a:lnTo>
                      <a:pt x="121" y="156"/>
                    </a:lnTo>
                    <a:lnTo>
                      <a:pt x="120" y="157"/>
                    </a:lnTo>
                    <a:lnTo>
                      <a:pt x="116" y="161"/>
                    </a:lnTo>
                    <a:lnTo>
                      <a:pt x="117" y="167"/>
                    </a:lnTo>
                    <a:lnTo>
                      <a:pt x="118" y="165"/>
                    </a:lnTo>
                    <a:lnTo>
                      <a:pt x="120" y="170"/>
                    </a:lnTo>
                    <a:lnTo>
                      <a:pt x="120" y="170"/>
                    </a:lnTo>
                    <a:lnTo>
                      <a:pt x="106" y="180"/>
                    </a:lnTo>
                    <a:lnTo>
                      <a:pt x="103" y="179"/>
                    </a:lnTo>
                    <a:lnTo>
                      <a:pt x="103" y="179"/>
                    </a:lnTo>
                    <a:lnTo>
                      <a:pt x="99" y="180"/>
                    </a:lnTo>
                    <a:lnTo>
                      <a:pt x="97" y="183"/>
                    </a:lnTo>
                    <a:lnTo>
                      <a:pt x="97" y="184"/>
                    </a:lnTo>
                    <a:lnTo>
                      <a:pt x="97" y="184"/>
                    </a:lnTo>
                    <a:lnTo>
                      <a:pt x="95" y="187"/>
                    </a:lnTo>
                    <a:lnTo>
                      <a:pt x="93" y="190"/>
                    </a:lnTo>
                    <a:lnTo>
                      <a:pt x="91" y="194"/>
                    </a:lnTo>
                    <a:lnTo>
                      <a:pt x="90" y="195"/>
                    </a:lnTo>
                    <a:lnTo>
                      <a:pt x="80" y="195"/>
                    </a:lnTo>
                    <a:lnTo>
                      <a:pt x="71" y="202"/>
                    </a:lnTo>
                    <a:lnTo>
                      <a:pt x="71" y="202"/>
                    </a:lnTo>
                    <a:lnTo>
                      <a:pt x="69" y="203"/>
                    </a:lnTo>
                    <a:lnTo>
                      <a:pt x="68" y="206"/>
                    </a:lnTo>
                    <a:lnTo>
                      <a:pt x="64" y="209"/>
                    </a:lnTo>
                    <a:lnTo>
                      <a:pt x="63" y="210"/>
                    </a:lnTo>
                    <a:lnTo>
                      <a:pt x="64" y="214"/>
                    </a:lnTo>
                    <a:lnTo>
                      <a:pt x="65" y="214"/>
                    </a:lnTo>
                    <a:lnTo>
                      <a:pt x="69" y="212"/>
                    </a:lnTo>
                    <a:lnTo>
                      <a:pt x="69" y="213"/>
                    </a:lnTo>
                    <a:lnTo>
                      <a:pt x="67" y="216"/>
                    </a:lnTo>
                    <a:lnTo>
                      <a:pt x="67" y="216"/>
                    </a:lnTo>
                    <a:lnTo>
                      <a:pt x="65" y="220"/>
                    </a:lnTo>
                    <a:lnTo>
                      <a:pt x="64" y="224"/>
                    </a:lnTo>
                    <a:lnTo>
                      <a:pt x="63" y="225"/>
                    </a:lnTo>
                    <a:lnTo>
                      <a:pt x="60" y="224"/>
                    </a:lnTo>
                    <a:lnTo>
                      <a:pt x="61" y="221"/>
                    </a:lnTo>
                    <a:lnTo>
                      <a:pt x="63" y="214"/>
                    </a:lnTo>
                    <a:lnTo>
                      <a:pt x="63" y="214"/>
                    </a:lnTo>
                    <a:lnTo>
                      <a:pt x="60" y="212"/>
                    </a:lnTo>
                    <a:lnTo>
                      <a:pt x="57" y="212"/>
                    </a:lnTo>
                    <a:lnTo>
                      <a:pt x="57" y="212"/>
                    </a:lnTo>
                    <a:lnTo>
                      <a:pt x="52" y="213"/>
                    </a:lnTo>
                    <a:lnTo>
                      <a:pt x="52" y="213"/>
                    </a:lnTo>
                    <a:lnTo>
                      <a:pt x="49" y="216"/>
                    </a:lnTo>
                    <a:lnTo>
                      <a:pt x="49" y="217"/>
                    </a:lnTo>
                    <a:lnTo>
                      <a:pt x="49" y="218"/>
                    </a:lnTo>
                    <a:lnTo>
                      <a:pt x="42" y="218"/>
                    </a:lnTo>
                    <a:lnTo>
                      <a:pt x="42" y="217"/>
                    </a:lnTo>
                    <a:lnTo>
                      <a:pt x="41" y="216"/>
                    </a:lnTo>
                    <a:lnTo>
                      <a:pt x="41" y="214"/>
                    </a:lnTo>
                    <a:lnTo>
                      <a:pt x="42" y="213"/>
                    </a:lnTo>
                    <a:lnTo>
                      <a:pt x="42" y="213"/>
                    </a:lnTo>
                    <a:lnTo>
                      <a:pt x="38" y="210"/>
                    </a:lnTo>
                    <a:lnTo>
                      <a:pt x="38" y="209"/>
                    </a:lnTo>
                    <a:lnTo>
                      <a:pt x="37" y="206"/>
                    </a:lnTo>
                    <a:lnTo>
                      <a:pt x="37" y="206"/>
                    </a:lnTo>
                    <a:lnTo>
                      <a:pt x="33" y="206"/>
                    </a:lnTo>
                    <a:lnTo>
                      <a:pt x="29" y="206"/>
                    </a:lnTo>
                    <a:lnTo>
                      <a:pt x="25" y="208"/>
                    </a:lnTo>
                    <a:lnTo>
                      <a:pt x="25" y="210"/>
                    </a:lnTo>
                    <a:lnTo>
                      <a:pt x="22" y="210"/>
                    </a:lnTo>
                    <a:lnTo>
                      <a:pt x="22" y="213"/>
                    </a:lnTo>
                    <a:lnTo>
                      <a:pt x="23" y="214"/>
                    </a:lnTo>
                    <a:lnTo>
                      <a:pt x="23" y="216"/>
                    </a:lnTo>
                    <a:lnTo>
                      <a:pt x="21" y="216"/>
                    </a:lnTo>
                    <a:lnTo>
                      <a:pt x="19" y="214"/>
                    </a:lnTo>
                    <a:lnTo>
                      <a:pt x="17" y="216"/>
                    </a:lnTo>
                    <a:lnTo>
                      <a:pt x="15" y="220"/>
                    </a:lnTo>
                    <a:lnTo>
                      <a:pt x="10" y="221"/>
                    </a:lnTo>
                    <a:lnTo>
                      <a:pt x="10" y="222"/>
                    </a:lnTo>
                    <a:lnTo>
                      <a:pt x="8" y="224"/>
                    </a:lnTo>
                    <a:lnTo>
                      <a:pt x="6" y="222"/>
                    </a:lnTo>
                    <a:lnTo>
                      <a:pt x="4" y="220"/>
                    </a:lnTo>
                    <a:lnTo>
                      <a:pt x="0" y="220"/>
                    </a:lnTo>
                    <a:lnTo>
                      <a:pt x="0" y="218"/>
                    </a:lnTo>
                    <a:lnTo>
                      <a:pt x="3" y="216"/>
                    </a:lnTo>
                    <a:lnTo>
                      <a:pt x="4" y="213"/>
                    </a:lnTo>
                    <a:lnTo>
                      <a:pt x="7" y="210"/>
                    </a:lnTo>
                    <a:lnTo>
                      <a:pt x="8" y="206"/>
                    </a:lnTo>
                    <a:lnTo>
                      <a:pt x="10" y="205"/>
                    </a:lnTo>
                    <a:lnTo>
                      <a:pt x="11" y="205"/>
                    </a:lnTo>
                    <a:lnTo>
                      <a:pt x="12" y="205"/>
                    </a:lnTo>
                    <a:lnTo>
                      <a:pt x="14" y="203"/>
                    </a:lnTo>
                    <a:lnTo>
                      <a:pt x="7" y="201"/>
                    </a:lnTo>
                    <a:lnTo>
                      <a:pt x="7" y="198"/>
                    </a:lnTo>
                    <a:lnTo>
                      <a:pt x="7" y="198"/>
                    </a:lnTo>
                    <a:lnTo>
                      <a:pt x="10" y="194"/>
                    </a:lnTo>
                    <a:lnTo>
                      <a:pt x="12" y="191"/>
                    </a:lnTo>
                    <a:lnTo>
                      <a:pt x="14" y="190"/>
                    </a:lnTo>
                    <a:lnTo>
                      <a:pt x="17" y="191"/>
                    </a:lnTo>
                    <a:lnTo>
                      <a:pt x="18" y="186"/>
                    </a:lnTo>
                    <a:lnTo>
                      <a:pt x="22" y="180"/>
                    </a:lnTo>
                    <a:lnTo>
                      <a:pt x="22" y="176"/>
                    </a:lnTo>
                    <a:lnTo>
                      <a:pt x="22" y="176"/>
                    </a:lnTo>
                    <a:lnTo>
                      <a:pt x="23" y="174"/>
                    </a:lnTo>
                    <a:lnTo>
                      <a:pt x="23" y="170"/>
                    </a:lnTo>
                    <a:lnTo>
                      <a:pt x="22" y="167"/>
                    </a:lnTo>
                    <a:lnTo>
                      <a:pt x="23" y="163"/>
                    </a:lnTo>
                    <a:lnTo>
                      <a:pt x="19" y="156"/>
                    </a:lnTo>
                    <a:lnTo>
                      <a:pt x="21" y="152"/>
                    </a:lnTo>
                    <a:lnTo>
                      <a:pt x="21" y="152"/>
                    </a:lnTo>
                    <a:lnTo>
                      <a:pt x="25" y="148"/>
                    </a:lnTo>
                    <a:lnTo>
                      <a:pt x="26" y="145"/>
                    </a:lnTo>
                    <a:lnTo>
                      <a:pt x="27" y="140"/>
                    </a:lnTo>
                    <a:lnTo>
                      <a:pt x="27" y="134"/>
                    </a:lnTo>
                    <a:lnTo>
                      <a:pt x="30" y="133"/>
                    </a:lnTo>
                    <a:lnTo>
                      <a:pt x="27" y="128"/>
                    </a:lnTo>
                    <a:lnTo>
                      <a:pt x="36" y="117"/>
                    </a:lnTo>
                    <a:lnTo>
                      <a:pt x="36" y="119"/>
                    </a:lnTo>
                    <a:lnTo>
                      <a:pt x="40" y="118"/>
                    </a:lnTo>
                    <a:lnTo>
                      <a:pt x="41" y="115"/>
                    </a:lnTo>
                    <a:lnTo>
                      <a:pt x="48" y="113"/>
                    </a:lnTo>
                    <a:lnTo>
                      <a:pt x="48" y="113"/>
                    </a:lnTo>
                    <a:lnTo>
                      <a:pt x="50" y="109"/>
                    </a:lnTo>
                    <a:lnTo>
                      <a:pt x="55" y="106"/>
                    </a:lnTo>
                    <a:lnTo>
                      <a:pt x="61" y="98"/>
                    </a:lnTo>
                    <a:lnTo>
                      <a:pt x="61" y="98"/>
                    </a:lnTo>
                    <a:lnTo>
                      <a:pt x="69" y="87"/>
                    </a:lnTo>
                    <a:lnTo>
                      <a:pt x="69" y="87"/>
                    </a:lnTo>
                    <a:lnTo>
                      <a:pt x="72" y="83"/>
                    </a:lnTo>
                    <a:lnTo>
                      <a:pt x="75" y="77"/>
                    </a:lnTo>
                    <a:lnTo>
                      <a:pt x="78" y="65"/>
                    </a:lnTo>
                    <a:lnTo>
                      <a:pt x="78" y="65"/>
                    </a:lnTo>
                    <a:lnTo>
                      <a:pt x="82" y="58"/>
                    </a:lnTo>
                    <a:lnTo>
                      <a:pt x="86" y="50"/>
                    </a:lnTo>
                    <a:lnTo>
                      <a:pt x="86" y="50"/>
                    </a:lnTo>
                    <a:lnTo>
                      <a:pt x="88" y="41"/>
                    </a:lnTo>
                    <a:lnTo>
                      <a:pt x="88" y="41"/>
                    </a:lnTo>
                    <a:lnTo>
                      <a:pt x="91" y="34"/>
                    </a:lnTo>
                    <a:lnTo>
                      <a:pt x="97" y="28"/>
                    </a:lnTo>
                    <a:lnTo>
                      <a:pt x="107" y="20"/>
                    </a:lnTo>
                    <a:lnTo>
                      <a:pt x="107" y="20"/>
                    </a:lnTo>
                    <a:lnTo>
                      <a:pt x="120" y="12"/>
                    </a:lnTo>
                    <a:lnTo>
                      <a:pt x="124" y="11"/>
                    </a:lnTo>
                    <a:lnTo>
                      <a:pt x="133" y="9"/>
                    </a:lnTo>
                    <a:lnTo>
                      <a:pt x="133" y="9"/>
                    </a:lnTo>
                    <a:lnTo>
                      <a:pt x="137" y="7"/>
                    </a:lnTo>
                    <a:lnTo>
                      <a:pt x="144" y="4"/>
                    </a:lnTo>
                    <a:lnTo>
                      <a:pt x="150" y="1"/>
                    </a:lnTo>
                    <a:lnTo>
                      <a:pt x="156" y="0"/>
                    </a:lnTo>
                    <a:lnTo>
                      <a:pt x="158" y="0"/>
                    </a:lnTo>
                    <a:lnTo>
                      <a:pt x="158" y="5"/>
                    </a:lnTo>
                    <a:lnTo>
                      <a:pt x="158" y="16"/>
                    </a:lnTo>
                    <a:lnTo>
                      <a:pt x="158" y="16"/>
                    </a:lnTo>
                    <a:lnTo>
                      <a:pt x="155" y="28"/>
                    </a:lnTo>
                    <a:lnTo>
                      <a:pt x="151" y="39"/>
                    </a:lnTo>
                    <a:lnTo>
                      <a:pt x="151" y="39"/>
                    </a:lnTo>
                    <a:lnTo>
                      <a:pt x="150" y="46"/>
                    </a:lnTo>
                    <a:lnTo>
                      <a:pt x="151" y="52"/>
                    </a:lnTo>
                    <a:lnTo>
                      <a:pt x="152" y="57"/>
                    </a:lnTo>
                    <a:lnTo>
                      <a:pt x="155" y="62"/>
                    </a:lnTo>
                    <a:lnTo>
                      <a:pt x="155" y="6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9" name="Freeform 364">
                <a:extLst>
                  <a:ext uri="{FF2B5EF4-FFF2-40B4-BE49-F238E27FC236}">
                    <a16:creationId xmlns:a16="http://schemas.microsoft.com/office/drawing/2014/main" id="{B3C73FFC-1866-46F2-B7D3-DF39DF1902FD}"/>
                  </a:ext>
                </a:extLst>
              </p:cNvPr>
              <p:cNvSpPr>
                <a:spLocks/>
              </p:cNvSpPr>
              <p:nvPr/>
            </p:nvSpPr>
            <p:spPr bwMode="auto">
              <a:xfrm>
                <a:off x="2867025" y="3673544"/>
                <a:ext cx="498475" cy="1098550"/>
              </a:xfrm>
              <a:custGeom>
                <a:avLst/>
                <a:gdLst>
                  <a:gd name="T0" fmla="*/ 454 w 628"/>
                  <a:gd name="T1" fmla="*/ 1321 h 1385"/>
                  <a:gd name="T2" fmla="*/ 602 w 628"/>
                  <a:gd name="T3" fmla="*/ 1209 h 1385"/>
                  <a:gd name="T4" fmla="*/ 598 w 628"/>
                  <a:gd name="T5" fmla="*/ 1054 h 1385"/>
                  <a:gd name="T6" fmla="*/ 575 w 628"/>
                  <a:gd name="T7" fmla="*/ 935 h 1385"/>
                  <a:gd name="T8" fmla="*/ 578 w 628"/>
                  <a:gd name="T9" fmla="*/ 826 h 1385"/>
                  <a:gd name="T10" fmla="*/ 467 w 628"/>
                  <a:gd name="T11" fmla="*/ 738 h 1385"/>
                  <a:gd name="T12" fmla="*/ 437 w 628"/>
                  <a:gd name="T13" fmla="*/ 598 h 1385"/>
                  <a:gd name="T14" fmla="*/ 484 w 628"/>
                  <a:gd name="T15" fmla="*/ 491 h 1385"/>
                  <a:gd name="T16" fmla="*/ 460 w 628"/>
                  <a:gd name="T17" fmla="*/ 302 h 1385"/>
                  <a:gd name="T18" fmla="*/ 380 w 628"/>
                  <a:gd name="T19" fmla="*/ 179 h 1385"/>
                  <a:gd name="T20" fmla="*/ 378 w 628"/>
                  <a:gd name="T21" fmla="*/ 56 h 1385"/>
                  <a:gd name="T22" fmla="*/ 288 w 628"/>
                  <a:gd name="T23" fmla="*/ 43 h 1385"/>
                  <a:gd name="T24" fmla="*/ 214 w 628"/>
                  <a:gd name="T25" fmla="*/ 80 h 1385"/>
                  <a:gd name="T26" fmla="*/ 216 w 628"/>
                  <a:gd name="T27" fmla="*/ 123 h 1385"/>
                  <a:gd name="T28" fmla="*/ 217 w 628"/>
                  <a:gd name="T29" fmla="*/ 145 h 1385"/>
                  <a:gd name="T30" fmla="*/ 149 w 628"/>
                  <a:gd name="T31" fmla="*/ 144 h 1385"/>
                  <a:gd name="T32" fmla="*/ 152 w 628"/>
                  <a:gd name="T33" fmla="*/ 169 h 1385"/>
                  <a:gd name="T34" fmla="*/ 127 w 628"/>
                  <a:gd name="T35" fmla="*/ 197 h 1385"/>
                  <a:gd name="T36" fmla="*/ 87 w 628"/>
                  <a:gd name="T37" fmla="*/ 193 h 1385"/>
                  <a:gd name="T38" fmla="*/ 68 w 628"/>
                  <a:gd name="T39" fmla="*/ 267 h 1385"/>
                  <a:gd name="T40" fmla="*/ 24 w 628"/>
                  <a:gd name="T41" fmla="*/ 328 h 1385"/>
                  <a:gd name="T42" fmla="*/ 22 w 628"/>
                  <a:gd name="T43" fmla="*/ 376 h 1385"/>
                  <a:gd name="T44" fmla="*/ 18 w 628"/>
                  <a:gd name="T45" fmla="*/ 433 h 1385"/>
                  <a:gd name="T46" fmla="*/ 72 w 628"/>
                  <a:gd name="T47" fmla="*/ 511 h 1385"/>
                  <a:gd name="T48" fmla="*/ 87 w 628"/>
                  <a:gd name="T49" fmla="*/ 514 h 1385"/>
                  <a:gd name="T50" fmla="*/ 83 w 628"/>
                  <a:gd name="T51" fmla="*/ 544 h 1385"/>
                  <a:gd name="T52" fmla="*/ 141 w 628"/>
                  <a:gd name="T53" fmla="*/ 612 h 1385"/>
                  <a:gd name="T54" fmla="*/ 149 w 628"/>
                  <a:gd name="T55" fmla="*/ 572 h 1385"/>
                  <a:gd name="T56" fmla="*/ 152 w 628"/>
                  <a:gd name="T57" fmla="*/ 616 h 1385"/>
                  <a:gd name="T58" fmla="*/ 157 w 628"/>
                  <a:gd name="T59" fmla="*/ 665 h 1385"/>
                  <a:gd name="T60" fmla="*/ 172 w 628"/>
                  <a:gd name="T61" fmla="*/ 680 h 1385"/>
                  <a:gd name="T62" fmla="*/ 212 w 628"/>
                  <a:gd name="T63" fmla="*/ 623 h 1385"/>
                  <a:gd name="T64" fmla="*/ 222 w 628"/>
                  <a:gd name="T65" fmla="*/ 582 h 1385"/>
                  <a:gd name="T66" fmla="*/ 228 w 628"/>
                  <a:gd name="T67" fmla="*/ 619 h 1385"/>
                  <a:gd name="T68" fmla="*/ 263 w 628"/>
                  <a:gd name="T69" fmla="*/ 620 h 1385"/>
                  <a:gd name="T70" fmla="*/ 304 w 628"/>
                  <a:gd name="T71" fmla="*/ 578 h 1385"/>
                  <a:gd name="T72" fmla="*/ 285 w 628"/>
                  <a:gd name="T73" fmla="*/ 620 h 1385"/>
                  <a:gd name="T74" fmla="*/ 308 w 628"/>
                  <a:gd name="T75" fmla="*/ 652 h 1385"/>
                  <a:gd name="T76" fmla="*/ 260 w 628"/>
                  <a:gd name="T77" fmla="*/ 712 h 1385"/>
                  <a:gd name="T78" fmla="*/ 292 w 628"/>
                  <a:gd name="T79" fmla="*/ 712 h 1385"/>
                  <a:gd name="T80" fmla="*/ 277 w 628"/>
                  <a:gd name="T81" fmla="*/ 743 h 1385"/>
                  <a:gd name="T82" fmla="*/ 266 w 628"/>
                  <a:gd name="T83" fmla="*/ 762 h 1385"/>
                  <a:gd name="T84" fmla="*/ 245 w 628"/>
                  <a:gd name="T85" fmla="*/ 811 h 1385"/>
                  <a:gd name="T86" fmla="*/ 247 w 628"/>
                  <a:gd name="T87" fmla="*/ 817 h 1385"/>
                  <a:gd name="T88" fmla="*/ 225 w 628"/>
                  <a:gd name="T89" fmla="*/ 776 h 1385"/>
                  <a:gd name="T90" fmla="*/ 218 w 628"/>
                  <a:gd name="T91" fmla="*/ 883 h 1385"/>
                  <a:gd name="T92" fmla="*/ 294 w 628"/>
                  <a:gd name="T93" fmla="*/ 890 h 1385"/>
                  <a:gd name="T94" fmla="*/ 251 w 628"/>
                  <a:gd name="T95" fmla="*/ 906 h 1385"/>
                  <a:gd name="T96" fmla="*/ 222 w 628"/>
                  <a:gd name="T97" fmla="*/ 948 h 1385"/>
                  <a:gd name="T98" fmla="*/ 197 w 628"/>
                  <a:gd name="T99" fmla="*/ 1016 h 1385"/>
                  <a:gd name="T100" fmla="*/ 224 w 628"/>
                  <a:gd name="T101" fmla="*/ 1070 h 1385"/>
                  <a:gd name="T102" fmla="*/ 292 w 628"/>
                  <a:gd name="T103" fmla="*/ 1148 h 1385"/>
                  <a:gd name="T104" fmla="*/ 321 w 628"/>
                  <a:gd name="T105" fmla="*/ 1135 h 1385"/>
                  <a:gd name="T106" fmla="*/ 285 w 628"/>
                  <a:gd name="T107" fmla="*/ 1167 h 1385"/>
                  <a:gd name="T108" fmla="*/ 228 w 628"/>
                  <a:gd name="T109" fmla="*/ 1101 h 1385"/>
                  <a:gd name="T110" fmla="*/ 167 w 628"/>
                  <a:gd name="T111" fmla="*/ 1103 h 1385"/>
                  <a:gd name="T112" fmla="*/ 197 w 628"/>
                  <a:gd name="T113" fmla="*/ 1167 h 1385"/>
                  <a:gd name="T114" fmla="*/ 193 w 628"/>
                  <a:gd name="T115" fmla="*/ 1184 h 1385"/>
                  <a:gd name="T116" fmla="*/ 250 w 628"/>
                  <a:gd name="T117" fmla="*/ 1219 h 1385"/>
                  <a:gd name="T118" fmla="*/ 239 w 628"/>
                  <a:gd name="T119" fmla="*/ 1260 h 1385"/>
                  <a:gd name="T120" fmla="*/ 273 w 628"/>
                  <a:gd name="T121" fmla="*/ 1282 h 1385"/>
                  <a:gd name="T122" fmla="*/ 281 w 628"/>
                  <a:gd name="T123" fmla="*/ 1318 h 1385"/>
                  <a:gd name="T124" fmla="*/ 296 w 628"/>
                  <a:gd name="T125" fmla="*/ 1352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8" h="1385">
                    <a:moveTo>
                      <a:pt x="349" y="1361"/>
                    </a:moveTo>
                    <a:lnTo>
                      <a:pt x="365" y="1354"/>
                    </a:lnTo>
                    <a:lnTo>
                      <a:pt x="368" y="1359"/>
                    </a:lnTo>
                    <a:lnTo>
                      <a:pt x="373" y="1359"/>
                    </a:lnTo>
                    <a:lnTo>
                      <a:pt x="374" y="1365"/>
                    </a:lnTo>
                    <a:lnTo>
                      <a:pt x="378" y="1363"/>
                    </a:lnTo>
                    <a:lnTo>
                      <a:pt x="377" y="1374"/>
                    </a:lnTo>
                    <a:lnTo>
                      <a:pt x="381" y="1380"/>
                    </a:lnTo>
                    <a:lnTo>
                      <a:pt x="391" y="1373"/>
                    </a:lnTo>
                    <a:lnTo>
                      <a:pt x="401" y="1385"/>
                    </a:lnTo>
                    <a:lnTo>
                      <a:pt x="404" y="1367"/>
                    </a:lnTo>
                    <a:lnTo>
                      <a:pt x="419" y="1377"/>
                    </a:lnTo>
                    <a:lnTo>
                      <a:pt x="435" y="1371"/>
                    </a:lnTo>
                    <a:lnTo>
                      <a:pt x="435" y="1361"/>
                    </a:lnTo>
                    <a:lnTo>
                      <a:pt x="457" y="1352"/>
                    </a:lnTo>
                    <a:lnTo>
                      <a:pt x="454" y="1347"/>
                    </a:lnTo>
                    <a:lnTo>
                      <a:pt x="460" y="1343"/>
                    </a:lnTo>
                    <a:lnTo>
                      <a:pt x="454" y="1336"/>
                    </a:lnTo>
                    <a:lnTo>
                      <a:pt x="454" y="1321"/>
                    </a:lnTo>
                    <a:lnTo>
                      <a:pt x="468" y="1317"/>
                    </a:lnTo>
                    <a:lnTo>
                      <a:pt x="479" y="1302"/>
                    </a:lnTo>
                    <a:lnTo>
                      <a:pt x="487" y="1304"/>
                    </a:lnTo>
                    <a:lnTo>
                      <a:pt x="492" y="1302"/>
                    </a:lnTo>
                    <a:lnTo>
                      <a:pt x="502" y="1294"/>
                    </a:lnTo>
                    <a:lnTo>
                      <a:pt x="505" y="1295"/>
                    </a:lnTo>
                    <a:lnTo>
                      <a:pt x="517" y="1280"/>
                    </a:lnTo>
                    <a:lnTo>
                      <a:pt x="537" y="1253"/>
                    </a:lnTo>
                    <a:lnTo>
                      <a:pt x="543" y="1255"/>
                    </a:lnTo>
                    <a:lnTo>
                      <a:pt x="543" y="1236"/>
                    </a:lnTo>
                    <a:lnTo>
                      <a:pt x="552" y="1248"/>
                    </a:lnTo>
                    <a:lnTo>
                      <a:pt x="566" y="1247"/>
                    </a:lnTo>
                    <a:lnTo>
                      <a:pt x="572" y="1242"/>
                    </a:lnTo>
                    <a:lnTo>
                      <a:pt x="576" y="1233"/>
                    </a:lnTo>
                    <a:lnTo>
                      <a:pt x="587" y="1234"/>
                    </a:lnTo>
                    <a:lnTo>
                      <a:pt x="594" y="1232"/>
                    </a:lnTo>
                    <a:lnTo>
                      <a:pt x="598" y="1219"/>
                    </a:lnTo>
                    <a:lnTo>
                      <a:pt x="597" y="1214"/>
                    </a:lnTo>
                    <a:lnTo>
                      <a:pt x="602" y="1209"/>
                    </a:lnTo>
                    <a:lnTo>
                      <a:pt x="594" y="1200"/>
                    </a:lnTo>
                    <a:lnTo>
                      <a:pt x="590" y="1190"/>
                    </a:lnTo>
                    <a:lnTo>
                      <a:pt x="593" y="1154"/>
                    </a:lnTo>
                    <a:lnTo>
                      <a:pt x="589" y="1145"/>
                    </a:lnTo>
                    <a:lnTo>
                      <a:pt x="593" y="1137"/>
                    </a:lnTo>
                    <a:lnTo>
                      <a:pt x="590" y="1127"/>
                    </a:lnTo>
                    <a:lnTo>
                      <a:pt x="583" y="1126"/>
                    </a:lnTo>
                    <a:lnTo>
                      <a:pt x="583" y="1122"/>
                    </a:lnTo>
                    <a:lnTo>
                      <a:pt x="582" y="1119"/>
                    </a:lnTo>
                    <a:lnTo>
                      <a:pt x="586" y="1119"/>
                    </a:lnTo>
                    <a:lnTo>
                      <a:pt x="593" y="1112"/>
                    </a:lnTo>
                    <a:lnTo>
                      <a:pt x="597" y="1095"/>
                    </a:lnTo>
                    <a:lnTo>
                      <a:pt x="589" y="1093"/>
                    </a:lnTo>
                    <a:lnTo>
                      <a:pt x="585" y="1085"/>
                    </a:lnTo>
                    <a:lnTo>
                      <a:pt x="589" y="1078"/>
                    </a:lnTo>
                    <a:lnTo>
                      <a:pt x="593" y="1081"/>
                    </a:lnTo>
                    <a:lnTo>
                      <a:pt x="591" y="1078"/>
                    </a:lnTo>
                    <a:lnTo>
                      <a:pt x="601" y="1065"/>
                    </a:lnTo>
                    <a:lnTo>
                      <a:pt x="598" y="1054"/>
                    </a:lnTo>
                    <a:lnTo>
                      <a:pt x="602" y="1049"/>
                    </a:lnTo>
                    <a:lnTo>
                      <a:pt x="604" y="1039"/>
                    </a:lnTo>
                    <a:lnTo>
                      <a:pt x="606" y="1035"/>
                    </a:lnTo>
                    <a:lnTo>
                      <a:pt x="612" y="1039"/>
                    </a:lnTo>
                    <a:lnTo>
                      <a:pt x="621" y="1035"/>
                    </a:lnTo>
                    <a:lnTo>
                      <a:pt x="623" y="1034"/>
                    </a:lnTo>
                    <a:lnTo>
                      <a:pt x="620" y="1028"/>
                    </a:lnTo>
                    <a:lnTo>
                      <a:pt x="628" y="1016"/>
                    </a:lnTo>
                    <a:lnTo>
                      <a:pt x="627" y="1009"/>
                    </a:lnTo>
                    <a:lnTo>
                      <a:pt x="616" y="1002"/>
                    </a:lnTo>
                    <a:lnTo>
                      <a:pt x="613" y="996"/>
                    </a:lnTo>
                    <a:lnTo>
                      <a:pt x="591" y="970"/>
                    </a:lnTo>
                    <a:lnTo>
                      <a:pt x="586" y="970"/>
                    </a:lnTo>
                    <a:lnTo>
                      <a:pt x="585" y="964"/>
                    </a:lnTo>
                    <a:lnTo>
                      <a:pt x="583" y="962"/>
                    </a:lnTo>
                    <a:lnTo>
                      <a:pt x="583" y="958"/>
                    </a:lnTo>
                    <a:lnTo>
                      <a:pt x="579" y="955"/>
                    </a:lnTo>
                    <a:lnTo>
                      <a:pt x="581" y="941"/>
                    </a:lnTo>
                    <a:lnTo>
                      <a:pt x="575" y="935"/>
                    </a:lnTo>
                    <a:lnTo>
                      <a:pt x="575" y="928"/>
                    </a:lnTo>
                    <a:lnTo>
                      <a:pt x="564" y="932"/>
                    </a:lnTo>
                    <a:lnTo>
                      <a:pt x="560" y="937"/>
                    </a:lnTo>
                    <a:lnTo>
                      <a:pt x="551" y="936"/>
                    </a:lnTo>
                    <a:lnTo>
                      <a:pt x="545" y="926"/>
                    </a:lnTo>
                    <a:lnTo>
                      <a:pt x="543" y="932"/>
                    </a:lnTo>
                    <a:lnTo>
                      <a:pt x="540" y="929"/>
                    </a:lnTo>
                    <a:lnTo>
                      <a:pt x="541" y="924"/>
                    </a:lnTo>
                    <a:lnTo>
                      <a:pt x="534" y="918"/>
                    </a:lnTo>
                    <a:lnTo>
                      <a:pt x="530" y="905"/>
                    </a:lnTo>
                    <a:lnTo>
                      <a:pt x="541" y="897"/>
                    </a:lnTo>
                    <a:lnTo>
                      <a:pt x="547" y="884"/>
                    </a:lnTo>
                    <a:lnTo>
                      <a:pt x="544" y="869"/>
                    </a:lnTo>
                    <a:lnTo>
                      <a:pt x="549" y="864"/>
                    </a:lnTo>
                    <a:lnTo>
                      <a:pt x="547" y="857"/>
                    </a:lnTo>
                    <a:lnTo>
                      <a:pt x="553" y="853"/>
                    </a:lnTo>
                    <a:lnTo>
                      <a:pt x="572" y="841"/>
                    </a:lnTo>
                    <a:lnTo>
                      <a:pt x="578" y="838"/>
                    </a:lnTo>
                    <a:lnTo>
                      <a:pt x="578" y="826"/>
                    </a:lnTo>
                    <a:lnTo>
                      <a:pt x="564" y="814"/>
                    </a:lnTo>
                    <a:lnTo>
                      <a:pt x="562" y="815"/>
                    </a:lnTo>
                    <a:lnTo>
                      <a:pt x="564" y="810"/>
                    </a:lnTo>
                    <a:lnTo>
                      <a:pt x="558" y="802"/>
                    </a:lnTo>
                    <a:lnTo>
                      <a:pt x="549" y="781"/>
                    </a:lnTo>
                    <a:lnTo>
                      <a:pt x="534" y="779"/>
                    </a:lnTo>
                    <a:lnTo>
                      <a:pt x="532" y="773"/>
                    </a:lnTo>
                    <a:lnTo>
                      <a:pt x="528" y="774"/>
                    </a:lnTo>
                    <a:lnTo>
                      <a:pt x="529" y="768"/>
                    </a:lnTo>
                    <a:lnTo>
                      <a:pt x="528" y="764"/>
                    </a:lnTo>
                    <a:lnTo>
                      <a:pt x="522" y="753"/>
                    </a:lnTo>
                    <a:lnTo>
                      <a:pt x="513" y="758"/>
                    </a:lnTo>
                    <a:lnTo>
                      <a:pt x="510" y="753"/>
                    </a:lnTo>
                    <a:lnTo>
                      <a:pt x="514" y="747"/>
                    </a:lnTo>
                    <a:lnTo>
                      <a:pt x="510" y="746"/>
                    </a:lnTo>
                    <a:lnTo>
                      <a:pt x="487" y="750"/>
                    </a:lnTo>
                    <a:lnTo>
                      <a:pt x="479" y="738"/>
                    </a:lnTo>
                    <a:lnTo>
                      <a:pt x="471" y="741"/>
                    </a:lnTo>
                    <a:lnTo>
                      <a:pt x="467" y="738"/>
                    </a:lnTo>
                    <a:lnTo>
                      <a:pt x="467" y="728"/>
                    </a:lnTo>
                    <a:lnTo>
                      <a:pt x="471" y="728"/>
                    </a:lnTo>
                    <a:lnTo>
                      <a:pt x="469" y="724"/>
                    </a:lnTo>
                    <a:lnTo>
                      <a:pt x="464" y="723"/>
                    </a:lnTo>
                    <a:lnTo>
                      <a:pt x="463" y="709"/>
                    </a:lnTo>
                    <a:lnTo>
                      <a:pt x="458" y="704"/>
                    </a:lnTo>
                    <a:lnTo>
                      <a:pt x="439" y="711"/>
                    </a:lnTo>
                    <a:lnTo>
                      <a:pt x="427" y="709"/>
                    </a:lnTo>
                    <a:lnTo>
                      <a:pt x="423" y="705"/>
                    </a:lnTo>
                    <a:lnTo>
                      <a:pt x="426" y="697"/>
                    </a:lnTo>
                    <a:lnTo>
                      <a:pt x="426" y="688"/>
                    </a:lnTo>
                    <a:lnTo>
                      <a:pt x="410" y="675"/>
                    </a:lnTo>
                    <a:lnTo>
                      <a:pt x="404" y="675"/>
                    </a:lnTo>
                    <a:lnTo>
                      <a:pt x="404" y="671"/>
                    </a:lnTo>
                    <a:lnTo>
                      <a:pt x="389" y="656"/>
                    </a:lnTo>
                    <a:lnTo>
                      <a:pt x="391" y="640"/>
                    </a:lnTo>
                    <a:lnTo>
                      <a:pt x="400" y="637"/>
                    </a:lnTo>
                    <a:lnTo>
                      <a:pt x="427" y="595"/>
                    </a:lnTo>
                    <a:lnTo>
                      <a:pt x="437" y="598"/>
                    </a:lnTo>
                    <a:lnTo>
                      <a:pt x="448" y="597"/>
                    </a:lnTo>
                    <a:lnTo>
                      <a:pt x="450" y="587"/>
                    </a:lnTo>
                    <a:lnTo>
                      <a:pt x="460" y="587"/>
                    </a:lnTo>
                    <a:lnTo>
                      <a:pt x="460" y="583"/>
                    </a:lnTo>
                    <a:lnTo>
                      <a:pt x="464" y="582"/>
                    </a:lnTo>
                    <a:lnTo>
                      <a:pt x="472" y="589"/>
                    </a:lnTo>
                    <a:lnTo>
                      <a:pt x="476" y="587"/>
                    </a:lnTo>
                    <a:lnTo>
                      <a:pt x="479" y="576"/>
                    </a:lnTo>
                    <a:lnTo>
                      <a:pt x="480" y="570"/>
                    </a:lnTo>
                    <a:lnTo>
                      <a:pt x="476" y="563"/>
                    </a:lnTo>
                    <a:lnTo>
                      <a:pt x="480" y="559"/>
                    </a:lnTo>
                    <a:lnTo>
                      <a:pt x="477" y="544"/>
                    </a:lnTo>
                    <a:lnTo>
                      <a:pt x="483" y="536"/>
                    </a:lnTo>
                    <a:lnTo>
                      <a:pt x="460" y="517"/>
                    </a:lnTo>
                    <a:lnTo>
                      <a:pt x="471" y="514"/>
                    </a:lnTo>
                    <a:lnTo>
                      <a:pt x="480" y="505"/>
                    </a:lnTo>
                    <a:lnTo>
                      <a:pt x="487" y="505"/>
                    </a:lnTo>
                    <a:lnTo>
                      <a:pt x="488" y="495"/>
                    </a:lnTo>
                    <a:lnTo>
                      <a:pt x="484" y="491"/>
                    </a:lnTo>
                    <a:lnTo>
                      <a:pt x="483" y="477"/>
                    </a:lnTo>
                    <a:lnTo>
                      <a:pt x="488" y="465"/>
                    </a:lnTo>
                    <a:lnTo>
                      <a:pt x="496" y="465"/>
                    </a:lnTo>
                    <a:lnTo>
                      <a:pt x="498" y="461"/>
                    </a:lnTo>
                    <a:lnTo>
                      <a:pt x="505" y="458"/>
                    </a:lnTo>
                    <a:lnTo>
                      <a:pt x="526" y="460"/>
                    </a:lnTo>
                    <a:lnTo>
                      <a:pt x="532" y="453"/>
                    </a:lnTo>
                    <a:lnTo>
                      <a:pt x="530" y="453"/>
                    </a:lnTo>
                    <a:lnTo>
                      <a:pt x="533" y="444"/>
                    </a:lnTo>
                    <a:lnTo>
                      <a:pt x="528" y="406"/>
                    </a:lnTo>
                    <a:lnTo>
                      <a:pt x="518" y="406"/>
                    </a:lnTo>
                    <a:lnTo>
                      <a:pt x="514" y="393"/>
                    </a:lnTo>
                    <a:lnTo>
                      <a:pt x="479" y="366"/>
                    </a:lnTo>
                    <a:lnTo>
                      <a:pt x="471" y="344"/>
                    </a:lnTo>
                    <a:lnTo>
                      <a:pt x="486" y="332"/>
                    </a:lnTo>
                    <a:lnTo>
                      <a:pt x="483" y="324"/>
                    </a:lnTo>
                    <a:lnTo>
                      <a:pt x="471" y="320"/>
                    </a:lnTo>
                    <a:lnTo>
                      <a:pt x="461" y="311"/>
                    </a:lnTo>
                    <a:lnTo>
                      <a:pt x="460" y="302"/>
                    </a:lnTo>
                    <a:lnTo>
                      <a:pt x="471" y="285"/>
                    </a:lnTo>
                    <a:lnTo>
                      <a:pt x="469" y="282"/>
                    </a:lnTo>
                    <a:lnTo>
                      <a:pt x="472" y="262"/>
                    </a:lnTo>
                    <a:lnTo>
                      <a:pt x="477" y="256"/>
                    </a:lnTo>
                    <a:lnTo>
                      <a:pt x="476" y="244"/>
                    </a:lnTo>
                    <a:lnTo>
                      <a:pt x="472" y="243"/>
                    </a:lnTo>
                    <a:lnTo>
                      <a:pt x="471" y="236"/>
                    </a:lnTo>
                    <a:lnTo>
                      <a:pt x="464" y="235"/>
                    </a:lnTo>
                    <a:lnTo>
                      <a:pt x="448" y="220"/>
                    </a:lnTo>
                    <a:lnTo>
                      <a:pt x="439" y="205"/>
                    </a:lnTo>
                    <a:lnTo>
                      <a:pt x="435" y="213"/>
                    </a:lnTo>
                    <a:lnTo>
                      <a:pt x="422" y="218"/>
                    </a:lnTo>
                    <a:lnTo>
                      <a:pt x="408" y="233"/>
                    </a:lnTo>
                    <a:lnTo>
                      <a:pt x="395" y="235"/>
                    </a:lnTo>
                    <a:lnTo>
                      <a:pt x="381" y="224"/>
                    </a:lnTo>
                    <a:lnTo>
                      <a:pt x="377" y="210"/>
                    </a:lnTo>
                    <a:lnTo>
                      <a:pt x="380" y="205"/>
                    </a:lnTo>
                    <a:lnTo>
                      <a:pt x="369" y="187"/>
                    </a:lnTo>
                    <a:lnTo>
                      <a:pt x="380" y="179"/>
                    </a:lnTo>
                    <a:lnTo>
                      <a:pt x="382" y="164"/>
                    </a:lnTo>
                    <a:lnTo>
                      <a:pt x="391" y="159"/>
                    </a:lnTo>
                    <a:lnTo>
                      <a:pt x="382" y="152"/>
                    </a:lnTo>
                    <a:lnTo>
                      <a:pt x="382" y="140"/>
                    </a:lnTo>
                    <a:lnTo>
                      <a:pt x="373" y="137"/>
                    </a:lnTo>
                    <a:lnTo>
                      <a:pt x="370" y="133"/>
                    </a:lnTo>
                    <a:lnTo>
                      <a:pt x="381" y="122"/>
                    </a:lnTo>
                    <a:lnTo>
                      <a:pt x="381" y="104"/>
                    </a:lnTo>
                    <a:lnTo>
                      <a:pt x="397" y="94"/>
                    </a:lnTo>
                    <a:lnTo>
                      <a:pt x="414" y="89"/>
                    </a:lnTo>
                    <a:lnTo>
                      <a:pt x="407" y="76"/>
                    </a:lnTo>
                    <a:lnTo>
                      <a:pt x="411" y="72"/>
                    </a:lnTo>
                    <a:lnTo>
                      <a:pt x="408" y="68"/>
                    </a:lnTo>
                    <a:lnTo>
                      <a:pt x="414" y="62"/>
                    </a:lnTo>
                    <a:lnTo>
                      <a:pt x="407" y="58"/>
                    </a:lnTo>
                    <a:lnTo>
                      <a:pt x="396" y="64"/>
                    </a:lnTo>
                    <a:lnTo>
                      <a:pt x="387" y="64"/>
                    </a:lnTo>
                    <a:lnTo>
                      <a:pt x="382" y="54"/>
                    </a:lnTo>
                    <a:lnTo>
                      <a:pt x="378" y="56"/>
                    </a:lnTo>
                    <a:lnTo>
                      <a:pt x="374" y="49"/>
                    </a:lnTo>
                    <a:lnTo>
                      <a:pt x="372" y="37"/>
                    </a:lnTo>
                    <a:lnTo>
                      <a:pt x="354" y="32"/>
                    </a:lnTo>
                    <a:lnTo>
                      <a:pt x="343" y="18"/>
                    </a:lnTo>
                    <a:lnTo>
                      <a:pt x="342" y="11"/>
                    </a:lnTo>
                    <a:lnTo>
                      <a:pt x="344" y="4"/>
                    </a:lnTo>
                    <a:lnTo>
                      <a:pt x="342" y="0"/>
                    </a:lnTo>
                    <a:lnTo>
                      <a:pt x="339" y="4"/>
                    </a:lnTo>
                    <a:lnTo>
                      <a:pt x="330" y="8"/>
                    </a:lnTo>
                    <a:lnTo>
                      <a:pt x="320" y="15"/>
                    </a:lnTo>
                    <a:lnTo>
                      <a:pt x="305" y="26"/>
                    </a:lnTo>
                    <a:lnTo>
                      <a:pt x="297" y="26"/>
                    </a:lnTo>
                    <a:lnTo>
                      <a:pt x="294" y="27"/>
                    </a:lnTo>
                    <a:lnTo>
                      <a:pt x="293" y="28"/>
                    </a:lnTo>
                    <a:lnTo>
                      <a:pt x="292" y="35"/>
                    </a:lnTo>
                    <a:lnTo>
                      <a:pt x="290" y="37"/>
                    </a:lnTo>
                    <a:lnTo>
                      <a:pt x="289" y="38"/>
                    </a:lnTo>
                    <a:lnTo>
                      <a:pt x="289" y="38"/>
                    </a:lnTo>
                    <a:lnTo>
                      <a:pt x="288" y="43"/>
                    </a:lnTo>
                    <a:lnTo>
                      <a:pt x="279" y="46"/>
                    </a:lnTo>
                    <a:lnTo>
                      <a:pt x="278" y="47"/>
                    </a:lnTo>
                    <a:lnTo>
                      <a:pt x="278" y="50"/>
                    </a:lnTo>
                    <a:lnTo>
                      <a:pt x="273" y="54"/>
                    </a:lnTo>
                    <a:lnTo>
                      <a:pt x="271" y="57"/>
                    </a:lnTo>
                    <a:lnTo>
                      <a:pt x="269" y="64"/>
                    </a:lnTo>
                    <a:lnTo>
                      <a:pt x="266" y="64"/>
                    </a:lnTo>
                    <a:lnTo>
                      <a:pt x="263" y="64"/>
                    </a:lnTo>
                    <a:lnTo>
                      <a:pt x="262" y="64"/>
                    </a:lnTo>
                    <a:lnTo>
                      <a:pt x="259" y="68"/>
                    </a:lnTo>
                    <a:lnTo>
                      <a:pt x="255" y="73"/>
                    </a:lnTo>
                    <a:lnTo>
                      <a:pt x="254" y="75"/>
                    </a:lnTo>
                    <a:lnTo>
                      <a:pt x="254" y="75"/>
                    </a:lnTo>
                    <a:lnTo>
                      <a:pt x="252" y="76"/>
                    </a:lnTo>
                    <a:lnTo>
                      <a:pt x="247" y="80"/>
                    </a:lnTo>
                    <a:lnTo>
                      <a:pt x="245" y="80"/>
                    </a:lnTo>
                    <a:lnTo>
                      <a:pt x="245" y="80"/>
                    </a:lnTo>
                    <a:lnTo>
                      <a:pt x="217" y="77"/>
                    </a:lnTo>
                    <a:lnTo>
                      <a:pt x="214" y="80"/>
                    </a:lnTo>
                    <a:lnTo>
                      <a:pt x="218" y="85"/>
                    </a:lnTo>
                    <a:lnTo>
                      <a:pt x="222" y="91"/>
                    </a:lnTo>
                    <a:lnTo>
                      <a:pt x="222" y="91"/>
                    </a:lnTo>
                    <a:lnTo>
                      <a:pt x="221" y="94"/>
                    </a:lnTo>
                    <a:lnTo>
                      <a:pt x="218" y="99"/>
                    </a:lnTo>
                    <a:lnTo>
                      <a:pt x="218" y="100"/>
                    </a:lnTo>
                    <a:lnTo>
                      <a:pt x="217" y="100"/>
                    </a:lnTo>
                    <a:lnTo>
                      <a:pt x="217" y="104"/>
                    </a:lnTo>
                    <a:lnTo>
                      <a:pt x="214" y="107"/>
                    </a:lnTo>
                    <a:lnTo>
                      <a:pt x="216" y="113"/>
                    </a:lnTo>
                    <a:lnTo>
                      <a:pt x="216" y="113"/>
                    </a:lnTo>
                    <a:lnTo>
                      <a:pt x="216" y="114"/>
                    </a:lnTo>
                    <a:lnTo>
                      <a:pt x="216" y="114"/>
                    </a:lnTo>
                    <a:lnTo>
                      <a:pt x="216" y="115"/>
                    </a:lnTo>
                    <a:lnTo>
                      <a:pt x="213" y="118"/>
                    </a:lnTo>
                    <a:lnTo>
                      <a:pt x="213" y="119"/>
                    </a:lnTo>
                    <a:lnTo>
                      <a:pt x="210" y="121"/>
                    </a:lnTo>
                    <a:lnTo>
                      <a:pt x="212" y="121"/>
                    </a:lnTo>
                    <a:lnTo>
                      <a:pt x="216" y="123"/>
                    </a:lnTo>
                    <a:lnTo>
                      <a:pt x="217" y="126"/>
                    </a:lnTo>
                    <a:lnTo>
                      <a:pt x="216" y="127"/>
                    </a:lnTo>
                    <a:lnTo>
                      <a:pt x="213" y="125"/>
                    </a:lnTo>
                    <a:lnTo>
                      <a:pt x="212" y="125"/>
                    </a:lnTo>
                    <a:lnTo>
                      <a:pt x="212" y="125"/>
                    </a:lnTo>
                    <a:lnTo>
                      <a:pt x="209" y="126"/>
                    </a:lnTo>
                    <a:lnTo>
                      <a:pt x="207" y="130"/>
                    </a:lnTo>
                    <a:lnTo>
                      <a:pt x="205" y="136"/>
                    </a:lnTo>
                    <a:lnTo>
                      <a:pt x="201" y="137"/>
                    </a:lnTo>
                    <a:lnTo>
                      <a:pt x="201" y="137"/>
                    </a:lnTo>
                    <a:lnTo>
                      <a:pt x="199" y="140"/>
                    </a:lnTo>
                    <a:lnTo>
                      <a:pt x="198" y="144"/>
                    </a:lnTo>
                    <a:lnTo>
                      <a:pt x="199" y="145"/>
                    </a:lnTo>
                    <a:lnTo>
                      <a:pt x="202" y="145"/>
                    </a:lnTo>
                    <a:lnTo>
                      <a:pt x="205" y="142"/>
                    </a:lnTo>
                    <a:lnTo>
                      <a:pt x="205" y="142"/>
                    </a:lnTo>
                    <a:lnTo>
                      <a:pt x="210" y="142"/>
                    </a:lnTo>
                    <a:lnTo>
                      <a:pt x="214" y="141"/>
                    </a:lnTo>
                    <a:lnTo>
                      <a:pt x="217" y="145"/>
                    </a:lnTo>
                    <a:lnTo>
                      <a:pt x="216" y="146"/>
                    </a:lnTo>
                    <a:lnTo>
                      <a:pt x="216" y="146"/>
                    </a:lnTo>
                    <a:lnTo>
                      <a:pt x="213" y="145"/>
                    </a:lnTo>
                    <a:lnTo>
                      <a:pt x="209" y="146"/>
                    </a:lnTo>
                    <a:lnTo>
                      <a:pt x="206" y="151"/>
                    </a:lnTo>
                    <a:lnTo>
                      <a:pt x="193" y="157"/>
                    </a:lnTo>
                    <a:lnTo>
                      <a:pt x="193" y="157"/>
                    </a:lnTo>
                    <a:lnTo>
                      <a:pt x="187" y="156"/>
                    </a:lnTo>
                    <a:lnTo>
                      <a:pt x="182" y="157"/>
                    </a:lnTo>
                    <a:lnTo>
                      <a:pt x="182" y="157"/>
                    </a:lnTo>
                    <a:lnTo>
                      <a:pt x="178" y="155"/>
                    </a:lnTo>
                    <a:lnTo>
                      <a:pt x="175" y="151"/>
                    </a:lnTo>
                    <a:lnTo>
                      <a:pt x="167" y="148"/>
                    </a:lnTo>
                    <a:lnTo>
                      <a:pt x="165" y="144"/>
                    </a:lnTo>
                    <a:lnTo>
                      <a:pt x="165" y="144"/>
                    </a:lnTo>
                    <a:lnTo>
                      <a:pt x="161" y="141"/>
                    </a:lnTo>
                    <a:lnTo>
                      <a:pt x="157" y="141"/>
                    </a:lnTo>
                    <a:lnTo>
                      <a:pt x="153" y="142"/>
                    </a:lnTo>
                    <a:lnTo>
                      <a:pt x="149" y="144"/>
                    </a:lnTo>
                    <a:lnTo>
                      <a:pt x="149" y="144"/>
                    </a:lnTo>
                    <a:lnTo>
                      <a:pt x="142" y="148"/>
                    </a:lnTo>
                    <a:lnTo>
                      <a:pt x="142" y="148"/>
                    </a:lnTo>
                    <a:lnTo>
                      <a:pt x="136" y="149"/>
                    </a:lnTo>
                    <a:lnTo>
                      <a:pt x="129" y="149"/>
                    </a:lnTo>
                    <a:lnTo>
                      <a:pt x="129" y="149"/>
                    </a:lnTo>
                    <a:lnTo>
                      <a:pt x="125" y="157"/>
                    </a:lnTo>
                    <a:lnTo>
                      <a:pt x="118" y="163"/>
                    </a:lnTo>
                    <a:lnTo>
                      <a:pt x="121" y="167"/>
                    </a:lnTo>
                    <a:lnTo>
                      <a:pt x="121" y="167"/>
                    </a:lnTo>
                    <a:lnTo>
                      <a:pt x="123" y="169"/>
                    </a:lnTo>
                    <a:lnTo>
                      <a:pt x="127" y="171"/>
                    </a:lnTo>
                    <a:lnTo>
                      <a:pt x="131" y="172"/>
                    </a:lnTo>
                    <a:lnTo>
                      <a:pt x="136" y="171"/>
                    </a:lnTo>
                    <a:lnTo>
                      <a:pt x="140" y="167"/>
                    </a:lnTo>
                    <a:lnTo>
                      <a:pt x="140" y="167"/>
                    </a:lnTo>
                    <a:lnTo>
                      <a:pt x="142" y="167"/>
                    </a:lnTo>
                    <a:lnTo>
                      <a:pt x="145" y="167"/>
                    </a:lnTo>
                    <a:lnTo>
                      <a:pt x="152" y="169"/>
                    </a:lnTo>
                    <a:lnTo>
                      <a:pt x="150" y="172"/>
                    </a:lnTo>
                    <a:lnTo>
                      <a:pt x="148" y="168"/>
                    </a:lnTo>
                    <a:lnTo>
                      <a:pt x="145" y="169"/>
                    </a:lnTo>
                    <a:lnTo>
                      <a:pt x="142" y="168"/>
                    </a:lnTo>
                    <a:lnTo>
                      <a:pt x="141" y="168"/>
                    </a:lnTo>
                    <a:lnTo>
                      <a:pt x="140" y="169"/>
                    </a:lnTo>
                    <a:lnTo>
                      <a:pt x="142" y="174"/>
                    </a:lnTo>
                    <a:lnTo>
                      <a:pt x="142" y="174"/>
                    </a:lnTo>
                    <a:lnTo>
                      <a:pt x="140" y="176"/>
                    </a:lnTo>
                    <a:lnTo>
                      <a:pt x="137" y="179"/>
                    </a:lnTo>
                    <a:lnTo>
                      <a:pt x="134" y="180"/>
                    </a:lnTo>
                    <a:lnTo>
                      <a:pt x="130" y="179"/>
                    </a:lnTo>
                    <a:lnTo>
                      <a:pt x="129" y="179"/>
                    </a:lnTo>
                    <a:lnTo>
                      <a:pt x="127" y="182"/>
                    </a:lnTo>
                    <a:lnTo>
                      <a:pt x="127" y="182"/>
                    </a:lnTo>
                    <a:lnTo>
                      <a:pt x="130" y="188"/>
                    </a:lnTo>
                    <a:lnTo>
                      <a:pt x="130" y="193"/>
                    </a:lnTo>
                    <a:lnTo>
                      <a:pt x="130" y="197"/>
                    </a:lnTo>
                    <a:lnTo>
                      <a:pt x="127" y="197"/>
                    </a:lnTo>
                    <a:lnTo>
                      <a:pt x="129" y="191"/>
                    </a:lnTo>
                    <a:lnTo>
                      <a:pt x="127" y="188"/>
                    </a:lnTo>
                    <a:lnTo>
                      <a:pt x="123" y="188"/>
                    </a:lnTo>
                    <a:lnTo>
                      <a:pt x="123" y="184"/>
                    </a:lnTo>
                    <a:lnTo>
                      <a:pt x="123" y="184"/>
                    </a:lnTo>
                    <a:lnTo>
                      <a:pt x="119" y="182"/>
                    </a:lnTo>
                    <a:lnTo>
                      <a:pt x="114" y="180"/>
                    </a:lnTo>
                    <a:lnTo>
                      <a:pt x="111" y="180"/>
                    </a:lnTo>
                    <a:lnTo>
                      <a:pt x="111" y="180"/>
                    </a:lnTo>
                    <a:lnTo>
                      <a:pt x="107" y="178"/>
                    </a:lnTo>
                    <a:lnTo>
                      <a:pt x="110" y="176"/>
                    </a:lnTo>
                    <a:lnTo>
                      <a:pt x="108" y="175"/>
                    </a:lnTo>
                    <a:lnTo>
                      <a:pt x="99" y="180"/>
                    </a:lnTo>
                    <a:lnTo>
                      <a:pt x="99" y="180"/>
                    </a:lnTo>
                    <a:lnTo>
                      <a:pt x="96" y="183"/>
                    </a:lnTo>
                    <a:lnTo>
                      <a:pt x="93" y="187"/>
                    </a:lnTo>
                    <a:lnTo>
                      <a:pt x="91" y="191"/>
                    </a:lnTo>
                    <a:lnTo>
                      <a:pt x="89" y="193"/>
                    </a:lnTo>
                    <a:lnTo>
                      <a:pt x="87" y="193"/>
                    </a:lnTo>
                    <a:lnTo>
                      <a:pt x="87" y="193"/>
                    </a:lnTo>
                    <a:lnTo>
                      <a:pt x="85" y="203"/>
                    </a:lnTo>
                    <a:lnTo>
                      <a:pt x="84" y="213"/>
                    </a:lnTo>
                    <a:lnTo>
                      <a:pt x="84" y="213"/>
                    </a:lnTo>
                    <a:lnTo>
                      <a:pt x="81" y="216"/>
                    </a:lnTo>
                    <a:lnTo>
                      <a:pt x="81" y="216"/>
                    </a:lnTo>
                    <a:lnTo>
                      <a:pt x="77" y="224"/>
                    </a:lnTo>
                    <a:lnTo>
                      <a:pt x="74" y="233"/>
                    </a:lnTo>
                    <a:lnTo>
                      <a:pt x="74" y="233"/>
                    </a:lnTo>
                    <a:lnTo>
                      <a:pt x="73" y="239"/>
                    </a:lnTo>
                    <a:lnTo>
                      <a:pt x="74" y="241"/>
                    </a:lnTo>
                    <a:lnTo>
                      <a:pt x="76" y="245"/>
                    </a:lnTo>
                    <a:lnTo>
                      <a:pt x="76" y="245"/>
                    </a:lnTo>
                    <a:lnTo>
                      <a:pt x="76" y="254"/>
                    </a:lnTo>
                    <a:lnTo>
                      <a:pt x="74" y="258"/>
                    </a:lnTo>
                    <a:lnTo>
                      <a:pt x="74" y="260"/>
                    </a:lnTo>
                    <a:lnTo>
                      <a:pt x="74" y="260"/>
                    </a:lnTo>
                    <a:lnTo>
                      <a:pt x="68" y="267"/>
                    </a:lnTo>
                    <a:lnTo>
                      <a:pt x="68" y="267"/>
                    </a:lnTo>
                    <a:lnTo>
                      <a:pt x="65" y="273"/>
                    </a:lnTo>
                    <a:lnTo>
                      <a:pt x="65" y="273"/>
                    </a:lnTo>
                    <a:lnTo>
                      <a:pt x="57" y="278"/>
                    </a:lnTo>
                    <a:lnTo>
                      <a:pt x="53" y="282"/>
                    </a:lnTo>
                    <a:lnTo>
                      <a:pt x="50" y="286"/>
                    </a:lnTo>
                    <a:lnTo>
                      <a:pt x="47" y="286"/>
                    </a:lnTo>
                    <a:lnTo>
                      <a:pt x="47" y="286"/>
                    </a:lnTo>
                    <a:lnTo>
                      <a:pt x="47" y="292"/>
                    </a:lnTo>
                    <a:lnTo>
                      <a:pt x="45" y="298"/>
                    </a:lnTo>
                    <a:lnTo>
                      <a:pt x="42" y="305"/>
                    </a:lnTo>
                    <a:lnTo>
                      <a:pt x="39" y="309"/>
                    </a:lnTo>
                    <a:lnTo>
                      <a:pt x="39" y="309"/>
                    </a:lnTo>
                    <a:lnTo>
                      <a:pt x="34" y="313"/>
                    </a:lnTo>
                    <a:lnTo>
                      <a:pt x="34" y="313"/>
                    </a:lnTo>
                    <a:lnTo>
                      <a:pt x="30" y="319"/>
                    </a:lnTo>
                    <a:lnTo>
                      <a:pt x="27" y="325"/>
                    </a:lnTo>
                    <a:lnTo>
                      <a:pt x="27" y="330"/>
                    </a:lnTo>
                    <a:lnTo>
                      <a:pt x="26" y="330"/>
                    </a:lnTo>
                    <a:lnTo>
                      <a:pt x="24" y="328"/>
                    </a:lnTo>
                    <a:lnTo>
                      <a:pt x="23" y="330"/>
                    </a:lnTo>
                    <a:lnTo>
                      <a:pt x="23" y="331"/>
                    </a:lnTo>
                    <a:lnTo>
                      <a:pt x="23" y="331"/>
                    </a:lnTo>
                    <a:lnTo>
                      <a:pt x="24" y="335"/>
                    </a:lnTo>
                    <a:lnTo>
                      <a:pt x="24" y="335"/>
                    </a:lnTo>
                    <a:lnTo>
                      <a:pt x="24" y="340"/>
                    </a:lnTo>
                    <a:lnTo>
                      <a:pt x="26" y="344"/>
                    </a:lnTo>
                    <a:lnTo>
                      <a:pt x="26" y="344"/>
                    </a:lnTo>
                    <a:lnTo>
                      <a:pt x="26" y="347"/>
                    </a:lnTo>
                    <a:lnTo>
                      <a:pt x="26" y="351"/>
                    </a:lnTo>
                    <a:lnTo>
                      <a:pt x="24" y="353"/>
                    </a:lnTo>
                    <a:lnTo>
                      <a:pt x="24" y="353"/>
                    </a:lnTo>
                    <a:lnTo>
                      <a:pt x="26" y="355"/>
                    </a:lnTo>
                    <a:lnTo>
                      <a:pt x="24" y="358"/>
                    </a:lnTo>
                    <a:lnTo>
                      <a:pt x="22" y="362"/>
                    </a:lnTo>
                    <a:lnTo>
                      <a:pt x="22" y="362"/>
                    </a:lnTo>
                    <a:lnTo>
                      <a:pt x="20" y="372"/>
                    </a:lnTo>
                    <a:lnTo>
                      <a:pt x="22" y="376"/>
                    </a:lnTo>
                    <a:lnTo>
                      <a:pt x="22" y="376"/>
                    </a:lnTo>
                    <a:lnTo>
                      <a:pt x="19" y="381"/>
                    </a:lnTo>
                    <a:lnTo>
                      <a:pt x="19" y="384"/>
                    </a:lnTo>
                    <a:lnTo>
                      <a:pt x="19" y="387"/>
                    </a:lnTo>
                    <a:lnTo>
                      <a:pt x="16" y="389"/>
                    </a:lnTo>
                    <a:lnTo>
                      <a:pt x="15" y="389"/>
                    </a:lnTo>
                    <a:lnTo>
                      <a:pt x="15" y="389"/>
                    </a:lnTo>
                    <a:lnTo>
                      <a:pt x="13" y="397"/>
                    </a:lnTo>
                    <a:lnTo>
                      <a:pt x="11" y="406"/>
                    </a:lnTo>
                    <a:lnTo>
                      <a:pt x="11" y="406"/>
                    </a:lnTo>
                    <a:lnTo>
                      <a:pt x="5" y="408"/>
                    </a:lnTo>
                    <a:lnTo>
                      <a:pt x="0" y="411"/>
                    </a:lnTo>
                    <a:lnTo>
                      <a:pt x="1" y="415"/>
                    </a:lnTo>
                    <a:lnTo>
                      <a:pt x="1" y="415"/>
                    </a:lnTo>
                    <a:lnTo>
                      <a:pt x="5" y="420"/>
                    </a:lnTo>
                    <a:lnTo>
                      <a:pt x="7" y="427"/>
                    </a:lnTo>
                    <a:lnTo>
                      <a:pt x="8" y="427"/>
                    </a:lnTo>
                    <a:lnTo>
                      <a:pt x="12" y="427"/>
                    </a:lnTo>
                    <a:lnTo>
                      <a:pt x="12" y="427"/>
                    </a:lnTo>
                    <a:lnTo>
                      <a:pt x="18" y="433"/>
                    </a:lnTo>
                    <a:lnTo>
                      <a:pt x="22" y="438"/>
                    </a:lnTo>
                    <a:lnTo>
                      <a:pt x="22" y="438"/>
                    </a:lnTo>
                    <a:lnTo>
                      <a:pt x="23" y="444"/>
                    </a:lnTo>
                    <a:lnTo>
                      <a:pt x="23" y="444"/>
                    </a:lnTo>
                    <a:lnTo>
                      <a:pt x="26" y="446"/>
                    </a:lnTo>
                    <a:lnTo>
                      <a:pt x="27" y="449"/>
                    </a:lnTo>
                    <a:lnTo>
                      <a:pt x="27" y="452"/>
                    </a:lnTo>
                    <a:lnTo>
                      <a:pt x="27" y="452"/>
                    </a:lnTo>
                    <a:lnTo>
                      <a:pt x="31" y="453"/>
                    </a:lnTo>
                    <a:lnTo>
                      <a:pt x="45" y="473"/>
                    </a:lnTo>
                    <a:lnTo>
                      <a:pt x="45" y="473"/>
                    </a:lnTo>
                    <a:lnTo>
                      <a:pt x="47" y="475"/>
                    </a:lnTo>
                    <a:lnTo>
                      <a:pt x="47" y="475"/>
                    </a:lnTo>
                    <a:lnTo>
                      <a:pt x="61" y="494"/>
                    </a:lnTo>
                    <a:lnTo>
                      <a:pt x="61" y="494"/>
                    </a:lnTo>
                    <a:lnTo>
                      <a:pt x="61" y="496"/>
                    </a:lnTo>
                    <a:lnTo>
                      <a:pt x="62" y="499"/>
                    </a:lnTo>
                    <a:lnTo>
                      <a:pt x="66" y="505"/>
                    </a:lnTo>
                    <a:lnTo>
                      <a:pt x="72" y="511"/>
                    </a:lnTo>
                    <a:lnTo>
                      <a:pt x="74" y="517"/>
                    </a:lnTo>
                    <a:lnTo>
                      <a:pt x="76" y="518"/>
                    </a:lnTo>
                    <a:lnTo>
                      <a:pt x="81" y="514"/>
                    </a:lnTo>
                    <a:lnTo>
                      <a:pt x="81" y="514"/>
                    </a:lnTo>
                    <a:lnTo>
                      <a:pt x="76" y="511"/>
                    </a:lnTo>
                    <a:lnTo>
                      <a:pt x="74" y="510"/>
                    </a:lnTo>
                    <a:lnTo>
                      <a:pt x="73" y="509"/>
                    </a:lnTo>
                    <a:lnTo>
                      <a:pt x="72" y="505"/>
                    </a:lnTo>
                    <a:lnTo>
                      <a:pt x="73" y="503"/>
                    </a:lnTo>
                    <a:lnTo>
                      <a:pt x="76" y="505"/>
                    </a:lnTo>
                    <a:lnTo>
                      <a:pt x="74" y="507"/>
                    </a:lnTo>
                    <a:lnTo>
                      <a:pt x="77" y="510"/>
                    </a:lnTo>
                    <a:lnTo>
                      <a:pt x="80" y="509"/>
                    </a:lnTo>
                    <a:lnTo>
                      <a:pt x="81" y="510"/>
                    </a:lnTo>
                    <a:lnTo>
                      <a:pt x="84" y="510"/>
                    </a:lnTo>
                    <a:lnTo>
                      <a:pt x="84" y="507"/>
                    </a:lnTo>
                    <a:lnTo>
                      <a:pt x="88" y="505"/>
                    </a:lnTo>
                    <a:lnTo>
                      <a:pt x="84" y="511"/>
                    </a:lnTo>
                    <a:lnTo>
                      <a:pt x="87" y="514"/>
                    </a:lnTo>
                    <a:lnTo>
                      <a:pt x="85" y="519"/>
                    </a:lnTo>
                    <a:lnTo>
                      <a:pt x="87" y="521"/>
                    </a:lnTo>
                    <a:lnTo>
                      <a:pt x="89" y="521"/>
                    </a:lnTo>
                    <a:lnTo>
                      <a:pt x="91" y="518"/>
                    </a:lnTo>
                    <a:lnTo>
                      <a:pt x="93" y="518"/>
                    </a:lnTo>
                    <a:lnTo>
                      <a:pt x="92" y="521"/>
                    </a:lnTo>
                    <a:lnTo>
                      <a:pt x="92" y="521"/>
                    </a:lnTo>
                    <a:lnTo>
                      <a:pt x="88" y="524"/>
                    </a:lnTo>
                    <a:lnTo>
                      <a:pt x="84" y="522"/>
                    </a:lnTo>
                    <a:lnTo>
                      <a:pt x="84" y="515"/>
                    </a:lnTo>
                    <a:lnTo>
                      <a:pt x="83" y="515"/>
                    </a:lnTo>
                    <a:lnTo>
                      <a:pt x="83" y="515"/>
                    </a:lnTo>
                    <a:lnTo>
                      <a:pt x="81" y="519"/>
                    </a:lnTo>
                    <a:lnTo>
                      <a:pt x="79" y="522"/>
                    </a:lnTo>
                    <a:lnTo>
                      <a:pt x="79" y="522"/>
                    </a:lnTo>
                    <a:lnTo>
                      <a:pt x="79" y="529"/>
                    </a:lnTo>
                    <a:lnTo>
                      <a:pt x="81" y="534"/>
                    </a:lnTo>
                    <a:lnTo>
                      <a:pt x="83" y="541"/>
                    </a:lnTo>
                    <a:lnTo>
                      <a:pt x="83" y="544"/>
                    </a:lnTo>
                    <a:lnTo>
                      <a:pt x="83" y="547"/>
                    </a:lnTo>
                    <a:lnTo>
                      <a:pt x="80" y="549"/>
                    </a:lnTo>
                    <a:lnTo>
                      <a:pt x="80" y="549"/>
                    </a:lnTo>
                    <a:lnTo>
                      <a:pt x="80" y="555"/>
                    </a:lnTo>
                    <a:lnTo>
                      <a:pt x="84" y="563"/>
                    </a:lnTo>
                    <a:lnTo>
                      <a:pt x="92" y="576"/>
                    </a:lnTo>
                    <a:lnTo>
                      <a:pt x="92" y="576"/>
                    </a:lnTo>
                    <a:lnTo>
                      <a:pt x="98" y="582"/>
                    </a:lnTo>
                    <a:lnTo>
                      <a:pt x="115" y="613"/>
                    </a:lnTo>
                    <a:lnTo>
                      <a:pt x="115" y="613"/>
                    </a:lnTo>
                    <a:lnTo>
                      <a:pt x="119" y="613"/>
                    </a:lnTo>
                    <a:lnTo>
                      <a:pt x="123" y="613"/>
                    </a:lnTo>
                    <a:lnTo>
                      <a:pt x="127" y="612"/>
                    </a:lnTo>
                    <a:lnTo>
                      <a:pt x="130" y="609"/>
                    </a:lnTo>
                    <a:lnTo>
                      <a:pt x="130" y="609"/>
                    </a:lnTo>
                    <a:lnTo>
                      <a:pt x="133" y="612"/>
                    </a:lnTo>
                    <a:lnTo>
                      <a:pt x="137" y="613"/>
                    </a:lnTo>
                    <a:lnTo>
                      <a:pt x="138" y="612"/>
                    </a:lnTo>
                    <a:lnTo>
                      <a:pt x="141" y="612"/>
                    </a:lnTo>
                    <a:lnTo>
                      <a:pt x="141" y="612"/>
                    </a:lnTo>
                    <a:lnTo>
                      <a:pt x="144" y="609"/>
                    </a:lnTo>
                    <a:lnTo>
                      <a:pt x="146" y="605"/>
                    </a:lnTo>
                    <a:lnTo>
                      <a:pt x="146" y="604"/>
                    </a:lnTo>
                    <a:lnTo>
                      <a:pt x="142" y="601"/>
                    </a:lnTo>
                    <a:lnTo>
                      <a:pt x="142" y="598"/>
                    </a:lnTo>
                    <a:lnTo>
                      <a:pt x="141" y="598"/>
                    </a:lnTo>
                    <a:lnTo>
                      <a:pt x="141" y="595"/>
                    </a:lnTo>
                    <a:lnTo>
                      <a:pt x="144" y="594"/>
                    </a:lnTo>
                    <a:lnTo>
                      <a:pt x="146" y="590"/>
                    </a:lnTo>
                    <a:lnTo>
                      <a:pt x="146" y="587"/>
                    </a:lnTo>
                    <a:lnTo>
                      <a:pt x="149" y="586"/>
                    </a:lnTo>
                    <a:lnTo>
                      <a:pt x="149" y="586"/>
                    </a:lnTo>
                    <a:lnTo>
                      <a:pt x="150" y="582"/>
                    </a:lnTo>
                    <a:lnTo>
                      <a:pt x="150" y="579"/>
                    </a:lnTo>
                    <a:lnTo>
                      <a:pt x="150" y="578"/>
                    </a:lnTo>
                    <a:lnTo>
                      <a:pt x="153" y="576"/>
                    </a:lnTo>
                    <a:lnTo>
                      <a:pt x="153" y="574"/>
                    </a:lnTo>
                    <a:lnTo>
                      <a:pt x="149" y="572"/>
                    </a:lnTo>
                    <a:lnTo>
                      <a:pt x="149" y="567"/>
                    </a:lnTo>
                    <a:lnTo>
                      <a:pt x="152" y="564"/>
                    </a:lnTo>
                    <a:lnTo>
                      <a:pt x="152" y="571"/>
                    </a:lnTo>
                    <a:lnTo>
                      <a:pt x="155" y="572"/>
                    </a:lnTo>
                    <a:lnTo>
                      <a:pt x="155" y="572"/>
                    </a:lnTo>
                    <a:lnTo>
                      <a:pt x="156" y="575"/>
                    </a:lnTo>
                    <a:lnTo>
                      <a:pt x="157" y="579"/>
                    </a:lnTo>
                    <a:lnTo>
                      <a:pt x="161" y="583"/>
                    </a:lnTo>
                    <a:lnTo>
                      <a:pt x="161" y="589"/>
                    </a:lnTo>
                    <a:lnTo>
                      <a:pt x="163" y="591"/>
                    </a:lnTo>
                    <a:lnTo>
                      <a:pt x="163" y="591"/>
                    </a:lnTo>
                    <a:lnTo>
                      <a:pt x="160" y="595"/>
                    </a:lnTo>
                    <a:lnTo>
                      <a:pt x="160" y="601"/>
                    </a:lnTo>
                    <a:lnTo>
                      <a:pt x="157" y="604"/>
                    </a:lnTo>
                    <a:lnTo>
                      <a:pt x="157" y="604"/>
                    </a:lnTo>
                    <a:lnTo>
                      <a:pt x="157" y="609"/>
                    </a:lnTo>
                    <a:lnTo>
                      <a:pt x="156" y="614"/>
                    </a:lnTo>
                    <a:lnTo>
                      <a:pt x="152" y="614"/>
                    </a:lnTo>
                    <a:lnTo>
                      <a:pt x="152" y="616"/>
                    </a:lnTo>
                    <a:lnTo>
                      <a:pt x="156" y="619"/>
                    </a:lnTo>
                    <a:lnTo>
                      <a:pt x="153" y="624"/>
                    </a:lnTo>
                    <a:lnTo>
                      <a:pt x="149" y="625"/>
                    </a:lnTo>
                    <a:lnTo>
                      <a:pt x="141" y="625"/>
                    </a:lnTo>
                    <a:lnTo>
                      <a:pt x="140" y="625"/>
                    </a:lnTo>
                    <a:lnTo>
                      <a:pt x="138" y="628"/>
                    </a:lnTo>
                    <a:lnTo>
                      <a:pt x="138" y="629"/>
                    </a:lnTo>
                    <a:lnTo>
                      <a:pt x="141" y="632"/>
                    </a:lnTo>
                    <a:lnTo>
                      <a:pt x="144" y="635"/>
                    </a:lnTo>
                    <a:lnTo>
                      <a:pt x="145" y="633"/>
                    </a:lnTo>
                    <a:lnTo>
                      <a:pt x="148" y="635"/>
                    </a:lnTo>
                    <a:lnTo>
                      <a:pt x="145" y="637"/>
                    </a:lnTo>
                    <a:lnTo>
                      <a:pt x="145" y="663"/>
                    </a:lnTo>
                    <a:lnTo>
                      <a:pt x="145" y="663"/>
                    </a:lnTo>
                    <a:lnTo>
                      <a:pt x="148" y="669"/>
                    </a:lnTo>
                    <a:lnTo>
                      <a:pt x="152" y="673"/>
                    </a:lnTo>
                    <a:lnTo>
                      <a:pt x="153" y="670"/>
                    </a:lnTo>
                    <a:lnTo>
                      <a:pt x="157" y="667"/>
                    </a:lnTo>
                    <a:lnTo>
                      <a:pt x="157" y="665"/>
                    </a:lnTo>
                    <a:lnTo>
                      <a:pt x="161" y="663"/>
                    </a:lnTo>
                    <a:lnTo>
                      <a:pt x="163" y="666"/>
                    </a:lnTo>
                    <a:lnTo>
                      <a:pt x="165" y="667"/>
                    </a:lnTo>
                    <a:lnTo>
                      <a:pt x="167" y="670"/>
                    </a:lnTo>
                    <a:lnTo>
                      <a:pt x="165" y="674"/>
                    </a:lnTo>
                    <a:lnTo>
                      <a:pt x="169" y="678"/>
                    </a:lnTo>
                    <a:lnTo>
                      <a:pt x="171" y="685"/>
                    </a:lnTo>
                    <a:lnTo>
                      <a:pt x="171" y="685"/>
                    </a:lnTo>
                    <a:lnTo>
                      <a:pt x="171" y="684"/>
                    </a:lnTo>
                    <a:lnTo>
                      <a:pt x="172" y="682"/>
                    </a:lnTo>
                    <a:lnTo>
                      <a:pt x="172" y="682"/>
                    </a:lnTo>
                    <a:lnTo>
                      <a:pt x="175" y="688"/>
                    </a:lnTo>
                    <a:lnTo>
                      <a:pt x="178" y="690"/>
                    </a:lnTo>
                    <a:lnTo>
                      <a:pt x="179" y="690"/>
                    </a:lnTo>
                    <a:lnTo>
                      <a:pt x="179" y="688"/>
                    </a:lnTo>
                    <a:lnTo>
                      <a:pt x="179" y="688"/>
                    </a:lnTo>
                    <a:lnTo>
                      <a:pt x="175" y="684"/>
                    </a:lnTo>
                    <a:lnTo>
                      <a:pt x="172" y="680"/>
                    </a:lnTo>
                    <a:lnTo>
                      <a:pt x="172" y="680"/>
                    </a:lnTo>
                    <a:lnTo>
                      <a:pt x="179" y="673"/>
                    </a:lnTo>
                    <a:lnTo>
                      <a:pt x="183" y="670"/>
                    </a:lnTo>
                    <a:lnTo>
                      <a:pt x="187" y="667"/>
                    </a:lnTo>
                    <a:lnTo>
                      <a:pt x="187" y="665"/>
                    </a:lnTo>
                    <a:lnTo>
                      <a:pt x="188" y="663"/>
                    </a:lnTo>
                    <a:lnTo>
                      <a:pt x="190" y="661"/>
                    </a:lnTo>
                    <a:lnTo>
                      <a:pt x="190" y="661"/>
                    </a:lnTo>
                    <a:lnTo>
                      <a:pt x="193" y="658"/>
                    </a:lnTo>
                    <a:lnTo>
                      <a:pt x="195" y="656"/>
                    </a:lnTo>
                    <a:lnTo>
                      <a:pt x="195" y="654"/>
                    </a:lnTo>
                    <a:lnTo>
                      <a:pt x="195" y="654"/>
                    </a:lnTo>
                    <a:lnTo>
                      <a:pt x="199" y="648"/>
                    </a:lnTo>
                    <a:lnTo>
                      <a:pt x="202" y="643"/>
                    </a:lnTo>
                    <a:lnTo>
                      <a:pt x="205" y="637"/>
                    </a:lnTo>
                    <a:lnTo>
                      <a:pt x="207" y="632"/>
                    </a:lnTo>
                    <a:lnTo>
                      <a:pt x="210" y="631"/>
                    </a:lnTo>
                    <a:lnTo>
                      <a:pt x="210" y="631"/>
                    </a:lnTo>
                    <a:lnTo>
                      <a:pt x="212" y="627"/>
                    </a:lnTo>
                    <a:lnTo>
                      <a:pt x="212" y="623"/>
                    </a:lnTo>
                    <a:lnTo>
                      <a:pt x="210" y="620"/>
                    </a:lnTo>
                    <a:lnTo>
                      <a:pt x="210" y="617"/>
                    </a:lnTo>
                    <a:lnTo>
                      <a:pt x="213" y="614"/>
                    </a:lnTo>
                    <a:lnTo>
                      <a:pt x="214" y="609"/>
                    </a:lnTo>
                    <a:lnTo>
                      <a:pt x="218" y="604"/>
                    </a:lnTo>
                    <a:lnTo>
                      <a:pt x="218" y="601"/>
                    </a:lnTo>
                    <a:lnTo>
                      <a:pt x="220" y="600"/>
                    </a:lnTo>
                    <a:lnTo>
                      <a:pt x="220" y="600"/>
                    </a:lnTo>
                    <a:lnTo>
                      <a:pt x="220" y="597"/>
                    </a:lnTo>
                    <a:lnTo>
                      <a:pt x="218" y="595"/>
                    </a:lnTo>
                    <a:lnTo>
                      <a:pt x="216" y="595"/>
                    </a:lnTo>
                    <a:lnTo>
                      <a:pt x="216" y="595"/>
                    </a:lnTo>
                    <a:lnTo>
                      <a:pt x="214" y="593"/>
                    </a:lnTo>
                    <a:lnTo>
                      <a:pt x="214" y="589"/>
                    </a:lnTo>
                    <a:lnTo>
                      <a:pt x="216" y="583"/>
                    </a:lnTo>
                    <a:lnTo>
                      <a:pt x="221" y="579"/>
                    </a:lnTo>
                    <a:lnTo>
                      <a:pt x="224" y="581"/>
                    </a:lnTo>
                    <a:lnTo>
                      <a:pt x="224" y="582"/>
                    </a:lnTo>
                    <a:lnTo>
                      <a:pt x="222" y="582"/>
                    </a:lnTo>
                    <a:lnTo>
                      <a:pt x="221" y="582"/>
                    </a:lnTo>
                    <a:lnTo>
                      <a:pt x="220" y="583"/>
                    </a:lnTo>
                    <a:lnTo>
                      <a:pt x="217" y="583"/>
                    </a:lnTo>
                    <a:lnTo>
                      <a:pt x="216" y="586"/>
                    </a:lnTo>
                    <a:lnTo>
                      <a:pt x="217" y="590"/>
                    </a:lnTo>
                    <a:lnTo>
                      <a:pt x="220" y="587"/>
                    </a:lnTo>
                    <a:lnTo>
                      <a:pt x="224" y="593"/>
                    </a:lnTo>
                    <a:lnTo>
                      <a:pt x="222" y="594"/>
                    </a:lnTo>
                    <a:lnTo>
                      <a:pt x="225" y="595"/>
                    </a:lnTo>
                    <a:lnTo>
                      <a:pt x="225" y="595"/>
                    </a:lnTo>
                    <a:lnTo>
                      <a:pt x="225" y="600"/>
                    </a:lnTo>
                    <a:lnTo>
                      <a:pt x="228" y="604"/>
                    </a:lnTo>
                    <a:lnTo>
                      <a:pt x="228" y="605"/>
                    </a:lnTo>
                    <a:lnTo>
                      <a:pt x="225" y="606"/>
                    </a:lnTo>
                    <a:lnTo>
                      <a:pt x="224" y="608"/>
                    </a:lnTo>
                    <a:lnTo>
                      <a:pt x="222" y="610"/>
                    </a:lnTo>
                    <a:lnTo>
                      <a:pt x="222" y="612"/>
                    </a:lnTo>
                    <a:lnTo>
                      <a:pt x="226" y="616"/>
                    </a:lnTo>
                    <a:lnTo>
                      <a:pt x="228" y="619"/>
                    </a:lnTo>
                    <a:lnTo>
                      <a:pt x="231" y="619"/>
                    </a:lnTo>
                    <a:lnTo>
                      <a:pt x="233" y="623"/>
                    </a:lnTo>
                    <a:lnTo>
                      <a:pt x="236" y="623"/>
                    </a:lnTo>
                    <a:lnTo>
                      <a:pt x="236" y="625"/>
                    </a:lnTo>
                    <a:lnTo>
                      <a:pt x="235" y="625"/>
                    </a:lnTo>
                    <a:lnTo>
                      <a:pt x="235" y="628"/>
                    </a:lnTo>
                    <a:lnTo>
                      <a:pt x="232" y="632"/>
                    </a:lnTo>
                    <a:lnTo>
                      <a:pt x="235" y="635"/>
                    </a:lnTo>
                    <a:lnTo>
                      <a:pt x="235" y="635"/>
                    </a:lnTo>
                    <a:lnTo>
                      <a:pt x="240" y="636"/>
                    </a:lnTo>
                    <a:lnTo>
                      <a:pt x="245" y="636"/>
                    </a:lnTo>
                    <a:lnTo>
                      <a:pt x="251" y="635"/>
                    </a:lnTo>
                    <a:lnTo>
                      <a:pt x="255" y="632"/>
                    </a:lnTo>
                    <a:lnTo>
                      <a:pt x="259" y="636"/>
                    </a:lnTo>
                    <a:lnTo>
                      <a:pt x="259" y="636"/>
                    </a:lnTo>
                    <a:lnTo>
                      <a:pt x="258" y="632"/>
                    </a:lnTo>
                    <a:lnTo>
                      <a:pt x="259" y="628"/>
                    </a:lnTo>
                    <a:lnTo>
                      <a:pt x="260" y="623"/>
                    </a:lnTo>
                    <a:lnTo>
                      <a:pt x="263" y="620"/>
                    </a:lnTo>
                    <a:lnTo>
                      <a:pt x="263" y="620"/>
                    </a:lnTo>
                    <a:lnTo>
                      <a:pt x="264" y="616"/>
                    </a:lnTo>
                    <a:lnTo>
                      <a:pt x="266" y="613"/>
                    </a:lnTo>
                    <a:lnTo>
                      <a:pt x="271" y="608"/>
                    </a:lnTo>
                    <a:lnTo>
                      <a:pt x="274" y="609"/>
                    </a:lnTo>
                    <a:lnTo>
                      <a:pt x="274" y="609"/>
                    </a:lnTo>
                    <a:lnTo>
                      <a:pt x="281" y="605"/>
                    </a:lnTo>
                    <a:lnTo>
                      <a:pt x="281" y="605"/>
                    </a:lnTo>
                    <a:lnTo>
                      <a:pt x="289" y="604"/>
                    </a:lnTo>
                    <a:lnTo>
                      <a:pt x="289" y="604"/>
                    </a:lnTo>
                    <a:lnTo>
                      <a:pt x="292" y="600"/>
                    </a:lnTo>
                    <a:lnTo>
                      <a:pt x="293" y="595"/>
                    </a:lnTo>
                    <a:lnTo>
                      <a:pt x="293" y="595"/>
                    </a:lnTo>
                    <a:lnTo>
                      <a:pt x="298" y="593"/>
                    </a:lnTo>
                    <a:lnTo>
                      <a:pt x="302" y="590"/>
                    </a:lnTo>
                    <a:lnTo>
                      <a:pt x="302" y="581"/>
                    </a:lnTo>
                    <a:lnTo>
                      <a:pt x="301" y="579"/>
                    </a:lnTo>
                    <a:lnTo>
                      <a:pt x="301" y="578"/>
                    </a:lnTo>
                    <a:lnTo>
                      <a:pt x="304" y="578"/>
                    </a:lnTo>
                    <a:lnTo>
                      <a:pt x="305" y="579"/>
                    </a:lnTo>
                    <a:lnTo>
                      <a:pt x="307" y="586"/>
                    </a:lnTo>
                    <a:lnTo>
                      <a:pt x="309" y="589"/>
                    </a:lnTo>
                    <a:lnTo>
                      <a:pt x="309" y="589"/>
                    </a:lnTo>
                    <a:lnTo>
                      <a:pt x="308" y="590"/>
                    </a:lnTo>
                    <a:lnTo>
                      <a:pt x="305" y="593"/>
                    </a:lnTo>
                    <a:lnTo>
                      <a:pt x="301" y="595"/>
                    </a:lnTo>
                    <a:lnTo>
                      <a:pt x="301" y="595"/>
                    </a:lnTo>
                    <a:lnTo>
                      <a:pt x="300" y="598"/>
                    </a:lnTo>
                    <a:lnTo>
                      <a:pt x="296" y="601"/>
                    </a:lnTo>
                    <a:lnTo>
                      <a:pt x="297" y="604"/>
                    </a:lnTo>
                    <a:lnTo>
                      <a:pt x="297" y="604"/>
                    </a:lnTo>
                    <a:lnTo>
                      <a:pt x="290" y="606"/>
                    </a:lnTo>
                    <a:lnTo>
                      <a:pt x="288" y="609"/>
                    </a:lnTo>
                    <a:lnTo>
                      <a:pt x="286" y="610"/>
                    </a:lnTo>
                    <a:lnTo>
                      <a:pt x="282" y="612"/>
                    </a:lnTo>
                    <a:lnTo>
                      <a:pt x="282" y="614"/>
                    </a:lnTo>
                    <a:lnTo>
                      <a:pt x="282" y="617"/>
                    </a:lnTo>
                    <a:lnTo>
                      <a:pt x="285" y="620"/>
                    </a:lnTo>
                    <a:lnTo>
                      <a:pt x="285" y="620"/>
                    </a:lnTo>
                    <a:lnTo>
                      <a:pt x="286" y="623"/>
                    </a:lnTo>
                    <a:lnTo>
                      <a:pt x="288" y="624"/>
                    </a:lnTo>
                    <a:lnTo>
                      <a:pt x="288" y="624"/>
                    </a:lnTo>
                    <a:lnTo>
                      <a:pt x="289" y="629"/>
                    </a:lnTo>
                    <a:lnTo>
                      <a:pt x="292" y="633"/>
                    </a:lnTo>
                    <a:lnTo>
                      <a:pt x="293" y="633"/>
                    </a:lnTo>
                    <a:lnTo>
                      <a:pt x="294" y="642"/>
                    </a:lnTo>
                    <a:lnTo>
                      <a:pt x="300" y="650"/>
                    </a:lnTo>
                    <a:lnTo>
                      <a:pt x="301" y="647"/>
                    </a:lnTo>
                    <a:lnTo>
                      <a:pt x="301" y="646"/>
                    </a:lnTo>
                    <a:lnTo>
                      <a:pt x="302" y="643"/>
                    </a:lnTo>
                    <a:lnTo>
                      <a:pt x="304" y="644"/>
                    </a:lnTo>
                    <a:lnTo>
                      <a:pt x="304" y="646"/>
                    </a:lnTo>
                    <a:lnTo>
                      <a:pt x="302" y="647"/>
                    </a:lnTo>
                    <a:lnTo>
                      <a:pt x="304" y="650"/>
                    </a:lnTo>
                    <a:lnTo>
                      <a:pt x="305" y="651"/>
                    </a:lnTo>
                    <a:lnTo>
                      <a:pt x="308" y="651"/>
                    </a:lnTo>
                    <a:lnTo>
                      <a:pt x="308" y="652"/>
                    </a:lnTo>
                    <a:lnTo>
                      <a:pt x="307" y="654"/>
                    </a:lnTo>
                    <a:lnTo>
                      <a:pt x="304" y="655"/>
                    </a:lnTo>
                    <a:lnTo>
                      <a:pt x="302" y="663"/>
                    </a:lnTo>
                    <a:lnTo>
                      <a:pt x="300" y="666"/>
                    </a:lnTo>
                    <a:lnTo>
                      <a:pt x="300" y="666"/>
                    </a:lnTo>
                    <a:lnTo>
                      <a:pt x="300" y="670"/>
                    </a:lnTo>
                    <a:lnTo>
                      <a:pt x="298" y="674"/>
                    </a:lnTo>
                    <a:lnTo>
                      <a:pt x="289" y="682"/>
                    </a:lnTo>
                    <a:lnTo>
                      <a:pt x="282" y="684"/>
                    </a:lnTo>
                    <a:lnTo>
                      <a:pt x="281" y="685"/>
                    </a:lnTo>
                    <a:lnTo>
                      <a:pt x="277" y="685"/>
                    </a:lnTo>
                    <a:lnTo>
                      <a:pt x="277" y="689"/>
                    </a:lnTo>
                    <a:lnTo>
                      <a:pt x="277" y="689"/>
                    </a:lnTo>
                    <a:lnTo>
                      <a:pt x="273" y="693"/>
                    </a:lnTo>
                    <a:lnTo>
                      <a:pt x="270" y="700"/>
                    </a:lnTo>
                    <a:lnTo>
                      <a:pt x="267" y="701"/>
                    </a:lnTo>
                    <a:lnTo>
                      <a:pt x="266" y="705"/>
                    </a:lnTo>
                    <a:lnTo>
                      <a:pt x="260" y="711"/>
                    </a:lnTo>
                    <a:lnTo>
                      <a:pt x="260" y="712"/>
                    </a:lnTo>
                    <a:lnTo>
                      <a:pt x="260" y="712"/>
                    </a:lnTo>
                    <a:lnTo>
                      <a:pt x="264" y="715"/>
                    </a:lnTo>
                    <a:lnTo>
                      <a:pt x="267" y="718"/>
                    </a:lnTo>
                    <a:lnTo>
                      <a:pt x="267" y="722"/>
                    </a:lnTo>
                    <a:lnTo>
                      <a:pt x="266" y="723"/>
                    </a:lnTo>
                    <a:lnTo>
                      <a:pt x="266" y="723"/>
                    </a:lnTo>
                    <a:lnTo>
                      <a:pt x="267" y="727"/>
                    </a:lnTo>
                    <a:lnTo>
                      <a:pt x="269" y="730"/>
                    </a:lnTo>
                    <a:lnTo>
                      <a:pt x="269" y="732"/>
                    </a:lnTo>
                    <a:lnTo>
                      <a:pt x="269" y="735"/>
                    </a:lnTo>
                    <a:lnTo>
                      <a:pt x="271" y="737"/>
                    </a:lnTo>
                    <a:lnTo>
                      <a:pt x="275" y="735"/>
                    </a:lnTo>
                    <a:lnTo>
                      <a:pt x="275" y="737"/>
                    </a:lnTo>
                    <a:lnTo>
                      <a:pt x="277" y="735"/>
                    </a:lnTo>
                    <a:lnTo>
                      <a:pt x="277" y="730"/>
                    </a:lnTo>
                    <a:lnTo>
                      <a:pt x="279" y="728"/>
                    </a:lnTo>
                    <a:lnTo>
                      <a:pt x="290" y="727"/>
                    </a:lnTo>
                    <a:lnTo>
                      <a:pt x="292" y="724"/>
                    </a:lnTo>
                    <a:lnTo>
                      <a:pt x="292" y="712"/>
                    </a:lnTo>
                    <a:lnTo>
                      <a:pt x="289" y="705"/>
                    </a:lnTo>
                    <a:lnTo>
                      <a:pt x="289" y="703"/>
                    </a:lnTo>
                    <a:lnTo>
                      <a:pt x="290" y="703"/>
                    </a:lnTo>
                    <a:lnTo>
                      <a:pt x="290" y="703"/>
                    </a:lnTo>
                    <a:lnTo>
                      <a:pt x="292" y="707"/>
                    </a:lnTo>
                    <a:lnTo>
                      <a:pt x="294" y="711"/>
                    </a:lnTo>
                    <a:lnTo>
                      <a:pt x="294" y="711"/>
                    </a:lnTo>
                    <a:lnTo>
                      <a:pt x="294" y="715"/>
                    </a:lnTo>
                    <a:lnTo>
                      <a:pt x="294" y="719"/>
                    </a:lnTo>
                    <a:lnTo>
                      <a:pt x="294" y="723"/>
                    </a:lnTo>
                    <a:lnTo>
                      <a:pt x="292" y="727"/>
                    </a:lnTo>
                    <a:lnTo>
                      <a:pt x="294" y="728"/>
                    </a:lnTo>
                    <a:lnTo>
                      <a:pt x="293" y="731"/>
                    </a:lnTo>
                    <a:lnTo>
                      <a:pt x="292" y="731"/>
                    </a:lnTo>
                    <a:lnTo>
                      <a:pt x="288" y="731"/>
                    </a:lnTo>
                    <a:lnTo>
                      <a:pt x="286" y="730"/>
                    </a:lnTo>
                    <a:lnTo>
                      <a:pt x="279" y="737"/>
                    </a:lnTo>
                    <a:lnTo>
                      <a:pt x="279" y="742"/>
                    </a:lnTo>
                    <a:lnTo>
                      <a:pt x="277" y="743"/>
                    </a:lnTo>
                    <a:lnTo>
                      <a:pt x="278" y="747"/>
                    </a:lnTo>
                    <a:lnTo>
                      <a:pt x="278" y="747"/>
                    </a:lnTo>
                    <a:lnTo>
                      <a:pt x="282" y="750"/>
                    </a:lnTo>
                    <a:lnTo>
                      <a:pt x="286" y="751"/>
                    </a:lnTo>
                    <a:lnTo>
                      <a:pt x="286" y="753"/>
                    </a:lnTo>
                    <a:lnTo>
                      <a:pt x="282" y="753"/>
                    </a:lnTo>
                    <a:lnTo>
                      <a:pt x="279" y="757"/>
                    </a:lnTo>
                    <a:lnTo>
                      <a:pt x="274" y="757"/>
                    </a:lnTo>
                    <a:lnTo>
                      <a:pt x="274" y="758"/>
                    </a:lnTo>
                    <a:lnTo>
                      <a:pt x="277" y="760"/>
                    </a:lnTo>
                    <a:lnTo>
                      <a:pt x="277" y="761"/>
                    </a:lnTo>
                    <a:lnTo>
                      <a:pt x="274" y="764"/>
                    </a:lnTo>
                    <a:lnTo>
                      <a:pt x="273" y="762"/>
                    </a:lnTo>
                    <a:lnTo>
                      <a:pt x="270" y="765"/>
                    </a:lnTo>
                    <a:lnTo>
                      <a:pt x="269" y="764"/>
                    </a:lnTo>
                    <a:lnTo>
                      <a:pt x="266" y="765"/>
                    </a:lnTo>
                    <a:lnTo>
                      <a:pt x="264" y="765"/>
                    </a:lnTo>
                    <a:lnTo>
                      <a:pt x="264" y="765"/>
                    </a:lnTo>
                    <a:lnTo>
                      <a:pt x="266" y="762"/>
                    </a:lnTo>
                    <a:lnTo>
                      <a:pt x="266" y="760"/>
                    </a:lnTo>
                    <a:lnTo>
                      <a:pt x="263" y="761"/>
                    </a:lnTo>
                    <a:lnTo>
                      <a:pt x="260" y="760"/>
                    </a:lnTo>
                    <a:lnTo>
                      <a:pt x="260" y="760"/>
                    </a:lnTo>
                    <a:lnTo>
                      <a:pt x="247" y="766"/>
                    </a:lnTo>
                    <a:lnTo>
                      <a:pt x="235" y="772"/>
                    </a:lnTo>
                    <a:lnTo>
                      <a:pt x="235" y="772"/>
                    </a:lnTo>
                    <a:lnTo>
                      <a:pt x="233" y="774"/>
                    </a:lnTo>
                    <a:lnTo>
                      <a:pt x="233" y="779"/>
                    </a:lnTo>
                    <a:lnTo>
                      <a:pt x="235" y="784"/>
                    </a:lnTo>
                    <a:lnTo>
                      <a:pt x="235" y="787"/>
                    </a:lnTo>
                    <a:lnTo>
                      <a:pt x="236" y="788"/>
                    </a:lnTo>
                    <a:lnTo>
                      <a:pt x="235" y="791"/>
                    </a:lnTo>
                    <a:lnTo>
                      <a:pt x="235" y="791"/>
                    </a:lnTo>
                    <a:lnTo>
                      <a:pt x="237" y="796"/>
                    </a:lnTo>
                    <a:lnTo>
                      <a:pt x="240" y="800"/>
                    </a:lnTo>
                    <a:lnTo>
                      <a:pt x="244" y="804"/>
                    </a:lnTo>
                    <a:lnTo>
                      <a:pt x="247" y="808"/>
                    </a:lnTo>
                    <a:lnTo>
                      <a:pt x="245" y="811"/>
                    </a:lnTo>
                    <a:lnTo>
                      <a:pt x="243" y="812"/>
                    </a:lnTo>
                    <a:lnTo>
                      <a:pt x="244" y="814"/>
                    </a:lnTo>
                    <a:lnTo>
                      <a:pt x="250" y="817"/>
                    </a:lnTo>
                    <a:lnTo>
                      <a:pt x="252" y="821"/>
                    </a:lnTo>
                    <a:lnTo>
                      <a:pt x="254" y="821"/>
                    </a:lnTo>
                    <a:lnTo>
                      <a:pt x="256" y="818"/>
                    </a:lnTo>
                    <a:lnTo>
                      <a:pt x="256" y="818"/>
                    </a:lnTo>
                    <a:lnTo>
                      <a:pt x="260" y="818"/>
                    </a:lnTo>
                    <a:lnTo>
                      <a:pt x="264" y="815"/>
                    </a:lnTo>
                    <a:lnTo>
                      <a:pt x="264" y="817"/>
                    </a:lnTo>
                    <a:lnTo>
                      <a:pt x="264" y="817"/>
                    </a:lnTo>
                    <a:lnTo>
                      <a:pt x="262" y="819"/>
                    </a:lnTo>
                    <a:lnTo>
                      <a:pt x="259" y="819"/>
                    </a:lnTo>
                    <a:lnTo>
                      <a:pt x="256" y="821"/>
                    </a:lnTo>
                    <a:lnTo>
                      <a:pt x="254" y="823"/>
                    </a:lnTo>
                    <a:lnTo>
                      <a:pt x="251" y="823"/>
                    </a:lnTo>
                    <a:lnTo>
                      <a:pt x="251" y="823"/>
                    </a:lnTo>
                    <a:lnTo>
                      <a:pt x="248" y="821"/>
                    </a:lnTo>
                    <a:lnTo>
                      <a:pt x="247" y="817"/>
                    </a:lnTo>
                    <a:lnTo>
                      <a:pt x="243" y="817"/>
                    </a:lnTo>
                    <a:lnTo>
                      <a:pt x="240" y="815"/>
                    </a:lnTo>
                    <a:lnTo>
                      <a:pt x="240" y="812"/>
                    </a:lnTo>
                    <a:lnTo>
                      <a:pt x="240" y="811"/>
                    </a:lnTo>
                    <a:lnTo>
                      <a:pt x="243" y="810"/>
                    </a:lnTo>
                    <a:lnTo>
                      <a:pt x="243" y="807"/>
                    </a:lnTo>
                    <a:lnTo>
                      <a:pt x="243" y="806"/>
                    </a:lnTo>
                    <a:lnTo>
                      <a:pt x="243" y="806"/>
                    </a:lnTo>
                    <a:lnTo>
                      <a:pt x="237" y="802"/>
                    </a:lnTo>
                    <a:lnTo>
                      <a:pt x="232" y="798"/>
                    </a:lnTo>
                    <a:lnTo>
                      <a:pt x="232" y="798"/>
                    </a:lnTo>
                    <a:lnTo>
                      <a:pt x="231" y="789"/>
                    </a:lnTo>
                    <a:lnTo>
                      <a:pt x="231" y="785"/>
                    </a:lnTo>
                    <a:lnTo>
                      <a:pt x="231" y="781"/>
                    </a:lnTo>
                    <a:lnTo>
                      <a:pt x="231" y="780"/>
                    </a:lnTo>
                    <a:lnTo>
                      <a:pt x="232" y="777"/>
                    </a:lnTo>
                    <a:lnTo>
                      <a:pt x="231" y="774"/>
                    </a:lnTo>
                    <a:lnTo>
                      <a:pt x="229" y="774"/>
                    </a:lnTo>
                    <a:lnTo>
                      <a:pt x="225" y="776"/>
                    </a:lnTo>
                    <a:lnTo>
                      <a:pt x="225" y="776"/>
                    </a:lnTo>
                    <a:lnTo>
                      <a:pt x="222" y="776"/>
                    </a:lnTo>
                    <a:lnTo>
                      <a:pt x="218" y="777"/>
                    </a:lnTo>
                    <a:lnTo>
                      <a:pt x="216" y="779"/>
                    </a:lnTo>
                    <a:lnTo>
                      <a:pt x="214" y="781"/>
                    </a:lnTo>
                    <a:lnTo>
                      <a:pt x="214" y="781"/>
                    </a:lnTo>
                    <a:lnTo>
                      <a:pt x="216" y="789"/>
                    </a:lnTo>
                    <a:lnTo>
                      <a:pt x="216" y="798"/>
                    </a:lnTo>
                    <a:lnTo>
                      <a:pt x="216" y="798"/>
                    </a:lnTo>
                    <a:lnTo>
                      <a:pt x="213" y="822"/>
                    </a:lnTo>
                    <a:lnTo>
                      <a:pt x="213" y="822"/>
                    </a:lnTo>
                    <a:lnTo>
                      <a:pt x="212" y="829"/>
                    </a:lnTo>
                    <a:lnTo>
                      <a:pt x="212" y="829"/>
                    </a:lnTo>
                    <a:lnTo>
                      <a:pt x="213" y="853"/>
                    </a:lnTo>
                    <a:lnTo>
                      <a:pt x="213" y="853"/>
                    </a:lnTo>
                    <a:lnTo>
                      <a:pt x="212" y="868"/>
                    </a:lnTo>
                    <a:lnTo>
                      <a:pt x="213" y="875"/>
                    </a:lnTo>
                    <a:lnTo>
                      <a:pt x="217" y="883"/>
                    </a:lnTo>
                    <a:lnTo>
                      <a:pt x="218" y="883"/>
                    </a:lnTo>
                    <a:lnTo>
                      <a:pt x="218" y="883"/>
                    </a:lnTo>
                    <a:lnTo>
                      <a:pt x="224" y="890"/>
                    </a:lnTo>
                    <a:lnTo>
                      <a:pt x="226" y="891"/>
                    </a:lnTo>
                    <a:lnTo>
                      <a:pt x="232" y="894"/>
                    </a:lnTo>
                    <a:lnTo>
                      <a:pt x="232" y="894"/>
                    </a:lnTo>
                    <a:lnTo>
                      <a:pt x="236" y="893"/>
                    </a:lnTo>
                    <a:lnTo>
                      <a:pt x="236" y="893"/>
                    </a:lnTo>
                    <a:lnTo>
                      <a:pt x="245" y="895"/>
                    </a:lnTo>
                    <a:lnTo>
                      <a:pt x="250" y="894"/>
                    </a:lnTo>
                    <a:lnTo>
                      <a:pt x="252" y="894"/>
                    </a:lnTo>
                    <a:lnTo>
                      <a:pt x="254" y="893"/>
                    </a:lnTo>
                    <a:lnTo>
                      <a:pt x="254" y="893"/>
                    </a:lnTo>
                    <a:lnTo>
                      <a:pt x="256" y="895"/>
                    </a:lnTo>
                    <a:lnTo>
                      <a:pt x="260" y="897"/>
                    </a:lnTo>
                    <a:lnTo>
                      <a:pt x="260" y="897"/>
                    </a:lnTo>
                    <a:lnTo>
                      <a:pt x="277" y="894"/>
                    </a:lnTo>
                    <a:lnTo>
                      <a:pt x="285" y="891"/>
                    </a:lnTo>
                    <a:lnTo>
                      <a:pt x="292" y="888"/>
                    </a:lnTo>
                    <a:lnTo>
                      <a:pt x="294" y="890"/>
                    </a:lnTo>
                    <a:lnTo>
                      <a:pt x="286" y="894"/>
                    </a:lnTo>
                    <a:lnTo>
                      <a:pt x="292" y="899"/>
                    </a:lnTo>
                    <a:lnTo>
                      <a:pt x="293" y="903"/>
                    </a:lnTo>
                    <a:lnTo>
                      <a:pt x="293" y="903"/>
                    </a:lnTo>
                    <a:lnTo>
                      <a:pt x="289" y="898"/>
                    </a:lnTo>
                    <a:lnTo>
                      <a:pt x="286" y="897"/>
                    </a:lnTo>
                    <a:lnTo>
                      <a:pt x="283" y="895"/>
                    </a:lnTo>
                    <a:lnTo>
                      <a:pt x="283" y="895"/>
                    </a:lnTo>
                    <a:lnTo>
                      <a:pt x="277" y="898"/>
                    </a:lnTo>
                    <a:lnTo>
                      <a:pt x="270" y="899"/>
                    </a:lnTo>
                    <a:lnTo>
                      <a:pt x="269" y="898"/>
                    </a:lnTo>
                    <a:lnTo>
                      <a:pt x="263" y="901"/>
                    </a:lnTo>
                    <a:lnTo>
                      <a:pt x="267" y="903"/>
                    </a:lnTo>
                    <a:lnTo>
                      <a:pt x="267" y="903"/>
                    </a:lnTo>
                    <a:lnTo>
                      <a:pt x="263" y="903"/>
                    </a:lnTo>
                    <a:lnTo>
                      <a:pt x="260" y="902"/>
                    </a:lnTo>
                    <a:lnTo>
                      <a:pt x="259" y="903"/>
                    </a:lnTo>
                    <a:lnTo>
                      <a:pt x="258" y="903"/>
                    </a:lnTo>
                    <a:lnTo>
                      <a:pt x="251" y="906"/>
                    </a:lnTo>
                    <a:lnTo>
                      <a:pt x="250" y="907"/>
                    </a:lnTo>
                    <a:lnTo>
                      <a:pt x="254" y="910"/>
                    </a:lnTo>
                    <a:lnTo>
                      <a:pt x="254" y="912"/>
                    </a:lnTo>
                    <a:lnTo>
                      <a:pt x="254" y="912"/>
                    </a:lnTo>
                    <a:lnTo>
                      <a:pt x="251" y="912"/>
                    </a:lnTo>
                    <a:lnTo>
                      <a:pt x="248" y="913"/>
                    </a:lnTo>
                    <a:lnTo>
                      <a:pt x="250" y="914"/>
                    </a:lnTo>
                    <a:lnTo>
                      <a:pt x="250" y="916"/>
                    </a:lnTo>
                    <a:lnTo>
                      <a:pt x="247" y="920"/>
                    </a:lnTo>
                    <a:lnTo>
                      <a:pt x="244" y="917"/>
                    </a:lnTo>
                    <a:lnTo>
                      <a:pt x="241" y="917"/>
                    </a:lnTo>
                    <a:lnTo>
                      <a:pt x="240" y="918"/>
                    </a:lnTo>
                    <a:lnTo>
                      <a:pt x="241" y="922"/>
                    </a:lnTo>
                    <a:lnTo>
                      <a:pt x="241" y="922"/>
                    </a:lnTo>
                    <a:lnTo>
                      <a:pt x="237" y="926"/>
                    </a:lnTo>
                    <a:lnTo>
                      <a:pt x="235" y="930"/>
                    </a:lnTo>
                    <a:lnTo>
                      <a:pt x="235" y="930"/>
                    </a:lnTo>
                    <a:lnTo>
                      <a:pt x="228" y="940"/>
                    </a:lnTo>
                    <a:lnTo>
                      <a:pt x="222" y="948"/>
                    </a:lnTo>
                    <a:lnTo>
                      <a:pt x="222" y="948"/>
                    </a:lnTo>
                    <a:lnTo>
                      <a:pt x="221" y="949"/>
                    </a:lnTo>
                    <a:lnTo>
                      <a:pt x="220" y="948"/>
                    </a:lnTo>
                    <a:lnTo>
                      <a:pt x="220" y="948"/>
                    </a:lnTo>
                    <a:lnTo>
                      <a:pt x="217" y="951"/>
                    </a:lnTo>
                    <a:lnTo>
                      <a:pt x="217" y="955"/>
                    </a:lnTo>
                    <a:lnTo>
                      <a:pt x="214" y="962"/>
                    </a:lnTo>
                    <a:lnTo>
                      <a:pt x="214" y="962"/>
                    </a:lnTo>
                    <a:lnTo>
                      <a:pt x="210" y="971"/>
                    </a:lnTo>
                    <a:lnTo>
                      <a:pt x="210" y="971"/>
                    </a:lnTo>
                    <a:lnTo>
                      <a:pt x="207" y="977"/>
                    </a:lnTo>
                    <a:lnTo>
                      <a:pt x="203" y="982"/>
                    </a:lnTo>
                    <a:lnTo>
                      <a:pt x="199" y="989"/>
                    </a:lnTo>
                    <a:lnTo>
                      <a:pt x="197" y="996"/>
                    </a:lnTo>
                    <a:lnTo>
                      <a:pt x="197" y="996"/>
                    </a:lnTo>
                    <a:lnTo>
                      <a:pt x="195" y="1005"/>
                    </a:lnTo>
                    <a:lnTo>
                      <a:pt x="195" y="1011"/>
                    </a:lnTo>
                    <a:lnTo>
                      <a:pt x="197" y="1016"/>
                    </a:lnTo>
                    <a:lnTo>
                      <a:pt x="197" y="1016"/>
                    </a:lnTo>
                    <a:lnTo>
                      <a:pt x="199" y="1017"/>
                    </a:lnTo>
                    <a:lnTo>
                      <a:pt x="202" y="1019"/>
                    </a:lnTo>
                    <a:lnTo>
                      <a:pt x="205" y="1025"/>
                    </a:lnTo>
                    <a:lnTo>
                      <a:pt x="209" y="1024"/>
                    </a:lnTo>
                    <a:lnTo>
                      <a:pt x="210" y="1024"/>
                    </a:lnTo>
                    <a:lnTo>
                      <a:pt x="210" y="1024"/>
                    </a:lnTo>
                    <a:lnTo>
                      <a:pt x="210" y="1034"/>
                    </a:lnTo>
                    <a:lnTo>
                      <a:pt x="212" y="1040"/>
                    </a:lnTo>
                    <a:lnTo>
                      <a:pt x="214" y="1047"/>
                    </a:lnTo>
                    <a:lnTo>
                      <a:pt x="218" y="1055"/>
                    </a:lnTo>
                    <a:lnTo>
                      <a:pt x="218" y="1055"/>
                    </a:lnTo>
                    <a:lnTo>
                      <a:pt x="221" y="1058"/>
                    </a:lnTo>
                    <a:lnTo>
                      <a:pt x="224" y="1061"/>
                    </a:lnTo>
                    <a:lnTo>
                      <a:pt x="225" y="1063"/>
                    </a:lnTo>
                    <a:lnTo>
                      <a:pt x="225" y="1063"/>
                    </a:lnTo>
                    <a:lnTo>
                      <a:pt x="221" y="1062"/>
                    </a:lnTo>
                    <a:lnTo>
                      <a:pt x="217" y="1062"/>
                    </a:lnTo>
                    <a:lnTo>
                      <a:pt x="221" y="1070"/>
                    </a:lnTo>
                    <a:lnTo>
                      <a:pt x="224" y="1070"/>
                    </a:lnTo>
                    <a:lnTo>
                      <a:pt x="224" y="1074"/>
                    </a:lnTo>
                    <a:lnTo>
                      <a:pt x="228" y="1076"/>
                    </a:lnTo>
                    <a:lnTo>
                      <a:pt x="228" y="1076"/>
                    </a:lnTo>
                    <a:lnTo>
                      <a:pt x="229" y="1078"/>
                    </a:lnTo>
                    <a:lnTo>
                      <a:pt x="229" y="1082"/>
                    </a:lnTo>
                    <a:lnTo>
                      <a:pt x="231" y="1092"/>
                    </a:lnTo>
                    <a:lnTo>
                      <a:pt x="231" y="1092"/>
                    </a:lnTo>
                    <a:lnTo>
                      <a:pt x="237" y="1112"/>
                    </a:lnTo>
                    <a:lnTo>
                      <a:pt x="237" y="1112"/>
                    </a:lnTo>
                    <a:lnTo>
                      <a:pt x="245" y="1120"/>
                    </a:lnTo>
                    <a:lnTo>
                      <a:pt x="250" y="1120"/>
                    </a:lnTo>
                    <a:lnTo>
                      <a:pt x="250" y="1120"/>
                    </a:lnTo>
                    <a:lnTo>
                      <a:pt x="259" y="1127"/>
                    </a:lnTo>
                    <a:lnTo>
                      <a:pt x="267" y="1135"/>
                    </a:lnTo>
                    <a:lnTo>
                      <a:pt x="267" y="1135"/>
                    </a:lnTo>
                    <a:lnTo>
                      <a:pt x="273" y="1139"/>
                    </a:lnTo>
                    <a:lnTo>
                      <a:pt x="278" y="1143"/>
                    </a:lnTo>
                    <a:lnTo>
                      <a:pt x="285" y="1146"/>
                    </a:lnTo>
                    <a:lnTo>
                      <a:pt x="292" y="1148"/>
                    </a:lnTo>
                    <a:lnTo>
                      <a:pt x="292" y="1148"/>
                    </a:lnTo>
                    <a:lnTo>
                      <a:pt x="293" y="1145"/>
                    </a:lnTo>
                    <a:lnTo>
                      <a:pt x="296" y="1143"/>
                    </a:lnTo>
                    <a:lnTo>
                      <a:pt x="296" y="1143"/>
                    </a:lnTo>
                    <a:lnTo>
                      <a:pt x="298" y="1143"/>
                    </a:lnTo>
                    <a:lnTo>
                      <a:pt x="301" y="1146"/>
                    </a:lnTo>
                    <a:lnTo>
                      <a:pt x="307" y="1150"/>
                    </a:lnTo>
                    <a:lnTo>
                      <a:pt x="308" y="1149"/>
                    </a:lnTo>
                    <a:lnTo>
                      <a:pt x="312" y="1146"/>
                    </a:lnTo>
                    <a:lnTo>
                      <a:pt x="312" y="1146"/>
                    </a:lnTo>
                    <a:lnTo>
                      <a:pt x="313" y="1139"/>
                    </a:lnTo>
                    <a:lnTo>
                      <a:pt x="315" y="1135"/>
                    </a:lnTo>
                    <a:lnTo>
                      <a:pt x="317" y="1133"/>
                    </a:lnTo>
                    <a:lnTo>
                      <a:pt x="317" y="1133"/>
                    </a:lnTo>
                    <a:lnTo>
                      <a:pt x="320" y="1133"/>
                    </a:lnTo>
                    <a:lnTo>
                      <a:pt x="323" y="1133"/>
                    </a:lnTo>
                    <a:lnTo>
                      <a:pt x="327" y="1134"/>
                    </a:lnTo>
                    <a:lnTo>
                      <a:pt x="327" y="1135"/>
                    </a:lnTo>
                    <a:lnTo>
                      <a:pt x="321" y="1135"/>
                    </a:lnTo>
                    <a:lnTo>
                      <a:pt x="319" y="1138"/>
                    </a:lnTo>
                    <a:lnTo>
                      <a:pt x="319" y="1138"/>
                    </a:lnTo>
                    <a:lnTo>
                      <a:pt x="317" y="1148"/>
                    </a:lnTo>
                    <a:lnTo>
                      <a:pt x="317" y="1148"/>
                    </a:lnTo>
                    <a:lnTo>
                      <a:pt x="321" y="1150"/>
                    </a:lnTo>
                    <a:lnTo>
                      <a:pt x="323" y="1154"/>
                    </a:lnTo>
                    <a:lnTo>
                      <a:pt x="323" y="1154"/>
                    </a:lnTo>
                    <a:lnTo>
                      <a:pt x="316" y="1158"/>
                    </a:lnTo>
                    <a:lnTo>
                      <a:pt x="312" y="1162"/>
                    </a:lnTo>
                    <a:lnTo>
                      <a:pt x="311" y="1165"/>
                    </a:lnTo>
                    <a:lnTo>
                      <a:pt x="304" y="1164"/>
                    </a:lnTo>
                    <a:lnTo>
                      <a:pt x="300" y="1160"/>
                    </a:lnTo>
                    <a:lnTo>
                      <a:pt x="300" y="1160"/>
                    </a:lnTo>
                    <a:lnTo>
                      <a:pt x="293" y="1158"/>
                    </a:lnTo>
                    <a:lnTo>
                      <a:pt x="286" y="1160"/>
                    </a:lnTo>
                    <a:lnTo>
                      <a:pt x="286" y="1161"/>
                    </a:lnTo>
                    <a:lnTo>
                      <a:pt x="289" y="1164"/>
                    </a:lnTo>
                    <a:lnTo>
                      <a:pt x="289" y="1165"/>
                    </a:lnTo>
                    <a:lnTo>
                      <a:pt x="285" y="1167"/>
                    </a:lnTo>
                    <a:lnTo>
                      <a:pt x="286" y="1168"/>
                    </a:lnTo>
                    <a:lnTo>
                      <a:pt x="283" y="1169"/>
                    </a:lnTo>
                    <a:lnTo>
                      <a:pt x="283" y="1169"/>
                    </a:lnTo>
                    <a:lnTo>
                      <a:pt x="275" y="1167"/>
                    </a:lnTo>
                    <a:lnTo>
                      <a:pt x="270" y="1164"/>
                    </a:lnTo>
                    <a:lnTo>
                      <a:pt x="264" y="1161"/>
                    </a:lnTo>
                    <a:lnTo>
                      <a:pt x="258" y="1158"/>
                    </a:lnTo>
                    <a:lnTo>
                      <a:pt x="258" y="1158"/>
                    </a:lnTo>
                    <a:lnTo>
                      <a:pt x="252" y="1152"/>
                    </a:lnTo>
                    <a:lnTo>
                      <a:pt x="248" y="1145"/>
                    </a:lnTo>
                    <a:lnTo>
                      <a:pt x="240" y="1129"/>
                    </a:lnTo>
                    <a:lnTo>
                      <a:pt x="235" y="1126"/>
                    </a:lnTo>
                    <a:lnTo>
                      <a:pt x="235" y="1126"/>
                    </a:lnTo>
                    <a:lnTo>
                      <a:pt x="231" y="1115"/>
                    </a:lnTo>
                    <a:lnTo>
                      <a:pt x="231" y="1115"/>
                    </a:lnTo>
                    <a:lnTo>
                      <a:pt x="229" y="1104"/>
                    </a:lnTo>
                    <a:lnTo>
                      <a:pt x="229" y="1104"/>
                    </a:lnTo>
                    <a:lnTo>
                      <a:pt x="228" y="1101"/>
                    </a:lnTo>
                    <a:lnTo>
                      <a:pt x="228" y="1101"/>
                    </a:lnTo>
                    <a:lnTo>
                      <a:pt x="228" y="1097"/>
                    </a:lnTo>
                    <a:lnTo>
                      <a:pt x="228" y="1097"/>
                    </a:lnTo>
                    <a:lnTo>
                      <a:pt x="225" y="1093"/>
                    </a:lnTo>
                    <a:lnTo>
                      <a:pt x="222" y="1089"/>
                    </a:lnTo>
                    <a:lnTo>
                      <a:pt x="217" y="1077"/>
                    </a:lnTo>
                    <a:lnTo>
                      <a:pt x="217" y="1077"/>
                    </a:lnTo>
                    <a:lnTo>
                      <a:pt x="213" y="1080"/>
                    </a:lnTo>
                    <a:lnTo>
                      <a:pt x="207" y="1081"/>
                    </a:lnTo>
                    <a:lnTo>
                      <a:pt x="205" y="1082"/>
                    </a:lnTo>
                    <a:lnTo>
                      <a:pt x="205" y="1082"/>
                    </a:lnTo>
                    <a:lnTo>
                      <a:pt x="201" y="1086"/>
                    </a:lnTo>
                    <a:lnTo>
                      <a:pt x="197" y="1091"/>
                    </a:lnTo>
                    <a:lnTo>
                      <a:pt x="197" y="1091"/>
                    </a:lnTo>
                    <a:lnTo>
                      <a:pt x="190" y="1093"/>
                    </a:lnTo>
                    <a:lnTo>
                      <a:pt x="182" y="1096"/>
                    </a:lnTo>
                    <a:lnTo>
                      <a:pt x="182" y="1096"/>
                    </a:lnTo>
                    <a:lnTo>
                      <a:pt x="176" y="1100"/>
                    </a:lnTo>
                    <a:lnTo>
                      <a:pt x="169" y="1104"/>
                    </a:lnTo>
                    <a:lnTo>
                      <a:pt x="167" y="1103"/>
                    </a:lnTo>
                    <a:lnTo>
                      <a:pt x="167" y="1103"/>
                    </a:lnTo>
                    <a:lnTo>
                      <a:pt x="164" y="1105"/>
                    </a:lnTo>
                    <a:lnTo>
                      <a:pt x="163" y="1108"/>
                    </a:lnTo>
                    <a:lnTo>
                      <a:pt x="160" y="1108"/>
                    </a:lnTo>
                    <a:lnTo>
                      <a:pt x="161" y="1118"/>
                    </a:lnTo>
                    <a:lnTo>
                      <a:pt x="164" y="1119"/>
                    </a:lnTo>
                    <a:lnTo>
                      <a:pt x="165" y="1123"/>
                    </a:lnTo>
                    <a:lnTo>
                      <a:pt x="169" y="1126"/>
                    </a:lnTo>
                    <a:lnTo>
                      <a:pt x="169" y="1126"/>
                    </a:lnTo>
                    <a:lnTo>
                      <a:pt x="171" y="1130"/>
                    </a:lnTo>
                    <a:lnTo>
                      <a:pt x="174" y="1133"/>
                    </a:lnTo>
                    <a:lnTo>
                      <a:pt x="180" y="1138"/>
                    </a:lnTo>
                    <a:lnTo>
                      <a:pt x="180" y="1138"/>
                    </a:lnTo>
                    <a:lnTo>
                      <a:pt x="190" y="1149"/>
                    </a:lnTo>
                    <a:lnTo>
                      <a:pt x="188" y="1152"/>
                    </a:lnTo>
                    <a:lnTo>
                      <a:pt x="188" y="1152"/>
                    </a:lnTo>
                    <a:lnTo>
                      <a:pt x="191" y="1160"/>
                    </a:lnTo>
                    <a:lnTo>
                      <a:pt x="195" y="1167"/>
                    </a:lnTo>
                    <a:lnTo>
                      <a:pt x="197" y="1167"/>
                    </a:lnTo>
                    <a:lnTo>
                      <a:pt x="195" y="1171"/>
                    </a:lnTo>
                    <a:lnTo>
                      <a:pt x="198" y="1171"/>
                    </a:lnTo>
                    <a:lnTo>
                      <a:pt x="201" y="1171"/>
                    </a:lnTo>
                    <a:lnTo>
                      <a:pt x="201" y="1171"/>
                    </a:lnTo>
                    <a:lnTo>
                      <a:pt x="201" y="1172"/>
                    </a:lnTo>
                    <a:lnTo>
                      <a:pt x="202" y="1176"/>
                    </a:lnTo>
                    <a:lnTo>
                      <a:pt x="205" y="1176"/>
                    </a:lnTo>
                    <a:lnTo>
                      <a:pt x="205" y="1176"/>
                    </a:lnTo>
                    <a:lnTo>
                      <a:pt x="207" y="1177"/>
                    </a:lnTo>
                    <a:lnTo>
                      <a:pt x="210" y="1179"/>
                    </a:lnTo>
                    <a:lnTo>
                      <a:pt x="210" y="1179"/>
                    </a:lnTo>
                    <a:lnTo>
                      <a:pt x="205" y="1177"/>
                    </a:lnTo>
                    <a:lnTo>
                      <a:pt x="202" y="1177"/>
                    </a:lnTo>
                    <a:lnTo>
                      <a:pt x="199" y="1179"/>
                    </a:lnTo>
                    <a:lnTo>
                      <a:pt x="201" y="1181"/>
                    </a:lnTo>
                    <a:lnTo>
                      <a:pt x="198" y="1181"/>
                    </a:lnTo>
                    <a:lnTo>
                      <a:pt x="197" y="1183"/>
                    </a:lnTo>
                    <a:lnTo>
                      <a:pt x="194" y="1183"/>
                    </a:lnTo>
                    <a:lnTo>
                      <a:pt x="193" y="1184"/>
                    </a:lnTo>
                    <a:lnTo>
                      <a:pt x="193" y="1187"/>
                    </a:lnTo>
                    <a:lnTo>
                      <a:pt x="193" y="1187"/>
                    </a:lnTo>
                    <a:lnTo>
                      <a:pt x="198" y="1188"/>
                    </a:lnTo>
                    <a:lnTo>
                      <a:pt x="203" y="1192"/>
                    </a:lnTo>
                    <a:lnTo>
                      <a:pt x="203" y="1192"/>
                    </a:lnTo>
                    <a:lnTo>
                      <a:pt x="206" y="1191"/>
                    </a:lnTo>
                    <a:lnTo>
                      <a:pt x="207" y="1192"/>
                    </a:lnTo>
                    <a:lnTo>
                      <a:pt x="206" y="1192"/>
                    </a:lnTo>
                    <a:lnTo>
                      <a:pt x="217" y="1195"/>
                    </a:lnTo>
                    <a:lnTo>
                      <a:pt x="222" y="1196"/>
                    </a:lnTo>
                    <a:lnTo>
                      <a:pt x="225" y="1198"/>
                    </a:lnTo>
                    <a:lnTo>
                      <a:pt x="231" y="1203"/>
                    </a:lnTo>
                    <a:lnTo>
                      <a:pt x="232" y="1205"/>
                    </a:lnTo>
                    <a:lnTo>
                      <a:pt x="236" y="1207"/>
                    </a:lnTo>
                    <a:lnTo>
                      <a:pt x="236" y="1207"/>
                    </a:lnTo>
                    <a:lnTo>
                      <a:pt x="239" y="1210"/>
                    </a:lnTo>
                    <a:lnTo>
                      <a:pt x="245" y="1214"/>
                    </a:lnTo>
                    <a:lnTo>
                      <a:pt x="248" y="1217"/>
                    </a:lnTo>
                    <a:lnTo>
                      <a:pt x="250" y="1219"/>
                    </a:lnTo>
                    <a:lnTo>
                      <a:pt x="251" y="1221"/>
                    </a:lnTo>
                    <a:lnTo>
                      <a:pt x="254" y="1228"/>
                    </a:lnTo>
                    <a:lnTo>
                      <a:pt x="256" y="1229"/>
                    </a:lnTo>
                    <a:lnTo>
                      <a:pt x="260" y="1234"/>
                    </a:lnTo>
                    <a:lnTo>
                      <a:pt x="260" y="1236"/>
                    </a:lnTo>
                    <a:lnTo>
                      <a:pt x="260" y="1236"/>
                    </a:lnTo>
                    <a:lnTo>
                      <a:pt x="260" y="1237"/>
                    </a:lnTo>
                    <a:lnTo>
                      <a:pt x="260" y="1237"/>
                    </a:lnTo>
                    <a:lnTo>
                      <a:pt x="260" y="1241"/>
                    </a:lnTo>
                    <a:lnTo>
                      <a:pt x="259" y="1242"/>
                    </a:lnTo>
                    <a:lnTo>
                      <a:pt x="258" y="1244"/>
                    </a:lnTo>
                    <a:lnTo>
                      <a:pt x="250" y="1248"/>
                    </a:lnTo>
                    <a:lnTo>
                      <a:pt x="241" y="1252"/>
                    </a:lnTo>
                    <a:lnTo>
                      <a:pt x="240" y="1252"/>
                    </a:lnTo>
                    <a:lnTo>
                      <a:pt x="236" y="1251"/>
                    </a:lnTo>
                    <a:lnTo>
                      <a:pt x="235" y="1253"/>
                    </a:lnTo>
                    <a:lnTo>
                      <a:pt x="237" y="1257"/>
                    </a:lnTo>
                    <a:lnTo>
                      <a:pt x="239" y="1259"/>
                    </a:lnTo>
                    <a:lnTo>
                      <a:pt x="239" y="1260"/>
                    </a:lnTo>
                    <a:lnTo>
                      <a:pt x="241" y="1260"/>
                    </a:lnTo>
                    <a:lnTo>
                      <a:pt x="244" y="1267"/>
                    </a:lnTo>
                    <a:lnTo>
                      <a:pt x="248" y="1270"/>
                    </a:lnTo>
                    <a:lnTo>
                      <a:pt x="251" y="1272"/>
                    </a:lnTo>
                    <a:lnTo>
                      <a:pt x="252" y="1275"/>
                    </a:lnTo>
                    <a:lnTo>
                      <a:pt x="255" y="1275"/>
                    </a:lnTo>
                    <a:lnTo>
                      <a:pt x="255" y="1275"/>
                    </a:lnTo>
                    <a:lnTo>
                      <a:pt x="259" y="1276"/>
                    </a:lnTo>
                    <a:lnTo>
                      <a:pt x="264" y="1280"/>
                    </a:lnTo>
                    <a:lnTo>
                      <a:pt x="267" y="1280"/>
                    </a:lnTo>
                    <a:lnTo>
                      <a:pt x="271" y="1276"/>
                    </a:lnTo>
                    <a:lnTo>
                      <a:pt x="273" y="1275"/>
                    </a:lnTo>
                    <a:lnTo>
                      <a:pt x="275" y="1275"/>
                    </a:lnTo>
                    <a:lnTo>
                      <a:pt x="275" y="1276"/>
                    </a:lnTo>
                    <a:lnTo>
                      <a:pt x="275" y="1276"/>
                    </a:lnTo>
                    <a:lnTo>
                      <a:pt x="275" y="1279"/>
                    </a:lnTo>
                    <a:lnTo>
                      <a:pt x="274" y="1280"/>
                    </a:lnTo>
                    <a:lnTo>
                      <a:pt x="273" y="1282"/>
                    </a:lnTo>
                    <a:lnTo>
                      <a:pt x="273" y="1282"/>
                    </a:lnTo>
                    <a:lnTo>
                      <a:pt x="273" y="1285"/>
                    </a:lnTo>
                    <a:lnTo>
                      <a:pt x="271" y="1289"/>
                    </a:lnTo>
                    <a:lnTo>
                      <a:pt x="270" y="1290"/>
                    </a:lnTo>
                    <a:lnTo>
                      <a:pt x="269" y="1290"/>
                    </a:lnTo>
                    <a:lnTo>
                      <a:pt x="269" y="1290"/>
                    </a:lnTo>
                    <a:lnTo>
                      <a:pt x="267" y="1293"/>
                    </a:lnTo>
                    <a:lnTo>
                      <a:pt x="273" y="1297"/>
                    </a:lnTo>
                    <a:lnTo>
                      <a:pt x="275" y="1298"/>
                    </a:lnTo>
                    <a:lnTo>
                      <a:pt x="277" y="1298"/>
                    </a:lnTo>
                    <a:lnTo>
                      <a:pt x="275" y="1302"/>
                    </a:lnTo>
                    <a:lnTo>
                      <a:pt x="274" y="1305"/>
                    </a:lnTo>
                    <a:lnTo>
                      <a:pt x="275" y="1306"/>
                    </a:lnTo>
                    <a:lnTo>
                      <a:pt x="281" y="1308"/>
                    </a:lnTo>
                    <a:lnTo>
                      <a:pt x="282" y="1310"/>
                    </a:lnTo>
                    <a:lnTo>
                      <a:pt x="282" y="1310"/>
                    </a:lnTo>
                    <a:lnTo>
                      <a:pt x="282" y="1312"/>
                    </a:lnTo>
                    <a:lnTo>
                      <a:pt x="281" y="1314"/>
                    </a:lnTo>
                    <a:lnTo>
                      <a:pt x="282" y="1316"/>
                    </a:lnTo>
                    <a:lnTo>
                      <a:pt x="281" y="1318"/>
                    </a:lnTo>
                    <a:lnTo>
                      <a:pt x="283" y="1320"/>
                    </a:lnTo>
                    <a:lnTo>
                      <a:pt x="285" y="1321"/>
                    </a:lnTo>
                    <a:lnTo>
                      <a:pt x="282" y="1323"/>
                    </a:lnTo>
                    <a:lnTo>
                      <a:pt x="281" y="1324"/>
                    </a:lnTo>
                    <a:lnTo>
                      <a:pt x="281" y="1325"/>
                    </a:lnTo>
                    <a:lnTo>
                      <a:pt x="281" y="1325"/>
                    </a:lnTo>
                    <a:lnTo>
                      <a:pt x="281" y="1325"/>
                    </a:lnTo>
                    <a:lnTo>
                      <a:pt x="283" y="1327"/>
                    </a:lnTo>
                    <a:lnTo>
                      <a:pt x="283" y="1329"/>
                    </a:lnTo>
                    <a:lnTo>
                      <a:pt x="282" y="1332"/>
                    </a:lnTo>
                    <a:lnTo>
                      <a:pt x="282" y="1335"/>
                    </a:lnTo>
                    <a:lnTo>
                      <a:pt x="283" y="1337"/>
                    </a:lnTo>
                    <a:lnTo>
                      <a:pt x="289" y="1337"/>
                    </a:lnTo>
                    <a:lnTo>
                      <a:pt x="292" y="1343"/>
                    </a:lnTo>
                    <a:lnTo>
                      <a:pt x="290" y="1346"/>
                    </a:lnTo>
                    <a:lnTo>
                      <a:pt x="290" y="1347"/>
                    </a:lnTo>
                    <a:lnTo>
                      <a:pt x="292" y="1350"/>
                    </a:lnTo>
                    <a:lnTo>
                      <a:pt x="293" y="1351"/>
                    </a:lnTo>
                    <a:lnTo>
                      <a:pt x="296" y="1352"/>
                    </a:lnTo>
                    <a:lnTo>
                      <a:pt x="302" y="1355"/>
                    </a:lnTo>
                    <a:lnTo>
                      <a:pt x="307" y="1355"/>
                    </a:lnTo>
                    <a:lnTo>
                      <a:pt x="309" y="1352"/>
                    </a:lnTo>
                    <a:lnTo>
                      <a:pt x="312" y="1352"/>
                    </a:lnTo>
                    <a:lnTo>
                      <a:pt x="317" y="1355"/>
                    </a:lnTo>
                    <a:lnTo>
                      <a:pt x="317" y="1356"/>
                    </a:lnTo>
                    <a:lnTo>
                      <a:pt x="334" y="1359"/>
                    </a:lnTo>
                    <a:lnTo>
                      <a:pt x="340" y="1354"/>
                    </a:lnTo>
                    <a:lnTo>
                      <a:pt x="349" y="136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sp>
          <p:nvSpPr>
            <p:cNvPr id="104" name="Freeform 365">
              <a:extLst>
                <a:ext uri="{FF2B5EF4-FFF2-40B4-BE49-F238E27FC236}">
                  <a16:creationId xmlns:a16="http://schemas.microsoft.com/office/drawing/2014/main" id="{3ED45A1D-893E-45DE-A0AC-A9CD2C62DEBB}"/>
                </a:ext>
              </a:extLst>
            </p:cNvPr>
            <p:cNvSpPr>
              <a:spLocks/>
            </p:cNvSpPr>
            <p:nvPr/>
          </p:nvSpPr>
          <p:spPr bwMode="auto">
            <a:xfrm>
              <a:off x="3328988" y="4438719"/>
              <a:ext cx="693738" cy="819150"/>
            </a:xfrm>
            <a:custGeom>
              <a:avLst/>
              <a:gdLst>
                <a:gd name="T0" fmla="*/ 91 w 874"/>
                <a:gd name="T1" fmla="*/ 350 h 1034"/>
                <a:gd name="T2" fmla="*/ 65 w 874"/>
                <a:gd name="T3" fmla="*/ 438 h 1034"/>
                <a:gd name="T4" fmla="*/ 121 w 874"/>
                <a:gd name="T5" fmla="*/ 471 h 1034"/>
                <a:gd name="T6" fmla="*/ 153 w 874"/>
                <a:gd name="T7" fmla="*/ 524 h 1034"/>
                <a:gd name="T8" fmla="*/ 137 w 874"/>
                <a:gd name="T9" fmla="*/ 562 h 1034"/>
                <a:gd name="T10" fmla="*/ 178 w 874"/>
                <a:gd name="T11" fmla="*/ 610 h 1034"/>
                <a:gd name="T12" fmla="*/ 259 w 874"/>
                <a:gd name="T13" fmla="*/ 701 h 1034"/>
                <a:gd name="T14" fmla="*/ 279 w 874"/>
                <a:gd name="T15" fmla="*/ 809 h 1034"/>
                <a:gd name="T16" fmla="*/ 277 w 874"/>
                <a:gd name="T17" fmla="*/ 875 h 1034"/>
                <a:gd name="T18" fmla="*/ 262 w 874"/>
                <a:gd name="T19" fmla="*/ 963 h 1034"/>
                <a:gd name="T20" fmla="*/ 319 w 874"/>
                <a:gd name="T21" fmla="*/ 1016 h 1034"/>
                <a:gd name="T22" fmla="*/ 396 w 874"/>
                <a:gd name="T23" fmla="*/ 960 h 1034"/>
                <a:gd name="T24" fmla="*/ 437 w 874"/>
                <a:gd name="T25" fmla="*/ 971 h 1034"/>
                <a:gd name="T26" fmla="*/ 440 w 874"/>
                <a:gd name="T27" fmla="*/ 921 h 1034"/>
                <a:gd name="T28" fmla="*/ 499 w 874"/>
                <a:gd name="T29" fmla="*/ 889 h 1034"/>
                <a:gd name="T30" fmla="*/ 563 w 874"/>
                <a:gd name="T31" fmla="*/ 821 h 1034"/>
                <a:gd name="T32" fmla="*/ 589 w 874"/>
                <a:gd name="T33" fmla="*/ 775 h 1034"/>
                <a:gd name="T34" fmla="*/ 619 w 874"/>
                <a:gd name="T35" fmla="*/ 700 h 1034"/>
                <a:gd name="T36" fmla="*/ 566 w 874"/>
                <a:gd name="T37" fmla="*/ 651 h 1034"/>
                <a:gd name="T38" fmla="*/ 624 w 874"/>
                <a:gd name="T39" fmla="*/ 596 h 1034"/>
                <a:gd name="T40" fmla="*/ 722 w 874"/>
                <a:gd name="T41" fmla="*/ 593 h 1034"/>
                <a:gd name="T42" fmla="*/ 804 w 874"/>
                <a:gd name="T43" fmla="*/ 549 h 1034"/>
                <a:gd name="T44" fmla="*/ 821 w 874"/>
                <a:gd name="T45" fmla="*/ 498 h 1034"/>
                <a:gd name="T46" fmla="*/ 798 w 874"/>
                <a:gd name="T47" fmla="*/ 460 h 1034"/>
                <a:gd name="T48" fmla="*/ 771 w 874"/>
                <a:gd name="T49" fmla="*/ 450 h 1034"/>
                <a:gd name="T50" fmla="*/ 745 w 874"/>
                <a:gd name="T51" fmla="*/ 452 h 1034"/>
                <a:gd name="T52" fmla="*/ 769 w 874"/>
                <a:gd name="T53" fmla="*/ 430 h 1034"/>
                <a:gd name="T54" fmla="*/ 780 w 874"/>
                <a:gd name="T55" fmla="*/ 402 h 1034"/>
                <a:gd name="T56" fmla="*/ 800 w 874"/>
                <a:gd name="T57" fmla="*/ 377 h 1034"/>
                <a:gd name="T58" fmla="*/ 821 w 874"/>
                <a:gd name="T59" fmla="*/ 360 h 1034"/>
                <a:gd name="T60" fmla="*/ 844 w 874"/>
                <a:gd name="T61" fmla="*/ 339 h 1034"/>
                <a:gd name="T62" fmla="*/ 864 w 874"/>
                <a:gd name="T63" fmla="*/ 328 h 1034"/>
                <a:gd name="T64" fmla="*/ 872 w 874"/>
                <a:gd name="T65" fmla="*/ 285 h 1034"/>
                <a:gd name="T66" fmla="*/ 867 w 874"/>
                <a:gd name="T67" fmla="*/ 239 h 1034"/>
                <a:gd name="T68" fmla="*/ 837 w 874"/>
                <a:gd name="T69" fmla="*/ 167 h 1034"/>
                <a:gd name="T70" fmla="*/ 828 w 874"/>
                <a:gd name="T71" fmla="*/ 138 h 1034"/>
                <a:gd name="T72" fmla="*/ 821 w 874"/>
                <a:gd name="T73" fmla="*/ 125 h 1034"/>
                <a:gd name="T74" fmla="*/ 815 w 874"/>
                <a:gd name="T75" fmla="*/ 114 h 1034"/>
                <a:gd name="T76" fmla="*/ 802 w 874"/>
                <a:gd name="T77" fmla="*/ 92 h 1034"/>
                <a:gd name="T78" fmla="*/ 796 w 874"/>
                <a:gd name="T79" fmla="*/ 87 h 1034"/>
                <a:gd name="T80" fmla="*/ 784 w 874"/>
                <a:gd name="T81" fmla="*/ 73 h 1034"/>
                <a:gd name="T82" fmla="*/ 772 w 874"/>
                <a:gd name="T83" fmla="*/ 77 h 1034"/>
                <a:gd name="T84" fmla="*/ 749 w 874"/>
                <a:gd name="T85" fmla="*/ 60 h 1034"/>
                <a:gd name="T86" fmla="*/ 715 w 874"/>
                <a:gd name="T87" fmla="*/ 105 h 1034"/>
                <a:gd name="T88" fmla="*/ 666 w 874"/>
                <a:gd name="T89" fmla="*/ 57 h 1034"/>
                <a:gd name="T90" fmla="*/ 635 w 874"/>
                <a:gd name="T91" fmla="*/ 0 h 1034"/>
                <a:gd name="T92" fmla="*/ 562 w 874"/>
                <a:gd name="T93" fmla="*/ 50 h 1034"/>
                <a:gd name="T94" fmla="*/ 570 w 874"/>
                <a:gd name="T95" fmla="*/ 94 h 1034"/>
                <a:gd name="T96" fmla="*/ 461 w 874"/>
                <a:gd name="T97" fmla="*/ 91 h 1034"/>
                <a:gd name="T98" fmla="*/ 399 w 874"/>
                <a:gd name="T99" fmla="*/ 87 h 1034"/>
                <a:gd name="T100" fmla="*/ 339 w 874"/>
                <a:gd name="T101" fmla="*/ 140 h 1034"/>
                <a:gd name="T102" fmla="*/ 309 w 874"/>
                <a:gd name="T103" fmla="*/ 191 h 1034"/>
                <a:gd name="T104" fmla="*/ 267 w 874"/>
                <a:gd name="T105" fmla="*/ 178 h 1034"/>
                <a:gd name="T106" fmla="*/ 227 w 874"/>
                <a:gd name="T107" fmla="*/ 178 h 1034"/>
                <a:gd name="T108" fmla="*/ 175 w 874"/>
                <a:gd name="T109" fmla="*/ 190 h 1034"/>
                <a:gd name="T110" fmla="*/ 164 w 874"/>
                <a:gd name="T111" fmla="*/ 171 h 1034"/>
                <a:gd name="T112" fmla="*/ 85 w 874"/>
                <a:gd name="T113" fmla="*/ 90 h 1034"/>
                <a:gd name="T114" fmla="*/ 46 w 874"/>
                <a:gd name="T115" fmla="*/ 54 h 1034"/>
                <a:gd name="T116" fmla="*/ 16 w 874"/>
                <a:gd name="T117" fmla="*/ 91 h 1034"/>
                <a:gd name="T118" fmla="*/ 4 w 874"/>
                <a:gd name="T119" fmla="*/ 156 h 1034"/>
                <a:gd name="T120" fmla="*/ 12 w 874"/>
                <a:gd name="T121" fmla="*/ 237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1034">
                  <a:moveTo>
                    <a:pt x="27" y="256"/>
                  </a:moveTo>
                  <a:lnTo>
                    <a:pt x="46" y="266"/>
                  </a:lnTo>
                  <a:lnTo>
                    <a:pt x="57" y="269"/>
                  </a:lnTo>
                  <a:lnTo>
                    <a:pt x="77" y="290"/>
                  </a:lnTo>
                  <a:lnTo>
                    <a:pt x="77" y="304"/>
                  </a:lnTo>
                  <a:lnTo>
                    <a:pt x="91" y="324"/>
                  </a:lnTo>
                  <a:lnTo>
                    <a:pt x="91" y="331"/>
                  </a:lnTo>
                  <a:lnTo>
                    <a:pt x="88" y="334"/>
                  </a:lnTo>
                  <a:lnTo>
                    <a:pt x="91" y="350"/>
                  </a:lnTo>
                  <a:lnTo>
                    <a:pt x="94" y="351"/>
                  </a:lnTo>
                  <a:lnTo>
                    <a:pt x="91" y="358"/>
                  </a:lnTo>
                  <a:lnTo>
                    <a:pt x="94" y="361"/>
                  </a:lnTo>
                  <a:lnTo>
                    <a:pt x="100" y="369"/>
                  </a:lnTo>
                  <a:lnTo>
                    <a:pt x="99" y="388"/>
                  </a:lnTo>
                  <a:lnTo>
                    <a:pt x="76" y="403"/>
                  </a:lnTo>
                  <a:lnTo>
                    <a:pt x="75" y="422"/>
                  </a:lnTo>
                  <a:lnTo>
                    <a:pt x="66" y="431"/>
                  </a:lnTo>
                  <a:lnTo>
                    <a:pt x="65" y="438"/>
                  </a:lnTo>
                  <a:lnTo>
                    <a:pt x="75" y="453"/>
                  </a:lnTo>
                  <a:lnTo>
                    <a:pt x="75" y="459"/>
                  </a:lnTo>
                  <a:lnTo>
                    <a:pt x="81" y="463"/>
                  </a:lnTo>
                  <a:lnTo>
                    <a:pt x="85" y="460"/>
                  </a:lnTo>
                  <a:lnTo>
                    <a:pt x="89" y="463"/>
                  </a:lnTo>
                  <a:lnTo>
                    <a:pt x="94" y="461"/>
                  </a:lnTo>
                  <a:lnTo>
                    <a:pt x="106" y="471"/>
                  </a:lnTo>
                  <a:lnTo>
                    <a:pt x="113" y="476"/>
                  </a:lnTo>
                  <a:lnTo>
                    <a:pt x="121" y="471"/>
                  </a:lnTo>
                  <a:lnTo>
                    <a:pt x="121" y="475"/>
                  </a:lnTo>
                  <a:lnTo>
                    <a:pt x="125" y="472"/>
                  </a:lnTo>
                  <a:lnTo>
                    <a:pt x="148" y="479"/>
                  </a:lnTo>
                  <a:lnTo>
                    <a:pt x="163" y="492"/>
                  </a:lnTo>
                  <a:lnTo>
                    <a:pt x="155" y="503"/>
                  </a:lnTo>
                  <a:lnTo>
                    <a:pt x="160" y="506"/>
                  </a:lnTo>
                  <a:lnTo>
                    <a:pt x="161" y="513"/>
                  </a:lnTo>
                  <a:lnTo>
                    <a:pt x="153" y="520"/>
                  </a:lnTo>
                  <a:lnTo>
                    <a:pt x="153" y="524"/>
                  </a:lnTo>
                  <a:lnTo>
                    <a:pt x="151" y="522"/>
                  </a:lnTo>
                  <a:lnTo>
                    <a:pt x="148" y="525"/>
                  </a:lnTo>
                  <a:lnTo>
                    <a:pt x="144" y="521"/>
                  </a:lnTo>
                  <a:lnTo>
                    <a:pt x="140" y="525"/>
                  </a:lnTo>
                  <a:lnTo>
                    <a:pt x="134" y="522"/>
                  </a:lnTo>
                  <a:lnTo>
                    <a:pt x="123" y="543"/>
                  </a:lnTo>
                  <a:lnTo>
                    <a:pt x="125" y="548"/>
                  </a:lnTo>
                  <a:lnTo>
                    <a:pt x="119" y="556"/>
                  </a:lnTo>
                  <a:lnTo>
                    <a:pt x="137" y="562"/>
                  </a:lnTo>
                  <a:lnTo>
                    <a:pt x="138" y="575"/>
                  </a:lnTo>
                  <a:lnTo>
                    <a:pt x="145" y="573"/>
                  </a:lnTo>
                  <a:lnTo>
                    <a:pt x="157" y="577"/>
                  </a:lnTo>
                  <a:lnTo>
                    <a:pt x="159" y="574"/>
                  </a:lnTo>
                  <a:lnTo>
                    <a:pt x="163" y="578"/>
                  </a:lnTo>
                  <a:lnTo>
                    <a:pt x="161" y="582"/>
                  </a:lnTo>
                  <a:lnTo>
                    <a:pt x="175" y="594"/>
                  </a:lnTo>
                  <a:lnTo>
                    <a:pt x="179" y="604"/>
                  </a:lnTo>
                  <a:lnTo>
                    <a:pt x="178" y="610"/>
                  </a:lnTo>
                  <a:lnTo>
                    <a:pt x="168" y="615"/>
                  </a:lnTo>
                  <a:lnTo>
                    <a:pt x="171" y="624"/>
                  </a:lnTo>
                  <a:lnTo>
                    <a:pt x="175" y="628"/>
                  </a:lnTo>
                  <a:lnTo>
                    <a:pt x="172" y="639"/>
                  </a:lnTo>
                  <a:lnTo>
                    <a:pt x="184" y="647"/>
                  </a:lnTo>
                  <a:lnTo>
                    <a:pt x="186" y="655"/>
                  </a:lnTo>
                  <a:lnTo>
                    <a:pt x="217" y="670"/>
                  </a:lnTo>
                  <a:lnTo>
                    <a:pt x="233" y="681"/>
                  </a:lnTo>
                  <a:lnTo>
                    <a:pt x="259" y="701"/>
                  </a:lnTo>
                  <a:lnTo>
                    <a:pt x="266" y="705"/>
                  </a:lnTo>
                  <a:lnTo>
                    <a:pt x="290" y="739"/>
                  </a:lnTo>
                  <a:lnTo>
                    <a:pt x="292" y="742"/>
                  </a:lnTo>
                  <a:lnTo>
                    <a:pt x="304" y="765"/>
                  </a:lnTo>
                  <a:lnTo>
                    <a:pt x="313" y="788"/>
                  </a:lnTo>
                  <a:lnTo>
                    <a:pt x="312" y="791"/>
                  </a:lnTo>
                  <a:lnTo>
                    <a:pt x="296" y="795"/>
                  </a:lnTo>
                  <a:lnTo>
                    <a:pt x="281" y="804"/>
                  </a:lnTo>
                  <a:lnTo>
                    <a:pt x="279" y="809"/>
                  </a:lnTo>
                  <a:lnTo>
                    <a:pt x="300" y="817"/>
                  </a:lnTo>
                  <a:lnTo>
                    <a:pt x="292" y="832"/>
                  </a:lnTo>
                  <a:lnTo>
                    <a:pt x="294" y="834"/>
                  </a:lnTo>
                  <a:lnTo>
                    <a:pt x="298" y="847"/>
                  </a:lnTo>
                  <a:lnTo>
                    <a:pt x="292" y="855"/>
                  </a:lnTo>
                  <a:lnTo>
                    <a:pt x="283" y="859"/>
                  </a:lnTo>
                  <a:lnTo>
                    <a:pt x="279" y="867"/>
                  </a:lnTo>
                  <a:lnTo>
                    <a:pt x="273" y="864"/>
                  </a:lnTo>
                  <a:lnTo>
                    <a:pt x="277" y="875"/>
                  </a:lnTo>
                  <a:lnTo>
                    <a:pt x="282" y="878"/>
                  </a:lnTo>
                  <a:lnTo>
                    <a:pt x="283" y="889"/>
                  </a:lnTo>
                  <a:lnTo>
                    <a:pt x="274" y="894"/>
                  </a:lnTo>
                  <a:lnTo>
                    <a:pt x="263" y="894"/>
                  </a:lnTo>
                  <a:lnTo>
                    <a:pt x="259" y="909"/>
                  </a:lnTo>
                  <a:lnTo>
                    <a:pt x="288" y="952"/>
                  </a:lnTo>
                  <a:lnTo>
                    <a:pt x="278" y="952"/>
                  </a:lnTo>
                  <a:lnTo>
                    <a:pt x="260" y="959"/>
                  </a:lnTo>
                  <a:lnTo>
                    <a:pt x="262" y="963"/>
                  </a:lnTo>
                  <a:lnTo>
                    <a:pt x="269" y="965"/>
                  </a:lnTo>
                  <a:lnTo>
                    <a:pt x="263" y="981"/>
                  </a:lnTo>
                  <a:lnTo>
                    <a:pt x="277" y="1004"/>
                  </a:lnTo>
                  <a:lnTo>
                    <a:pt x="281" y="1027"/>
                  </a:lnTo>
                  <a:lnTo>
                    <a:pt x="283" y="1034"/>
                  </a:lnTo>
                  <a:lnTo>
                    <a:pt x="298" y="1028"/>
                  </a:lnTo>
                  <a:lnTo>
                    <a:pt x="315" y="1034"/>
                  </a:lnTo>
                  <a:lnTo>
                    <a:pt x="321" y="1031"/>
                  </a:lnTo>
                  <a:lnTo>
                    <a:pt x="319" y="1016"/>
                  </a:lnTo>
                  <a:lnTo>
                    <a:pt x="330" y="1013"/>
                  </a:lnTo>
                  <a:lnTo>
                    <a:pt x="336" y="1001"/>
                  </a:lnTo>
                  <a:lnTo>
                    <a:pt x="328" y="998"/>
                  </a:lnTo>
                  <a:lnTo>
                    <a:pt x="334" y="984"/>
                  </a:lnTo>
                  <a:lnTo>
                    <a:pt x="355" y="973"/>
                  </a:lnTo>
                  <a:lnTo>
                    <a:pt x="369" y="971"/>
                  </a:lnTo>
                  <a:lnTo>
                    <a:pt x="362" y="966"/>
                  </a:lnTo>
                  <a:lnTo>
                    <a:pt x="389" y="967"/>
                  </a:lnTo>
                  <a:lnTo>
                    <a:pt x="396" y="960"/>
                  </a:lnTo>
                  <a:lnTo>
                    <a:pt x="400" y="965"/>
                  </a:lnTo>
                  <a:lnTo>
                    <a:pt x="404" y="984"/>
                  </a:lnTo>
                  <a:lnTo>
                    <a:pt x="412" y="997"/>
                  </a:lnTo>
                  <a:lnTo>
                    <a:pt x="419" y="992"/>
                  </a:lnTo>
                  <a:lnTo>
                    <a:pt x="422" y="993"/>
                  </a:lnTo>
                  <a:lnTo>
                    <a:pt x="426" y="986"/>
                  </a:lnTo>
                  <a:lnTo>
                    <a:pt x="433" y="979"/>
                  </a:lnTo>
                  <a:lnTo>
                    <a:pt x="429" y="973"/>
                  </a:lnTo>
                  <a:lnTo>
                    <a:pt x="437" y="971"/>
                  </a:lnTo>
                  <a:lnTo>
                    <a:pt x="440" y="966"/>
                  </a:lnTo>
                  <a:lnTo>
                    <a:pt x="434" y="954"/>
                  </a:lnTo>
                  <a:lnTo>
                    <a:pt x="426" y="948"/>
                  </a:lnTo>
                  <a:lnTo>
                    <a:pt x="425" y="941"/>
                  </a:lnTo>
                  <a:lnTo>
                    <a:pt x="419" y="940"/>
                  </a:lnTo>
                  <a:lnTo>
                    <a:pt x="422" y="932"/>
                  </a:lnTo>
                  <a:lnTo>
                    <a:pt x="422" y="932"/>
                  </a:lnTo>
                  <a:lnTo>
                    <a:pt x="441" y="928"/>
                  </a:lnTo>
                  <a:lnTo>
                    <a:pt x="440" y="921"/>
                  </a:lnTo>
                  <a:lnTo>
                    <a:pt x="446" y="922"/>
                  </a:lnTo>
                  <a:lnTo>
                    <a:pt x="448" y="913"/>
                  </a:lnTo>
                  <a:lnTo>
                    <a:pt x="453" y="916"/>
                  </a:lnTo>
                  <a:lnTo>
                    <a:pt x="457" y="908"/>
                  </a:lnTo>
                  <a:lnTo>
                    <a:pt x="464" y="903"/>
                  </a:lnTo>
                  <a:lnTo>
                    <a:pt x="465" y="909"/>
                  </a:lnTo>
                  <a:lnTo>
                    <a:pt x="469" y="906"/>
                  </a:lnTo>
                  <a:lnTo>
                    <a:pt x="486" y="890"/>
                  </a:lnTo>
                  <a:lnTo>
                    <a:pt x="499" y="889"/>
                  </a:lnTo>
                  <a:lnTo>
                    <a:pt x="510" y="868"/>
                  </a:lnTo>
                  <a:lnTo>
                    <a:pt x="510" y="851"/>
                  </a:lnTo>
                  <a:lnTo>
                    <a:pt x="529" y="844"/>
                  </a:lnTo>
                  <a:lnTo>
                    <a:pt x="537" y="847"/>
                  </a:lnTo>
                  <a:lnTo>
                    <a:pt x="545" y="859"/>
                  </a:lnTo>
                  <a:lnTo>
                    <a:pt x="555" y="856"/>
                  </a:lnTo>
                  <a:lnTo>
                    <a:pt x="558" y="848"/>
                  </a:lnTo>
                  <a:lnTo>
                    <a:pt x="553" y="836"/>
                  </a:lnTo>
                  <a:lnTo>
                    <a:pt x="563" y="821"/>
                  </a:lnTo>
                  <a:lnTo>
                    <a:pt x="560" y="819"/>
                  </a:lnTo>
                  <a:lnTo>
                    <a:pt x="581" y="815"/>
                  </a:lnTo>
                  <a:lnTo>
                    <a:pt x="581" y="804"/>
                  </a:lnTo>
                  <a:lnTo>
                    <a:pt x="574" y="804"/>
                  </a:lnTo>
                  <a:lnTo>
                    <a:pt x="577" y="799"/>
                  </a:lnTo>
                  <a:lnTo>
                    <a:pt x="568" y="792"/>
                  </a:lnTo>
                  <a:lnTo>
                    <a:pt x="571" y="783"/>
                  </a:lnTo>
                  <a:lnTo>
                    <a:pt x="568" y="780"/>
                  </a:lnTo>
                  <a:lnTo>
                    <a:pt x="589" y="775"/>
                  </a:lnTo>
                  <a:lnTo>
                    <a:pt x="598" y="764"/>
                  </a:lnTo>
                  <a:lnTo>
                    <a:pt x="597" y="760"/>
                  </a:lnTo>
                  <a:lnTo>
                    <a:pt x="600" y="758"/>
                  </a:lnTo>
                  <a:lnTo>
                    <a:pt x="617" y="745"/>
                  </a:lnTo>
                  <a:lnTo>
                    <a:pt x="613" y="743"/>
                  </a:lnTo>
                  <a:lnTo>
                    <a:pt x="620" y="728"/>
                  </a:lnTo>
                  <a:lnTo>
                    <a:pt x="624" y="724"/>
                  </a:lnTo>
                  <a:lnTo>
                    <a:pt x="617" y="711"/>
                  </a:lnTo>
                  <a:lnTo>
                    <a:pt x="619" y="700"/>
                  </a:lnTo>
                  <a:lnTo>
                    <a:pt x="597" y="688"/>
                  </a:lnTo>
                  <a:lnTo>
                    <a:pt x="601" y="681"/>
                  </a:lnTo>
                  <a:lnTo>
                    <a:pt x="601" y="674"/>
                  </a:lnTo>
                  <a:lnTo>
                    <a:pt x="594" y="667"/>
                  </a:lnTo>
                  <a:lnTo>
                    <a:pt x="598" y="665"/>
                  </a:lnTo>
                  <a:lnTo>
                    <a:pt x="596" y="655"/>
                  </a:lnTo>
                  <a:lnTo>
                    <a:pt x="591" y="654"/>
                  </a:lnTo>
                  <a:lnTo>
                    <a:pt x="572" y="659"/>
                  </a:lnTo>
                  <a:lnTo>
                    <a:pt x="566" y="651"/>
                  </a:lnTo>
                  <a:lnTo>
                    <a:pt x="575" y="632"/>
                  </a:lnTo>
                  <a:lnTo>
                    <a:pt x="574" y="625"/>
                  </a:lnTo>
                  <a:lnTo>
                    <a:pt x="566" y="619"/>
                  </a:lnTo>
                  <a:lnTo>
                    <a:pt x="572" y="613"/>
                  </a:lnTo>
                  <a:lnTo>
                    <a:pt x="581" y="612"/>
                  </a:lnTo>
                  <a:lnTo>
                    <a:pt x="581" y="609"/>
                  </a:lnTo>
                  <a:lnTo>
                    <a:pt x="598" y="612"/>
                  </a:lnTo>
                  <a:lnTo>
                    <a:pt x="619" y="604"/>
                  </a:lnTo>
                  <a:lnTo>
                    <a:pt x="624" y="596"/>
                  </a:lnTo>
                  <a:lnTo>
                    <a:pt x="640" y="597"/>
                  </a:lnTo>
                  <a:lnTo>
                    <a:pt x="651" y="609"/>
                  </a:lnTo>
                  <a:lnTo>
                    <a:pt x="670" y="598"/>
                  </a:lnTo>
                  <a:lnTo>
                    <a:pt x="676" y="608"/>
                  </a:lnTo>
                  <a:lnTo>
                    <a:pt x="680" y="602"/>
                  </a:lnTo>
                  <a:lnTo>
                    <a:pt x="695" y="608"/>
                  </a:lnTo>
                  <a:lnTo>
                    <a:pt x="708" y="594"/>
                  </a:lnTo>
                  <a:lnTo>
                    <a:pt x="714" y="598"/>
                  </a:lnTo>
                  <a:lnTo>
                    <a:pt x="722" y="593"/>
                  </a:lnTo>
                  <a:lnTo>
                    <a:pt x="733" y="598"/>
                  </a:lnTo>
                  <a:lnTo>
                    <a:pt x="734" y="601"/>
                  </a:lnTo>
                  <a:lnTo>
                    <a:pt x="753" y="598"/>
                  </a:lnTo>
                  <a:lnTo>
                    <a:pt x="762" y="587"/>
                  </a:lnTo>
                  <a:lnTo>
                    <a:pt x="760" y="567"/>
                  </a:lnTo>
                  <a:lnTo>
                    <a:pt x="767" y="559"/>
                  </a:lnTo>
                  <a:lnTo>
                    <a:pt x="776" y="560"/>
                  </a:lnTo>
                  <a:lnTo>
                    <a:pt x="791" y="551"/>
                  </a:lnTo>
                  <a:lnTo>
                    <a:pt x="804" y="549"/>
                  </a:lnTo>
                  <a:lnTo>
                    <a:pt x="811" y="552"/>
                  </a:lnTo>
                  <a:lnTo>
                    <a:pt x="841" y="528"/>
                  </a:lnTo>
                  <a:lnTo>
                    <a:pt x="832" y="521"/>
                  </a:lnTo>
                  <a:lnTo>
                    <a:pt x="838" y="505"/>
                  </a:lnTo>
                  <a:lnTo>
                    <a:pt x="838" y="505"/>
                  </a:lnTo>
                  <a:lnTo>
                    <a:pt x="830" y="501"/>
                  </a:lnTo>
                  <a:lnTo>
                    <a:pt x="825" y="499"/>
                  </a:lnTo>
                  <a:lnTo>
                    <a:pt x="821" y="498"/>
                  </a:lnTo>
                  <a:lnTo>
                    <a:pt x="821" y="498"/>
                  </a:lnTo>
                  <a:lnTo>
                    <a:pt x="817" y="486"/>
                  </a:lnTo>
                  <a:lnTo>
                    <a:pt x="811" y="473"/>
                  </a:lnTo>
                  <a:lnTo>
                    <a:pt x="811" y="473"/>
                  </a:lnTo>
                  <a:lnTo>
                    <a:pt x="807" y="471"/>
                  </a:lnTo>
                  <a:lnTo>
                    <a:pt x="807" y="471"/>
                  </a:lnTo>
                  <a:lnTo>
                    <a:pt x="806" y="467"/>
                  </a:lnTo>
                  <a:lnTo>
                    <a:pt x="804" y="464"/>
                  </a:lnTo>
                  <a:lnTo>
                    <a:pt x="799" y="461"/>
                  </a:lnTo>
                  <a:lnTo>
                    <a:pt x="798" y="460"/>
                  </a:lnTo>
                  <a:lnTo>
                    <a:pt x="795" y="459"/>
                  </a:lnTo>
                  <a:lnTo>
                    <a:pt x="794" y="456"/>
                  </a:lnTo>
                  <a:lnTo>
                    <a:pt x="794" y="456"/>
                  </a:lnTo>
                  <a:lnTo>
                    <a:pt x="790" y="456"/>
                  </a:lnTo>
                  <a:lnTo>
                    <a:pt x="785" y="454"/>
                  </a:lnTo>
                  <a:lnTo>
                    <a:pt x="781" y="453"/>
                  </a:lnTo>
                  <a:lnTo>
                    <a:pt x="777" y="453"/>
                  </a:lnTo>
                  <a:lnTo>
                    <a:pt x="777" y="453"/>
                  </a:lnTo>
                  <a:lnTo>
                    <a:pt x="771" y="450"/>
                  </a:lnTo>
                  <a:lnTo>
                    <a:pt x="767" y="449"/>
                  </a:lnTo>
                  <a:lnTo>
                    <a:pt x="764" y="450"/>
                  </a:lnTo>
                  <a:lnTo>
                    <a:pt x="762" y="448"/>
                  </a:lnTo>
                  <a:lnTo>
                    <a:pt x="761" y="448"/>
                  </a:lnTo>
                  <a:lnTo>
                    <a:pt x="760" y="449"/>
                  </a:lnTo>
                  <a:lnTo>
                    <a:pt x="754" y="449"/>
                  </a:lnTo>
                  <a:lnTo>
                    <a:pt x="750" y="452"/>
                  </a:lnTo>
                  <a:lnTo>
                    <a:pt x="745" y="452"/>
                  </a:lnTo>
                  <a:lnTo>
                    <a:pt x="745" y="452"/>
                  </a:lnTo>
                  <a:lnTo>
                    <a:pt x="750" y="446"/>
                  </a:lnTo>
                  <a:lnTo>
                    <a:pt x="754" y="441"/>
                  </a:lnTo>
                  <a:lnTo>
                    <a:pt x="750" y="438"/>
                  </a:lnTo>
                  <a:lnTo>
                    <a:pt x="753" y="435"/>
                  </a:lnTo>
                  <a:lnTo>
                    <a:pt x="753" y="434"/>
                  </a:lnTo>
                  <a:lnTo>
                    <a:pt x="754" y="433"/>
                  </a:lnTo>
                  <a:lnTo>
                    <a:pt x="757" y="434"/>
                  </a:lnTo>
                  <a:lnTo>
                    <a:pt x="769" y="430"/>
                  </a:lnTo>
                  <a:lnTo>
                    <a:pt x="769" y="430"/>
                  </a:lnTo>
                  <a:lnTo>
                    <a:pt x="769" y="427"/>
                  </a:lnTo>
                  <a:lnTo>
                    <a:pt x="768" y="425"/>
                  </a:lnTo>
                  <a:lnTo>
                    <a:pt x="768" y="425"/>
                  </a:lnTo>
                  <a:lnTo>
                    <a:pt x="771" y="419"/>
                  </a:lnTo>
                  <a:lnTo>
                    <a:pt x="773" y="414"/>
                  </a:lnTo>
                  <a:lnTo>
                    <a:pt x="773" y="414"/>
                  </a:lnTo>
                  <a:lnTo>
                    <a:pt x="776" y="411"/>
                  </a:lnTo>
                  <a:lnTo>
                    <a:pt x="776" y="411"/>
                  </a:lnTo>
                  <a:lnTo>
                    <a:pt x="780" y="402"/>
                  </a:lnTo>
                  <a:lnTo>
                    <a:pt x="783" y="398"/>
                  </a:lnTo>
                  <a:lnTo>
                    <a:pt x="787" y="395"/>
                  </a:lnTo>
                  <a:lnTo>
                    <a:pt x="787" y="392"/>
                  </a:lnTo>
                  <a:lnTo>
                    <a:pt x="791" y="388"/>
                  </a:lnTo>
                  <a:lnTo>
                    <a:pt x="791" y="387"/>
                  </a:lnTo>
                  <a:lnTo>
                    <a:pt x="791" y="387"/>
                  </a:lnTo>
                  <a:lnTo>
                    <a:pt x="794" y="385"/>
                  </a:lnTo>
                  <a:lnTo>
                    <a:pt x="796" y="383"/>
                  </a:lnTo>
                  <a:lnTo>
                    <a:pt x="800" y="377"/>
                  </a:lnTo>
                  <a:lnTo>
                    <a:pt x="800" y="377"/>
                  </a:lnTo>
                  <a:lnTo>
                    <a:pt x="804" y="376"/>
                  </a:lnTo>
                  <a:lnTo>
                    <a:pt x="804" y="376"/>
                  </a:lnTo>
                  <a:lnTo>
                    <a:pt x="810" y="369"/>
                  </a:lnTo>
                  <a:lnTo>
                    <a:pt x="811" y="368"/>
                  </a:lnTo>
                  <a:lnTo>
                    <a:pt x="813" y="365"/>
                  </a:lnTo>
                  <a:lnTo>
                    <a:pt x="818" y="362"/>
                  </a:lnTo>
                  <a:lnTo>
                    <a:pt x="819" y="360"/>
                  </a:lnTo>
                  <a:lnTo>
                    <a:pt x="821" y="360"/>
                  </a:lnTo>
                  <a:lnTo>
                    <a:pt x="821" y="360"/>
                  </a:lnTo>
                  <a:lnTo>
                    <a:pt x="825" y="355"/>
                  </a:lnTo>
                  <a:lnTo>
                    <a:pt x="828" y="353"/>
                  </a:lnTo>
                  <a:lnTo>
                    <a:pt x="830" y="351"/>
                  </a:lnTo>
                  <a:lnTo>
                    <a:pt x="832" y="347"/>
                  </a:lnTo>
                  <a:lnTo>
                    <a:pt x="832" y="347"/>
                  </a:lnTo>
                  <a:lnTo>
                    <a:pt x="834" y="345"/>
                  </a:lnTo>
                  <a:lnTo>
                    <a:pt x="837" y="342"/>
                  </a:lnTo>
                  <a:lnTo>
                    <a:pt x="844" y="339"/>
                  </a:lnTo>
                  <a:lnTo>
                    <a:pt x="845" y="334"/>
                  </a:lnTo>
                  <a:lnTo>
                    <a:pt x="848" y="334"/>
                  </a:lnTo>
                  <a:lnTo>
                    <a:pt x="848" y="334"/>
                  </a:lnTo>
                  <a:lnTo>
                    <a:pt x="851" y="330"/>
                  </a:lnTo>
                  <a:lnTo>
                    <a:pt x="855" y="328"/>
                  </a:lnTo>
                  <a:lnTo>
                    <a:pt x="856" y="326"/>
                  </a:lnTo>
                  <a:lnTo>
                    <a:pt x="856" y="326"/>
                  </a:lnTo>
                  <a:lnTo>
                    <a:pt x="860" y="327"/>
                  </a:lnTo>
                  <a:lnTo>
                    <a:pt x="864" y="328"/>
                  </a:lnTo>
                  <a:lnTo>
                    <a:pt x="868" y="323"/>
                  </a:lnTo>
                  <a:lnTo>
                    <a:pt x="868" y="311"/>
                  </a:lnTo>
                  <a:lnTo>
                    <a:pt x="868" y="311"/>
                  </a:lnTo>
                  <a:lnTo>
                    <a:pt x="870" y="304"/>
                  </a:lnTo>
                  <a:lnTo>
                    <a:pt x="872" y="296"/>
                  </a:lnTo>
                  <a:lnTo>
                    <a:pt x="872" y="296"/>
                  </a:lnTo>
                  <a:lnTo>
                    <a:pt x="872" y="290"/>
                  </a:lnTo>
                  <a:lnTo>
                    <a:pt x="872" y="285"/>
                  </a:lnTo>
                  <a:lnTo>
                    <a:pt x="872" y="285"/>
                  </a:lnTo>
                  <a:lnTo>
                    <a:pt x="874" y="273"/>
                  </a:lnTo>
                  <a:lnTo>
                    <a:pt x="872" y="267"/>
                  </a:lnTo>
                  <a:lnTo>
                    <a:pt x="871" y="261"/>
                  </a:lnTo>
                  <a:lnTo>
                    <a:pt x="871" y="261"/>
                  </a:lnTo>
                  <a:lnTo>
                    <a:pt x="868" y="252"/>
                  </a:lnTo>
                  <a:lnTo>
                    <a:pt x="868" y="252"/>
                  </a:lnTo>
                  <a:lnTo>
                    <a:pt x="868" y="246"/>
                  </a:lnTo>
                  <a:lnTo>
                    <a:pt x="867" y="239"/>
                  </a:lnTo>
                  <a:lnTo>
                    <a:pt x="867" y="239"/>
                  </a:lnTo>
                  <a:lnTo>
                    <a:pt x="861" y="221"/>
                  </a:lnTo>
                  <a:lnTo>
                    <a:pt x="855" y="204"/>
                  </a:lnTo>
                  <a:lnTo>
                    <a:pt x="855" y="204"/>
                  </a:lnTo>
                  <a:lnTo>
                    <a:pt x="849" y="197"/>
                  </a:lnTo>
                  <a:lnTo>
                    <a:pt x="849" y="197"/>
                  </a:lnTo>
                  <a:lnTo>
                    <a:pt x="847" y="189"/>
                  </a:lnTo>
                  <a:lnTo>
                    <a:pt x="844" y="179"/>
                  </a:lnTo>
                  <a:lnTo>
                    <a:pt x="844" y="179"/>
                  </a:lnTo>
                  <a:lnTo>
                    <a:pt x="837" y="167"/>
                  </a:lnTo>
                  <a:lnTo>
                    <a:pt x="837" y="167"/>
                  </a:lnTo>
                  <a:lnTo>
                    <a:pt x="832" y="157"/>
                  </a:lnTo>
                  <a:lnTo>
                    <a:pt x="830" y="152"/>
                  </a:lnTo>
                  <a:lnTo>
                    <a:pt x="829" y="147"/>
                  </a:lnTo>
                  <a:lnTo>
                    <a:pt x="830" y="147"/>
                  </a:lnTo>
                  <a:lnTo>
                    <a:pt x="829" y="142"/>
                  </a:lnTo>
                  <a:lnTo>
                    <a:pt x="826" y="142"/>
                  </a:lnTo>
                  <a:lnTo>
                    <a:pt x="826" y="140"/>
                  </a:lnTo>
                  <a:lnTo>
                    <a:pt x="828" y="138"/>
                  </a:lnTo>
                  <a:lnTo>
                    <a:pt x="826" y="137"/>
                  </a:lnTo>
                  <a:lnTo>
                    <a:pt x="826" y="134"/>
                  </a:lnTo>
                  <a:lnTo>
                    <a:pt x="823" y="130"/>
                  </a:lnTo>
                  <a:lnTo>
                    <a:pt x="821" y="130"/>
                  </a:lnTo>
                  <a:lnTo>
                    <a:pt x="821" y="132"/>
                  </a:lnTo>
                  <a:lnTo>
                    <a:pt x="819" y="130"/>
                  </a:lnTo>
                  <a:lnTo>
                    <a:pt x="821" y="128"/>
                  </a:lnTo>
                  <a:lnTo>
                    <a:pt x="818" y="126"/>
                  </a:lnTo>
                  <a:lnTo>
                    <a:pt x="821" y="125"/>
                  </a:lnTo>
                  <a:lnTo>
                    <a:pt x="821" y="125"/>
                  </a:lnTo>
                  <a:lnTo>
                    <a:pt x="818" y="121"/>
                  </a:lnTo>
                  <a:lnTo>
                    <a:pt x="815" y="119"/>
                  </a:lnTo>
                  <a:lnTo>
                    <a:pt x="814" y="119"/>
                  </a:lnTo>
                  <a:lnTo>
                    <a:pt x="811" y="117"/>
                  </a:lnTo>
                  <a:lnTo>
                    <a:pt x="811" y="114"/>
                  </a:lnTo>
                  <a:lnTo>
                    <a:pt x="813" y="114"/>
                  </a:lnTo>
                  <a:lnTo>
                    <a:pt x="815" y="117"/>
                  </a:lnTo>
                  <a:lnTo>
                    <a:pt x="815" y="114"/>
                  </a:lnTo>
                  <a:lnTo>
                    <a:pt x="814" y="111"/>
                  </a:lnTo>
                  <a:lnTo>
                    <a:pt x="811" y="111"/>
                  </a:lnTo>
                  <a:lnTo>
                    <a:pt x="810" y="111"/>
                  </a:lnTo>
                  <a:lnTo>
                    <a:pt x="810" y="109"/>
                  </a:lnTo>
                  <a:lnTo>
                    <a:pt x="813" y="107"/>
                  </a:lnTo>
                  <a:lnTo>
                    <a:pt x="809" y="106"/>
                  </a:lnTo>
                  <a:lnTo>
                    <a:pt x="810" y="103"/>
                  </a:lnTo>
                  <a:lnTo>
                    <a:pt x="806" y="95"/>
                  </a:lnTo>
                  <a:lnTo>
                    <a:pt x="802" y="92"/>
                  </a:lnTo>
                  <a:lnTo>
                    <a:pt x="800" y="88"/>
                  </a:lnTo>
                  <a:lnTo>
                    <a:pt x="802" y="88"/>
                  </a:lnTo>
                  <a:lnTo>
                    <a:pt x="803" y="90"/>
                  </a:lnTo>
                  <a:lnTo>
                    <a:pt x="803" y="88"/>
                  </a:lnTo>
                  <a:lnTo>
                    <a:pt x="798" y="81"/>
                  </a:lnTo>
                  <a:lnTo>
                    <a:pt x="796" y="80"/>
                  </a:lnTo>
                  <a:lnTo>
                    <a:pt x="795" y="81"/>
                  </a:lnTo>
                  <a:lnTo>
                    <a:pt x="796" y="84"/>
                  </a:lnTo>
                  <a:lnTo>
                    <a:pt x="796" y="87"/>
                  </a:lnTo>
                  <a:lnTo>
                    <a:pt x="794" y="87"/>
                  </a:lnTo>
                  <a:lnTo>
                    <a:pt x="790" y="86"/>
                  </a:lnTo>
                  <a:lnTo>
                    <a:pt x="790" y="81"/>
                  </a:lnTo>
                  <a:lnTo>
                    <a:pt x="792" y="79"/>
                  </a:lnTo>
                  <a:lnTo>
                    <a:pt x="792" y="79"/>
                  </a:lnTo>
                  <a:lnTo>
                    <a:pt x="791" y="77"/>
                  </a:lnTo>
                  <a:lnTo>
                    <a:pt x="790" y="76"/>
                  </a:lnTo>
                  <a:lnTo>
                    <a:pt x="787" y="76"/>
                  </a:lnTo>
                  <a:lnTo>
                    <a:pt x="784" y="73"/>
                  </a:lnTo>
                  <a:lnTo>
                    <a:pt x="783" y="73"/>
                  </a:lnTo>
                  <a:lnTo>
                    <a:pt x="785" y="80"/>
                  </a:lnTo>
                  <a:lnTo>
                    <a:pt x="784" y="81"/>
                  </a:lnTo>
                  <a:lnTo>
                    <a:pt x="781" y="81"/>
                  </a:lnTo>
                  <a:lnTo>
                    <a:pt x="779" y="80"/>
                  </a:lnTo>
                  <a:lnTo>
                    <a:pt x="777" y="77"/>
                  </a:lnTo>
                  <a:lnTo>
                    <a:pt x="775" y="80"/>
                  </a:lnTo>
                  <a:lnTo>
                    <a:pt x="772" y="77"/>
                  </a:lnTo>
                  <a:lnTo>
                    <a:pt x="772" y="77"/>
                  </a:lnTo>
                  <a:lnTo>
                    <a:pt x="769" y="72"/>
                  </a:lnTo>
                  <a:lnTo>
                    <a:pt x="767" y="68"/>
                  </a:lnTo>
                  <a:lnTo>
                    <a:pt x="762" y="67"/>
                  </a:lnTo>
                  <a:lnTo>
                    <a:pt x="757" y="65"/>
                  </a:lnTo>
                  <a:lnTo>
                    <a:pt x="756" y="62"/>
                  </a:lnTo>
                  <a:lnTo>
                    <a:pt x="754" y="65"/>
                  </a:lnTo>
                  <a:lnTo>
                    <a:pt x="750" y="62"/>
                  </a:lnTo>
                  <a:lnTo>
                    <a:pt x="750" y="62"/>
                  </a:lnTo>
                  <a:lnTo>
                    <a:pt x="749" y="60"/>
                  </a:lnTo>
                  <a:lnTo>
                    <a:pt x="748" y="61"/>
                  </a:lnTo>
                  <a:lnTo>
                    <a:pt x="729" y="67"/>
                  </a:lnTo>
                  <a:lnTo>
                    <a:pt x="726" y="62"/>
                  </a:lnTo>
                  <a:lnTo>
                    <a:pt x="719" y="64"/>
                  </a:lnTo>
                  <a:lnTo>
                    <a:pt x="716" y="81"/>
                  </a:lnTo>
                  <a:lnTo>
                    <a:pt x="710" y="84"/>
                  </a:lnTo>
                  <a:lnTo>
                    <a:pt x="711" y="88"/>
                  </a:lnTo>
                  <a:lnTo>
                    <a:pt x="704" y="94"/>
                  </a:lnTo>
                  <a:lnTo>
                    <a:pt x="715" y="105"/>
                  </a:lnTo>
                  <a:lnTo>
                    <a:pt x="701" y="117"/>
                  </a:lnTo>
                  <a:lnTo>
                    <a:pt x="696" y="115"/>
                  </a:lnTo>
                  <a:lnTo>
                    <a:pt x="689" y="109"/>
                  </a:lnTo>
                  <a:lnTo>
                    <a:pt x="688" y="96"/>
                  </a:lnTo>
                  <a:lnTo>
                    <a:pt x="677" y="95"/>
                  </a:lnTo>
                  <a:lnTo>
                    <a:pt x="674" y="86"/>
                  </a:lnTo>
                  <a:lnTo>
                    <a:pt x="666" y="84"/>
                  </a:lnTo>
                  <a:lnTo>
                    <a:pt x="669" y="69"/>
                  </a:lnTo>
                  <a:lnTo>
                    <a:pt x="666" y="57"/>
                  </a:lnTo>
                  <a:lnTo>
                    <a:pt x="662" y="57"/>
                  </a:lnTo>
                  <a:lnTo>
                    <a:pt x="674" y="37"/>
                  </a:lnTo>
                  <a:lnTo>
                    <a:pt x="670" y="33"/>
                  </a:lnTo>
                  <a:lnTo>
                    <a:pt x="661" y="35"/>
                  </a:lnTo>
                  <a:lnTo>
                    <a:pt x="657" y="24"/>
                  </a:lnTo>
                  <a:lnTo>
                    <a:pt x="650" y="24"/>
                  </a:lnTo>
                  <a:lnTo>
                    <a:pt x="651" y="19"/>
                  </a:lnTo>
                  <a:lnTo>
                    <a:pt x="640" y="1"/>
                  </a:lnTo>
                  <a:lnTo>
                    <a:pt x="635" y="0"/>
                  </a:lnTo>
                  <a:lnTo>
                    <a:pt x="632" y="19"/>
                  </a:lnTo>
                  <a:lnTo>
                    <a:pt x="619" y="41"/>
                  </a:lnTo>
                  <a:lnTo>
                    <a:pt x="615" y="41"/>
                  </a:lnTo>
                  <a:lnTo>
                    <a:pt x="589" y="39"/>
                  </a:lnTo>
                  <a:lnTo>
                    <a:pt x="585" y="33"/>
                  </a:lnTo>
                  <a:lnTo>
                    <a:pt x="577" y="43"/>
                  </a:lnTo>
                  <a:lnTo>
                    <a:pt x="571" y="45"/>
                  </a:lnTo>
                  <a:lnTo>
                    <a:pt x="571" y="49"/>
                  </a:lnTo>
                  <a:lnTo>
                    <a:pt x="562" y="50"/>
                  </a:lnTo>
                  <a:lnTo>
                    <a:pt x="559" y="56"/>
                  </a:lnTo>
                  <a:lnTo>
                    <a:pt x="585" y="50"/>
                  </a:lnTo>
                  <a:lnTo>
                    <a:pt x="587" y="57"/>
                  </a:lnTo>
                  <a:lnTo>
                    <a:pt x="593" y="58"/>
                  </a:lnTo>
                  <a:lnTo>
                    <a:pt x="594" y="68"/>
                  </a:lnTo>
                  <a:lnTo>
                    <a:pt x="563" y="76"/>
                  </a:lnTo>
                  <a:lnTo>
                    <a:pt x="567" y="81"/>
                  </a:lnTo>
                  <a:lnTo>
                    <a:pt x="564" y="91"/>
                  </a:lnTo>
                  <a:lnTo>
                    <a:pt x="570" y="94"/>
                  </a:lnTo>
                  <a:lnTo>
                    <a:pt x="536" y="105"/>
                  </a:lnTo>
                  <a:lnTo>
                    <a:pt x="513" y="106"/>
                  </a:lnTo>
                  <a:lnTo>
                    <a:pt x="510" y="88"/>
                  </a:lnTo>
                  <a:lnTo>
                    <a:pt x="513" y="72"/>
                  </a:lnTo>
                  <a:lnTo>
                    <a:pt x="478" y="64"/>
                  </a:lnTo>
                  <a:lnTo>
                    <a:pt x="472" y="76"/>
                  </a:lnTo>
                  <a:lnTo>
                    <a:pt x="467" y="77"/>
                  </a:lnTo>
                  <a:lnTo>
                    <a:pt x="465" y="90"/>
                  </a:lnTo>
                  <a:lnTo>
                    <a:pt x="461" y="91"/>
                  </a:lnTo>
                  <a:lnTo>
                    <a:pt x="461" y="98"/>
                  </a:lnTo>
                  <a:lnTo>
                    <a:pt x="456" y="105"/>
                  </a:lnTo>
                  <a:lnTo>
                    <a:pt x="429" y="98"/>
                  </a:lnTo>
                  <a:lnTo>
                    <a:pt x="427" y="100"/>
                  </a:lnTo>
                  <a:lnTo>
                    <a:pt x="412" y="102"/>
                  </a:lnTo>
                  <a:lnTo>
                    <a:pt x="411" y="99"/>
                  </a:lnTo>
                  <a:lnTo>
                    <a:pt x="418" y="92"/>
                  </a:lnTo>
                  <a:lnTo>
                    <a:pt x="404" y="76"/>
                  </a:lnTo>
                  <a:lnTo>
                    <a:pt x="399" y="87"/>
                  </a:lnTo>
                  <a:lnTo>
                    <a:pt x="387" y="95"/>
                  </a:lnTo>
                  <a:lnTo>
                    <a:pt x="383" y="114"/>
                  </a:lnTo>
                  <a:lnTo>
                    <a:pt x="376" y="121"/>
                  </a:lnTo>
                  <a:lnTo>
                    <a:pt x="370" y="122"/>
                  </a:lnTo>
                  <a:lnTo>
                    <a:pt x="370" y="118"/>
                  </a:lnTo>
                  <a:lnTo>
                    <a:pt x="349" y="122"/>
                  </a:lnTo>
                  <a:lnTo>
                    <a:pt x="342" y="134"/>
                  </a:lnTo>
                  <a:lnTo>
                    <a:pt x="339" y="133"/>
                  </a:lnTo>
                  <a:lnTo>
                    <a:pt x="339" y="140"/>
                  </a:lnTo>
                  <a:lnTo>
                    <a:pt x="332" y="144"/>
                  </a:lnTo>
                  <a:lnTo>
                    <a:pt x="334" y="152"/>
                  </a:lnTo>
                  <a:lnTo>
                    <a:pt x="328" y="156"/>
                  </a:lnTo>
                  <a:lnTo>
                    <a:pt x="331" y="164"/>
                  </a:lnTo>
                  <a:lnTo>
                    <a:pt x="321" y="163"/>
                  </a:lnTo>
                  <a:lnTo>
                    <a:pt x="324" y="171"/>
                  </a:lnTo>
                  <a:lnTo>
                    <a:pt x="330" y="171"/>
                  </a:lnTo>
                  <a:lnTo>
                    <a:pt x="331" y="174"/>
                  </a:lnTo>
                  <a:lnTo>
                    <a:pt x="309" y="191"/>
                  </a:lnTo>
                  <a:lnTo>
                    <a:pt x="308" y="195"/>
                  </a:lnTo>
                  <a:lnTo>
                    <a:pt x="297" y="193"/>
                  </a:lnTo>
                  <a:lnTo>
                    <a:pt x="293" y="198"/>
                  </a:lnTo>
                  <a:lnTo>
                    <a:pt x="278" y="193"/>
                  </a:lnTo>
                  <a:lnTo>
                    <a:pt x="274" y="190"/>
                  </a:lnTo>
                  <a:lnTo>
                    <a:pt x="277" y="183"/>
                  </a:lnTo>
                  <a:lnTo>
                    <a:pt x="273" y="179"/>
                  </a:lnTo>
                  <a:lnTo>
                    <a:pt x="273" y="179"/>
                  </a:lnTo>
                  <a:lnTo>
                    <a:pt x="267" y="178"/>
                  </a:lnTo>
                  <a:lnTo>
                    <a:pt x="264" y="183"/>
                  </a:lnTo>
                  <a:lnTo>
                    <a:pt x="263" y="182"/>
                  </a:lnTo>
                  <a:lnTo>
                    <a:pt x="258" y="189"/>
                  </a:lnTo>
                  <a:lnTo>
                    <a:pt x="251" y="187"/>
                  </a:lnTo>
                  <a:lnTo>
                    <a:pt x="248" y="190"/>
                  </a:lnTo>
                  <a:lnTo>
                    <a:pt x="239" y="187"/>
                  </a:lnTo>
                  <a:lnTo>
                    <a:pt x="240" y="178"/>
                  </a:lnTo>
                  <a:lnTo>
                    <a:pt x="231" y="174"/>
                  </a:lnTo>
                  <a:lnTo>
                    <a:pt x="227" y="178"/>
                  </a:lnTo>
                  <a:lnTo>
                    <a:pt x="220" y="176"/>
                  </a:lnTo>
                  <a:lnTo>
                    <a:pt x="213" y="180"/>
                  </a:lnTo>
                  <a:lnTo>
                    <a:pt x="214" y="186"/>
                  </a:lnTo>
                  <a:lnTo>
                    <a:pt x="210" y="189"/>
                  </a:lnTo>
                  <a:lnTo>
                    <a:pt x="205" y="187"/>
                  </a:lnTo>
                  <a:lnTo>
                    <a:pt x="197" y="189"/>
                  </a:lnTo>
                  <a:lnTo>
                    <a:pt x="184" y="197"/>
                  </a:lnTo>
                  <a:lnTo>
                    <a:pt x="175" y="195"/>
                  </a:lnTo>
                  <a:lnTo>
                    <a:pt x="175" y="190"/>
                  </a:lnTo>
                  <a:lnTo>
                    <a:pt x="168" y="193"/>
                  </a:lnTo>
                  <a:lnTo>
                    <a:pt x="167" y="186"/>
                  </a:lnTo>
                  <a:lnTo>
                    <a:pt x="161" y="193"/>
                  </a:lnTo>
                  <a:lnTo>
                    <a:pt x="160" y="189"/>
                  </a:lnTo>
                  <a:lnTo>
                    <a:pt x="157" y="186"/>
                  </a:lnTo>
                  <a:lnTo>
                    <a:pt x="151" y="190"/>
                  </a:lnTo>
                  <a:lnTo>
                    <a:pt x="148" y="187"/>
                  </a:lnTo>
                  <a:lnTo>
                    <a:pt x="156" y="174"/>
                  </a:lnTo>
                  <a:lnTo>
                    <a:pt x="164" y="171"/>
                  </a:lnTo>
                  <a:lnTo>
                    <a:pt x="137" y="159"/>
                  </a:lnTo>
                  <a:lnTo>
                    <a:pt x="140" y="142"/>
                  </a:lnTo>
                  <a:lnTo>
                    <a:pt x="122" y="136"/>
                  </a:lnTo>
                  <a:lnTo>
                    <a:pt x="122" y="129"/>
                  </a:lnTo>
                  <a:lnTo>
                    <a:pt x="113" y="129"/>
                  </a:lnTo>
                  <a:lnTo>
                    <a:pt x="106" y="122"/>
                  </a:lnTo>
                  <a:lnTo>
                    <a:pt x="107" y="100"/>
                  </a:lnTo>
                  <a:lnTo>
                    <a:pt x="98" y="99"/>
                  </a:lnTo>
                  <a:lnTo>
                    <a:pt x="85" y="90"/>
                  </a:lnTo>
                  <a:lnTo>
                    <a:pt x="88" y="76"/>
                  </a:lnTo>
                  <a:lnTo>
                    <a:pt x="83" y="73"/>
                  </a:lnTo>
                  <a:lnTo>
                    <a:pt x="85" y="71"/>
                  </a:lnTo>
                  <a:lnTo>
                    <a:pt x="79" y="69"/>
                  </a:lnTo>
                  <a:lnTo>
                    <a:pt x="79" y="65"/>
                  </a:lnTo>
                  <a:lnTo>
                    <a:pt x="70" y="65"/>
                  </a:lnTo>
                  <a:lnTo>
                    <a:pt x="60" y="53"/>
                  </a:lnTo>
                  <a:lnTo>
                    <a:pt x="51" y="57"/>
                  </a:lnTo>
                  <a:lnTo>
                    <a:pt x="46" y="54"/>
                  </a:lnTo>
                  <a:lnTo>
                    <a:pt x="46" y="53"/>
                  </a:lnTo>
                  <a:lnTo>
                    <a:pt x="38" y="65"/>
                  </a:lnTo>
                  <a:lnTo>
                    <a:pt x="41" y="71"/>
                  </a:lnTo>
                  <a:lnTo>
                    <a:pt x="39" y="72"/>
                  </a:lnTo>
                  <a:lnTo>
                    <a:pt x="30" y="76"/>
                  </a:lnTo>
                  <a:lnTo>
                    <a:pt x="24" y="72"/>
                  </a:lnTo>
                  <a:lnTo>
                    <a:pt x="22" y="76"/>
                  </a:lnTo>
                  <a:lnTo>
                    <a:pt x="20" y="86"/>
                  </a:lnTo>
                  <a:lnTo>
                    <a:pt x="16" y="91"/>
                  </a:lnTo>
                  <a:lnTo>
                    <a:pt x="19" y="102"/>
                  </a:lnTo>
                  <a:lnTo>
                    <a:pt x="9" y="115"/>
                  </a:lnTo>
                  <a:lnTo>
                    <a:pt x="11" y="118"/>
                  </a:lnTo>
                  <a:lnTo>
                    <a:pt x="7" y="115"/>
                  </a:lnTo>
                  <a:lnTo>
                    <a:pt x="3" y="122"/>
                  </a:lnTo>
                  <a:lnTo>
                    <a:pt x="7" y="130"/>
                  </a:lnTo>
                  <a:lnTo>
                    <a:pt x="15" y="132"/>
                  </a:lnTo>
                  <a:lnTo>
                    <a:pt x="11" y="149"/>
                  </a:lnTo>
                  <a:lnTo>
                    <a:pt x="4" y="156"/>
                  </a:lnTo>
                  <a:lnTo>
                    <a:pt x="0" y="156"/>
                  </a:lnTo>
                  <a:lnTo>
                    <a:pt x="1" y="159"/>
                  </a:lnTo>
                  <a:lnTo>
                    <a:pt x="1" y="163"/>
                  </a:lnTo>
                  <a:lnTo>
                    <a:pt x="8" y="164"/>
                  </a:lnTo>
                  <a:lnTo>
                    <a:pt x="11" y="174"/>
                  </a:lnTo>
                  <a:lnTo>
                    <a:pt x="7" y="182"/>
                  </a:lnTo>
                  <a:lnTo>
                    <a:pt x="11" y="191"/>
                  </a:lnTo>
                  <a:lnTo>
                    <a:pt x="8" y="227"/>
                  </a:lnTo>
                  <a:lnTo>
                    <a:pt x="12" y="237"/>
                  </a:lnTo>
                  <a:lnTo>
                    <a:pt x="20" y="246"/>
                  </a:lnTo>
                  <a:lnTo>
                    <a:pt x="15" y="251"/>
                  </a:lnTo>
                  <a:lnTo>
                    <a:pt x="16" y="256"/>
                  </a:lnTo>
                  <a:lnTo>
                    <a:pt x="16" y="258"/>
                  </a:lnTo>
                  <a:lnTo>
                    <a:pt x="26" y="250"/>
                  </a:lnTo>
                  <a:lnTo>
                    <a:pt x="27" y="25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nvGrpSpPr>
            <p:cNvPr id="105" name="Group 104">
              <a:extLst>
                <a:ext uri="{FF2B5EF4-FFF2-40B4-BE49-F238E27FC236}">
                  <a16:creationId xmlns:a16="http://schemas.microsoft.com/office/drawing/2014/main" id="{C26ACDD0-95BD-4A04-8813-C244D2332630}"/>
                </a:ext>
              </a:extLst>
            </p:cNvPr>
            <p:cNvGrpSpPr/>
            <p:nvPr/>
          </p:nvGrpSpPr>
          <p:grpSpPr>
            <a:xfrm>
              <a:off x="3354388" y="5113406"/>
              <a:ext cx="982663" cy="820738"/>
              <a:chOff x="3354388" y="5113406"/>
              <a:chExt cx="982663" cy="820738"/>
            </a:xfrm>
            <a:grpFill/>
          </p:grpSpPr>
          <p:sp>
            <p:nvSpPr>
              <p:cNvPr id="276" name="Freeform 343">
                <a:extLst>
                  <a:ext uri="{FF2B5EF4-FFF2-40B4-BE49-F238E27FC236}">
                    <a16:creationId xmlns:a16="http://schemas.microsoft.com/office/drawing/2014/main" id="{3C3EABD5-2521-4ABC-85B7-D180E7C23172}"/>
                  </a:ext>
                </a:extLst>
              </p:cNvPr>
              <p:cNvSpPr>
                <a:spLocks/>
              </p:cNvSpPr>
              <p:nvPr/>
            </p:nvSpPr>
            <p:spPr bwMode="auto">
              <a:xfrm>
                <a:off x="3460750" y="5840481"/>
                <a:ext cx="147638" cy="93663"/>
              </a:xfrm>
              <a:custGeom>
                <a:avLst/>
                <a:gdLst>
                  <a:gd name="T0" fmla="*/ 178 w 184"/>
                  <a:gd name="T1" fmla="*/ 45 h 120"/>
                  <a:gd name="T2" fmla="*/ 184 w 184"/>
                  <a:gd name="T3" fmla="*/ 49 h 120"/>
                  <a:gd name="T4" fmla="*/ 175 w 184"/>
                  <a:gd name="T5" fmla="*/ 63 h 120"/>
                  <a:gd name="T6" fmla="*/ 161 w 184"/>
                  <a:gd name="T7" fmla="*/ 65 h 120"/>
                  <a:gd name="T8" fmla="*/ 152 w 184"/>
                  <a:gd name="T9" fmla="*/ 73 h 120"/>
                  <a:gd name="T10" fmla="*/ 148 w 184"/>
                  <a:gd name="T11" fmla="*/ 94 h 120"/>
                  <a:gd name="T12" fmla="*/ 146 w 184"/>
                  <a:gd name="T13" fmla="*/ 102 h 120"/>
                  <a:gd name="T14" fmla="*/ 145 w 184"/>
                  <a:gd name="T15" fmla="*/ 105 h 120"/>
                  <a:gd name="T16" fmla="*/ 133 w 184"/>
                  <a:gd name="T17" fmla="*/ 109 h 120"/>
                  <a:gd name="T18" fmla="*/ 122 w 184"/>
                  <a:gd name="T19" fmla="*/ 114 h 120"/>
                  <a:gd name="T20" fmla="*/ 111 w 184"/>
                  <a:gd name="T21" fmla="*/ 117 h 120"/>
                  <a:gd name="T22" fmla="*/ 99 w 184"/>
                  <a:gd name="T23" fmla="*/ 117 h 120"/>
                  <a:gd name="T24" fmla="*/ 93 w 184"/>
                  <a:gd name="T25" fmla="*/ 107 h 120"/>
                  <a:gd name="T26" fmla="*/ 80 w 184"/>
                  <a:gd name="T27" fmla="*/ 98 h 120"/>
                  <a:gd name="T28" fmla="*/ 73 w 184"/>
                  <a:gd name="T29" fmla="*/ 90 h 120"/>
                  <a:gd name="T30" fmla="*/ 65 w 184"/>
                  <a:gd name="T31" fmla="*/ 83 h 120"/>
                  <a:gd name="T32" fmla="*/ 46 w 184"/>
                  <a:gd name="T33" fmla="*/ 72 h 120"/>
                  <a:gd name="T34" fmla="*/ 42 w 184"/>
                  <a:gd name="T35" fmla="*/ 71 h 120"/>
                  <a:gd name="T36" fmla="*/ 26 w 184"/>
                  <a:gd name="T37" fmla="*/ 60 h 120"/>
                  <a:gd name="T38" fmla="*/ 5 w 184"/>
                  <a:gd name="T39" fmla="*/ 65 h 120"/>
                  <a:gd name="T40" fmla="*/ 5 w 184"/>
                  <a:gd name="T41" fmla="*/ 57 h 120"/>
                  <a:gd name="T42" fmla="*/ 12 w 184"/>
                  <a:gd name="T43" fmla="*/ 54 h 120"/>
                  <a:gd name="T44" fmla="*/ 13 w 184"/>
                  <a:gd name="T45" fmla="*/ 49 h 120"/>
                  <a:gd name="T46" fmla="*/ 19 w 184"/>
                  <a:gd name="T47" fmla="*/ 41 h 120"/>
                  <a:gd name="T48" fmla="*/ 27 w 184"/>
                  <a:gd name="T49" fmla="*/ 38 h 120"/>
                  <a:gd name="T50" fmla="*/ 27 w 184"/>
                  <a:gd name="T51" fmla="*/ 45 h 120"/>
                  <a:gd name="T52" fmla="*/ 28 w 184"/>
                  <a:gd name="T53" fmla="*/ 52 h 120"/>
                  <a:gd name="T54" fmla="*/ 30 w 184"/>
                  <a:gd name="T55" fmla="*/ 46 h 120"/>
                  <a:gd name="T56" fmla="*/ 30 w 184"/>
                  <a:gd name="T57" fmla="*/ 38 h 120"/>
                  <a:gd name="T58" fmla="*/ 35 w 184"/>
                  <a:gd name="T59" fmla="*/ 37 h 120"/>
                  <a:gd name="T60" fmla="*/ 47 w 184"/>
                  <a:gd name="T61" fmla="*/ 31 h 120"/>
                  <a:gd name="T62" fmla="*/ 61 w 184"/>
                  <a:gd name="T63" fmla="*/ 26 h 120"/>
                  <a:gd name="T64" fmla="*/ 57 w 184"/>
                  <a:gd name="T65" fmla="*/ 34 h 120"/>
                  <a:gd name="T66" fmla="*/ 61 w 184"/>
                  <a:gd name="T67" fmla="*/ 33 h 120"/>
                  <a:gd name="T68" fmla="*/ 62 w 184"/>
                  <a:gd name="T69" fmla="*/ 34 h 120"/>
                  <a:gd name="T70" fmla="*/ 62 w 184"/>
                  <a:gd name="T71" fmla="*/ 30 h 120"/>
                  <a:gd name="T72" fmla="*/ 66 w 184"/>
                  <a:gd name="T73" fmla="*/ 31 h 120"/>
                  <a:gd name="T74" fmla="*/ 73 w 184"/>
                  <a:gd name="T75" fmla="*/ 33 h 120"/>
                  <a:gd name="T76" fmla="*/ 76 w 184"/>
                  <a:gd name="T77" fmla="*/ 30 h 120"/>
                  <a:gd name="T78" fmla="*/ 72 w 184"/>
                  <a:gd name="T79" fmla="*/ 27 h 120"/>
                  <a:gd name="T80" fmla="*/ 62 w 184"/>
                  <a:gd name="T81" fmla="*/ 26 h 120"/>
                  <a:gd name="T82" fmla="*/ 84 w 184"/>
                  <a:gd name="T83" fmla="*/ 17 h 120"/>
                  <a:gd name="T84" fmla="*/ 85 w 184"/>
                  <a:gd name="T85" fmla="*/ 11 h 120"/>
                  <a:gd name="T86" fmla="*/ 92 w 184"/>
                  <a:gd name="T87" fmla="*/ 6 h 120"/>
                  <a:gd name="T88" fmla="*/ 96 w 184"/>
                  <a:gd name="T89" fmla="*/ 2 h 120"/>
                  <a:gd name="T90" fmla="*/ 103 w 184"/>
                  <a:gd name="T91" fmla="*/ 0 h 120"/>
                  <a:gd name="T92" fmla="*/ 106 w 184"/>
                  <a:gd name="T93" fmla="*/ 14 h 120"/>
                  <a:gd name="T94" fmla="*/ 108 w 184"/>
                  <a:gd name="T95" fmla="*/ 23 h 120"/>
                  <a:gd name="T96" fmla="*/ 106 w 184"/>
                  <a:gd name="T97" fmla="*/ 38 h 120"/>
                  <a:gd name="T98" fmla="*/ 107 w 184"/>
                  <a:gd name="T99" fmla="*/ 12 h 120"/>
                  <a:gd name="T100" fmla="*/ 110 w 184"/>
                  <a:gd name="T101" fmla="*/ 0 h 120"/>
                  <a:gd name="T102" fmla="*/ 118 w 184"/>
                  <a:gd name="T103" fmla="*/ 7 h 120"/>
                  <a:gd name="T104" fmla="*/ 126 w 184"/>
                  <a:gd name="T105" fmla="*/ 15 h 120"/>
                  <a:gd name="T106" fmla="*/ 134 w 184"/>
                  <a:gd name="T107" fmla="*/ 19 h 120"/>
                  <a:gd name="T108" fmla="*/ 153 w 184"/>
                  <a:gd name="T109" fmla="*/ 21 h 120"/>
                  <a:gd name="T110" fmla="*/ 160 w 184"/>
                  <a:gd name="T111" fmla="*/ 25 h 120"/>
                  <a:gd name="T112" fmla="*/ 169 w 184"/>
                  <a:gd name="T113" fmla="*/ 27 h 120"/>
                  <a:gd name="T114" fmla="*/ 175 w 184"/>
                  <a:gd name="T115" fmla="*/ 41 h 120"/>
                  <a:gd name="T116" fmla="*/ 171 w 184"/>
                  <a:gd name="T117" fmla="*/ 4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20">
                    <a:moveTo>
                      <a:pt x="171" y="45"/>
                    </a:moveTo>
                    <a:lnTo>
                      <a:pt x="173" y="48"/>
                    </a:lnTo>
                    <a:lnTo>
                      <a:pt x="178" y="45"/>
                    </a:lnTo>
                    <a:lnTo>
                      <a:pt x="178" y="45"/>
                    </a:lnTo>
                    <a:lnTo>
                      <a:pt x="182" y="46"/>
                    </a:lnTo>
                    <a:lnTo>
                      <a:pt x="184" y="49"/>
                    </a:lnTo>
                    <a:lnTo>
                      <a:pt x="184" y="52"/>
                    </a:lnTo>
                    <a:lnTo>
                      <a:pt x="176" y="60"/>
                    </a:lnTo>
                    <a:lnTo>
                      <a:pt x="175" y="63"/>
                    </a:lnTo>
                    <a:lnTo>
                      <a:pt x="175" y="63"/>
                    </a:lnTo>
                    <a:lnTo>
                      <a:pt x="168" y="64"/>
                    </a:lnTo>
                    <a:lnTo>
                      <a:pt x="161" y="65"/>
                    </a:lnTo>
                    <a:lnTo>
                      <a:pt x="156" y="69"/>
                    </a:lnTo>
                    <a:lnTo>
                      <a:pt x="152" y="73"/>
                    </a:lnTo>
                    <a:lnTo>
                      <a:pt x="152" y="73"/>
                    </a:lnTo>
                    <a:lnTo>
                      <a:pt x="149" y="79"/>
                    </a:lnTo>
                    <a:lnTo>
                      <a:pt x="148" y="83"/>
                    </a:lnTo>
                    <a:lnTo>
                      <a:pt x="148" y="94"/>
                    </a:lnTo>
                    <a:lnTo>
                      <a:pt x="148" y="94"/>
                    </a:lnTo>
                    <a:lnTo>
                      <a:pt x="146" y="98"/>
                    </a:lnTo>
                    <a:lnTo>
                      <a:pt x="146" y="102"/>
                    </a:lnTo>
                    <a:lnTo>
                      <a:pt x="146" y="102"/>
                    </a:lnTo>
                    <a:lnTo>
                      <a:pt x="145" y="105"/>
                    </a:lnTo>
                    <a:lnTo>
                      <a:pt x="145" y="105"/>
                    </a:lnTo>
                    <a:lnTo>
                      <a:pt x="138" y="107"/>
                    </a:lnTo>
                    <a:lnTo>
                      <a:pt x="133" y="109"/>
                    </a:lnTo>
                    <a:lnTo>
                      <a:pt x="133" y="109"/>
                    </a:lnTo>
                    <a:lnTo>
                      <a:pt x="127" y="111"/>
                    </a:lnTo>
                    <a:lnTo>
                      <a:pt x="122" y="114"/>
                    </a:lnTo>
                    <a:lnTo>
                      <a:pt x="122" y="114"/>
                    </a:lnTo>
                    <a:lnTo>
                      <a:pt x="116" y="116"/>
                    </a:lnTo>
                    <a:lnTo>
                      <a:pt x="111" y="117"/>
                    </a:lnTo>
                    <a:lnTo>
                      <a:pt x="111" y="117"/>
                    </a:lnTo>
                    <a:lnTo>
                      <a:pt x="104" y="118"/>
                    </a:lnTo>
                    <a:lnTo>
                      <a:pt x="102" y="120"/>
                    </a:lnTo>
                    <a:lnTo>
                      <a:pt x="99" y="117"/>
                    </a:lnTo>
                    <a:lnTo>
                      <a:pt x="99" y="117"/>
                    </a:lnTo>
                    <a:lnTo>
                      <a:pt x="96" y="113"/>
                    </a:lnTo>
                    <a:lnTo>
                      <a:pt x="93" y="107"/>
                    </a:lnTo>
                    <a:lnTo>
                      <a:pt x="84" y="99"/>
                    </a:lnTo>
                    <a:lnTo>
                      <a:pt x="84" y="99"/>
                    </a:lnTo>
                    <a:lnTo>
                      <a:pt x="80" y="98"/>
                    </a:lnTo>
                    <a:lnTo>
                      <a:pt x="80" y="98"/>
                    </a:lnTo>
                    <a:lnTo>
                      <a:pt x="76" y="94"/>
                    </a:lnTo>
                    <a:lnTo>
                      <a:pt x="73" y="90"/>
                    </a:lnTo>
                    <a:lnTo>
                      <a:pt x="70" y="87"/>
                    </a:lnTo>
                    <a:lnTo>
                      <a:pt x="65" y="83"/>
                    </a:lnTo>
                    <a:lnTo>
                      <a:pt x="65" y="83"/>
                    </a:lnTo>
                    <a:lnTo>
                      <a:pt x="49" y="76"/>
                    </a:lnTo>
                    <a:lnTo>
                      <a:pt x="49" y="76"/>
                    </a:lnTo>
                    <a:lnTo>
                      <a:pt x="46" y="72"/>
                    </a:lnTo>
                    <a:lnTo>
                      <a:pt x="46" y="72"/>
                    </a:lnTo>
                    <a:lnTo>
                      <a:pt x="42" y="71"/>
                    </a:lnTo>
                    <a:lnTo>
                      <a:pt x="42" y="71"/>
                    </a:lnTo>
                    <a:lnTo>
                      <a:pt x="36" y="63"/>
                    </a:lnTo>
                    <a:lnTo>
                      <a:pt x="32" y="61"/>
                    </a:lnTo>
                    <a:lnTo>
                      <a:pt x="26" y="60"/>
                    </a:lnTo>
                    <a:lnTo>
                      <a:pt x="26" y="60"/>
                    </a:lnTo>
                    <a:lnTo>
                      <a:pt x="13" y="64"/>
                    </a:lnTo>
                    <a:lnTo>
                      <a:pt x="5" y="65"/>
                    </a:lnTo>
                    <a:lnTo>
                      <a:pt x="0" y="65"/>
                    </a:lnTo>
                    <a:lnTo>
                      <a:pt x="5" y="63"/>
                    </a:lnTo>
                    <a:lnTo>
                      <a:pt x="5" y="57"/>
                    </a:lnTo>
                    <a:lnTo>
                      <a:pt x="9" y="56"/>
                    </a:lnTo>
                    <a:lnTo>
                      <a:pt x="9" y="56"/>
                    </a:lnTo>
                    <a:lnTo>
                      <a:pt x="12" y="54"/>
                    </a:lnTo>
                    <a:lnTo>
                      <a:pt x="12" y="53"/>
                    </a:lnTo>
                    <a:lnTo>
                      <a:pt x="13" y="49"/>
                    </a:lnTo>
                    <a:lnTo>
                      <a:pt x="13" y="49"/>
                    </a:lnTo>
                    <a:lnTo>
                      <a:pt x="17" y="46"/>
                    </a:lnTo>
                    <a:lnTo>
                      <a:pt x="17" y="44"/>
                    </a:lnTo>
                    <a:lnTo>
                      <a:pt x="19" y="41"/>
                    </a:lnTo>
                    <a:lnTo>
                      <a:pt x="22" y="38"/>
                    </a:lnTo>
                    <a:lnTo>
                      <a:pt x="27" y="38"/>
                    </a:lnTo>
                    <a:lnTo>
                      <a:pt x="27" y="38"/>
                    </a:lnTo>
                    <a:lnTo>
                      <a:pt x="28" y="42"/>
                    </a:lnTo>
                    <a:lnTo>
                      <a:pt x="28" y="42"/>
                    </a:lnTo>
                    <a:lnTo>
                      <a:pt x="27" y="45"/>
                    </a:lnTo>
                    <a:lnTo>
                      <a:pt x="28" y="49"/>
                    </a:lnTo>
                    <a:lnTo>
                      <a:pt x="27" y="52"/>
                    </a:lnTo>
                    <a:lnTo>
                      <a:pt x="28" y="52"/>
                    </a:lnTo>
                    <a:lnTo>
                      <a:pt x="30" y="50"/>
                    </a:lnTo>
                    <a:lnTo>
                      <a:pt x="30" y="46"/>
                    </a:lnTo>
                    <a:lnTo>
                      <a:pt x="30" y="46"/>
                    </a:lnTo>
                    <a:lnTo>
                      <a:pt x="31" y="44"/>
                    </a:lnTo>
                    <a:lnTo>
                      <a:pt x="31" y="41"/>
                    </a:lnTo>
                    <a:lnTo>
                      <a:pt x="30" y="38"/>
                    </a:lnTo>
                    <a:lnTo>
                      <a:pt x="30" y="38"/>
                    </a:lnTo>
                    <a:lnTo>
                      <a:pt x="32" y="37"/>
                    </a:lnTo>
                    <a:lnTo>
                      <a:pt x="35" y="37"/>
                    </a:lnTo>
                    <a:lnTo>
                      <a:pt x="35" y="37"/>
                    </a:lnTo>
                    <a:lnTo>
                      <a:pt x="41" y="35"/>
                    </a:lnTo>
                    <a:lnTo>
                      <a:pt x="47" y="31"/>
                    </a:lnTo>
                    <a:lnTo>
                      <a:pt x="57" y="25"/>
                    </a:lnTo>
                    <a:lnTo>
                      <a:pt x="61" y="26"/>
                    </a:lnTo>
                    <a:lnTo>
                      <a:pt x="61" y="26"/>
                    </a:lnTo>
                    <a:lnTo>
                      <a:pt x="61" y="29"/>
                    </a:lnTo>
                    <a:lnTo>
                      <a:pt x="61" y="31"/>
                    </a:lnTo>
                    <a:lnTo>
                      <a:pt x="57" y="34"/>
                    </a:lnTo>
                    <a:lnTo>
                      <a:pt x="57" y="38"/>
                    </a:lnTo>
                    <a:lnTo>
                      <a:pt x="60" y="33"/>
                    </a:lnTo>
                    <a:lnTo>
                      <a:pt x="61" y="33"/>
                    </a:lnTo>
                    <a:lnTo>
                      <a:pt x="61" y="38"/>
                    </a:lnTo>
                    <a:lnTo>
                      <a:pt x="62" y="35"/>
                    </a:lnTo>
                    <a:lnTo>
                      <a:pt x="62" y="34"/>
                    </a:lnTo>
                    <a:lnTo>
                      <a:pt x="65" y="34"/>
                    </a:lnTo>
                    <a:lnTo>
                      <a:pt x="62" y="31"/>
                    </a:lnTo>
                    <a:lnTo>
                      <a:pt x="62" y="30"/>
                    </a:lnTo>
                    <a:lnTo>
                      <a:pt x="64" y="29"/>
                    </a:lnTo>
                    <a:lnTo>
                      <a:pt x="64" y="31"/>
                    </a:lnTo>
                    <a:lnTo>
                      <a:pt x="66" y="31"/>
                    </a:lnTo>
                    <a:lnTo>
                      <a:pt x="68" y="30"/>
                    </a:lnTo>
                    <a:lnTo>
                      <a:pt x="68" y="31"/>
                    </a:lnTo>
                    <a:lnTo>
                      <a:pt x="73" y="33"/>
                    </a:lnTo>
                    <a:lnTo>
                      <a:pt x="74" y="34"/>
                    </a:lnTo>
                    <a:lnTo>
                      <a:pt x="74" y="31"/>
                    </a:lnTo>
                    <a:lnTo>
                      <a:pt x="76" y="30"/>
                    </a:lnTo>
                    <a:lnTo>
                      <a:pt x="72" y="31"/>
                    </a:lnTo>
                    <a:lnTo>
                      <a:pt x="69" y="30"/>
                    </a:lnTo>
                    <a:lnTo>
                      <a:pt x="72" y="27"/>
                    </a:lnTo>
                    <a:lnTo>
                      <a:pt x="69" y="26"/>
                    </a:lnTo>
                    <a:lnTo>
                      <a:pt x="62" y="26"/>
                    </a:lnTo>
                    <a:lnTo>
                      <a:pt x="62" y="26"/>
                    </a:lnTo>
                    <a:lnTo>
                      <a:pt x="73" y="21"/>
                    </a:lnTo>
                    <a:lnTo>
                      <a:pt x="84" y="17"/>
                    </a:lnTo>
                    <a:lnTo>
                      <a:pt x="84" y="17"/>
                    </a:lnTo>
                    <a:lnTo>
                      <a:pt x="85" y="15"/>
                    </a:lnTo>
                    <a:lnTo>
                      <a:pt x="85" y="14"/>
                    </a:lnTo>
                    <a:lnTo>
                      <a:pt x="85" y="11"/>
                    </a:lnTo>
                    <a:lnTo>
                      <a:pt x="85" y="11"/>
                    </a:lnTo>
                    <a:lnTo>
                      <a:pt x="89" y="7"/>
                    </a:lnTo>
                    <a:lnTo>
                      <a:pt x="92" y="6"/>
                    </a:lnTo>
                    <a:lnTo>
                      <a:pt x="92" y="6"/>
                    </a:lnTo>
                    <a:lnTo>
                      <a:pt x="95" y="3"/>
                    </a:lnTo>
                    <a:lnTo>
                      <a:pt x="96" y="2"/>
                    </a:lnTo>
                    <a:lnTo>
                      <a:pt x="97" y="0"/>
                    </a:lnTo>
                    <a:lnTo>
                      <a:pt x="103" y="0"/>
                    </a:lnTo>
                    <a:lnTo>
                      <a:pt x="103" y="0"/>
                    </a:lnTo>
                    <a:lnTo>
                      <a:pt x="104" y="7"/>
                    </a:lnTo>
                    <a:lnTo>
                      <a:pt x="106" y="14"/>
                    </a:lnTo>
                    <a:lnTo>
                      <a:pt x="106" y="14"/>
                    </a:lnTo>
                    <a:lnTo>
                      <a:pt x="107" y="18"/>
                    </a:lnTo>
                    <a:lnTo>
                      <a:pt x="108" y="23"/>
                    </a:lnTo>
                    <a:lnTo>
                      <a:pt x="108" y="23"/>
                    </a:lnTo>
                    <a:lnTo>
                      <a:pt x="107" y="30"/>
                    </a:lnTo>
                    <a:lnTo>
                      <a:pt x="106" y="37"/>
                    </a:lnTo>
                    <a:lnTo>
                      <a:pt x="106" y="38"/>
                    </a:lnTo>
                    <a:lnTo>
                      <a:pt x="111" y="23"/>
                    </a:lnTo>
                    <a:lnTo>
                      <a:pt x="111" y="23"/>
                    </a:lnTo>
                    <a:lnTo>
                      <a:pt x="107" y="12"/>
                    </a:lnTo>
                    <a:lnTo>
                      <a:pt x="106" y="8"/>
                    </a:lnTo>
                    <a:lnTo>
                      <a:pt x="107" y="3"/>
                    </a:lnTo>
                    <a:lnTo>
                      <a:pt x="110" y="0"/>
                    </a:lnTo>
                    <a:lnTo>
                      <a:pt x="110" y="0"/>
                    </a:lnTo>
                    <a:lnTo>
                      <a:pt x="114" y="3"/>
                    </a:lnTo>
                    <a:lnTo>
                      <a:pt x="118" y="7"/>
                    </a:lnTo>
                    <a:lnTo>
                      <a:pt x="122" y="11"/>
                    </a:lnTo>
                    <a:lnTo>
                      <a:pt x="123" y="15"/>
                    </a:lnTo>
                    <a:lnTo>
                      <a:pt x="126" y="15"/>
                    </a:lnTo>
                    <a:lnTo>
                      <a:pt x="126" y="15"/>
                    </a:lnTo>
                    <a:lnTo>
                      <a:pt x="130" y="17"/>
                    </a:lnTo>
                    <a:lnTo>
                      <a:pt x="134" y="19"/>
                    </a:lnTo>
                    <a:lnTo>
                      <a:pt x="135" y="21"/>
                    </a:lnTo>
                    <a:lnTo>
                      <a:pt x="135" y="21"/>
                    </a:lnTo>
                    <a:lnTo>
                      <a:pt x="153" y="21"/>
                    </a:lnTo>
                    <a:lnTo>
                      <a:pt x="153" y="21"/>
                    </a:lnTo>
                    <a:lnTo>
                      <a:pt x="157" y="23"/>
                    </a:lnTo>
                    <a:lnTo>
                      <a:pt x="160" y="25"/>
                    </a:lnTo>
                    <a:lnTo>
                      <a:pt x="160" y="25"/>
                    </a:lnTo>
                    <a:lnTo>
                      <a:pt x="164" y="26"/>
                    </a:lnTo>
                    <a:lnTo>
                      <a:pt x="169" y="27"/>
                    </a:lnTo>
                    <a:lnTo>
                      <a:pt x="169" y="27"/>
                    </a:lnTo>
                    <a:lnTo>
                      <a:pt x="173" y="35"/>
                    </a:lnTo>
                    <a:lnTo>
                      <a:pt x="175" y="41"/>
                    </a:lnTo>
                    <a:lnTo>
                      <a:pt x="175" y="44"/>
                    </a:lnTo>
                    <a:lnTo>
                      <a:pt x="172" y="44"/>
                    </a:lnTo>
                    <a:lnTo>
                      <a:pt x="171" y="4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7" name="Freeform 367">
                <a:extLst>
                  <a:ext uri="{FF2B5EF4-FFF2-40B4-BE49-F238E27FC236}">
                    <a16:creationId xmlns:a16="http://schemas.microsoft.com/office/drawing/2014/main" id="{E6C334EF-D629-4B30-B69B-1C32858855DC}"/>
                  </a:ext>
                </a:extLst>
              </p:cNvPr>
              <p:cNvSpPr>
                <a:spLocks/>
              </p:cNvSpPr>
              <p:nvPr/>
            </p:nvSpPr>
            <p:spPr bwMode="auto">
              <a:xfrm>
                <a:off x="3354388" y="5113406"/>
                <a:ext cx="982663" cy="757238"/>
              </a:xfrm>
              <a:custGeom>
                <a:avLst/>
                <a:gdLst>
                  <a:gd name="T0" fmla="*/ 746 w 1239"/>
                  <a:gd name="T1" fmla="*/ 598 h 952"/>
                  <a:gd name="T2" fmla="*/ 645 w 1239"/>
                  <a:gd name="T3" fmla="*/ 570 h 952"/>
                  <a:gd name="T4" fmla="*/ 575 w 1239"/>
                  <a:gd name="T5" fmla="*/ 524 h 952"/>
                  <a:gd name="T6" fmla="*/ 521 w 1239"/>
                  <a:gd name="T7" fmla="*/ 389 h 952"/>
                  <a:gd name="T8" fmla="*/ 493 w 1239"/>
                  <a:gd name="T9" fmla="*/ 321 h 952"/>
                  <a:gd name="T10" fmla="*/ 521 w 1239"/>
                  <a:gd name="T11" fmla="*/ 269 h 952"/>
                  <a:gd name="T12" fmla="*/ 484 w 1239"/>
                  <a:gd name="T13" fmla="*/ 142 h 952"/>
                  <a:gd name="T14" fmla="*/ 434 w 1239"/>
                  <a:gd name="T15" fmla="*/ 57 h 952"/>
                  <a:gd name="T16" fmla="*/ 395 w 1239"/>
                  <a:gd name="T17" fmla="*/ 134 h 952"/>
                  <a:gd name="T18" fmla="*/ 267 w 1239"/>
                  <a:gd name="T19" fmla="*/ 176 h 952"/>
                  <a:gd name="T20" fmla="*/ 185 w 1239"/>
                  <a:gd name="T21" fmla="*/ 84 h 952"/>
                  <a:gd name="T22" fmla="*/ 110 w 1239"/>
                  <a:gd name="T23" fmla="*/ 220 h 952"/>
                  <a:gd name="T24" fmla="*/ 110 w 1239"/>
                  <a:gd name="T25" fmla="*/ 380 h 952"/>
                  <a:gd name="T26" fmla="*/ 151 w 1239"/>
                  <a:gd name="T27" fmla="*/ 518 h 952"/>
                  <a:gd name="T28" fmla="*/ 121 w 1239"/>
                  <a:gd name="T29" fmla="*/ 638 h 952"/>
                  <a:gd name="T30" fmla="*/ 132 w 1239"/>
                  <a:gd name="T31" fmla="*/ 769 h 952"/>
                  <a:gd name="T32" fmla="*/ 27 w 1239"/>
                  <a:gd name="T33" fmla="*/ 772 h 952"/>
                  <a:gd name="T34" fmla="*/ 56 w 1239"/>
                  <a:gd name="T35" fmla="*/ 855 h 952"/>
                  <a:gd name="T36" fmla="*/ 129 w 1239"/>
                  <a:gd name="T37" fmla="*/ 941 h 952"/>
                  <a:gd name="T38" fmla="*/ 151 w 1239"/>
                  <a:gd name="T39" fmla="*/ 939 h 952"/>
                  <a:gd name="T40" fmla="*/ 204 w 1239"/>
                  <a:gd name="T41" fmla="*/ 912 h 952"/>
                  <a:gd name="T42" fmla="*/ 196 w 1239"/>
                  <a:gd name="T43" fmla="*/ 890 h 952"/>
                  <a:gd name="T44" fmla="*/ 235 w 1239"/>
                  <a:gd name="T45" fmla="*/ 882 h 952"/>
                  <a:gd name="T46" fmla="*/ 208 w 1239"/>
                  <a:gd name="T47" fmla="*/ 855 h 952"/>
                  <a:gd name="T48" fmla="*/ 197 w 1239"/>
                  <a:gd name="T49" fmla="*/ 834 h 952"/>
                  <a:gd name="T50" fmla="*/ 209 w 1239"/>
                  <a:gd name="T51" fmla="*/ 840 h 952"/>
                  <a:gd name="T52" fmla="*/ 267 w 1239"/>
                  <a:gd name="T53" fmla="*/ 887 h 952"/>
                  <a:gd name="T54" fmla="*/ 295 w 1239"/>
                  <a:gd name="T55" fmla="*/ 903 h 952"/>
                  <a:gd name="T56" fmla="*/ 282 w 1239"/>
                  <a:gd name="T57" fmla="*/ 871 h 952"/>
                  <a:gd name="T58" fmla="*/ 315 w 1239"/>
                  <a:gd name="T59" fmla="*/ 876 h 952"/>
                  <a:gd name="T60" fmla="*/ 312 w 1239"/>
                  <a:gd name="T61" fmla="*/ 907 h 952"/>
                  <a:gd name="T62" fmla="*/ 335 w 1239"/>
                  <a:gd name="T63" fmla="*/ 878 h 952"/>
                  <a:gd name="T64" fmla="*/ 368 w 1239"/>
                  <a:gd name="T65" fmla="*/ 875 h 952"/>
                  <a:gd name="T66" fmla="*/ 384 w 1239"/>
                  <a:gd name="T67" fmla="*/ 876 h 952"/>
                  <a:gd name="T68" fmla="*/ 399 w 1239"/>
                  <a:gd name="T69" fmla="*/ 887 h 952"/>
                  <a:gd name="T70" fmla="*/ 409 w 1239"/>
                  <a:gd name="T71" fmla="*/ 891 h 952"/>
                  <a:gd name="T72" fmla="*/ 377 w 1239"/>
                  <a:gd name="T73" fmla="*/ 902 h 952"/>
                  <a:gd name="T74" fmla="*/ 429 w 1239"/>
                  <a:gd name="T75" fmla="*/ 918 h 952"/>
                  <a:gd name="T76" fmla="*/ 463 w 1239"/>
                  <a:gd name="T77" fmla="*/ 907 h 952"/>
                  <a:gd name="T78" fmla="*/ 588 w 1239"/>
                  <a:gd name="T79" fmla="*/ 884 h 952"/>
                  <a:gd name="T80" fmla="*/ 664 w 1239"/>
                  <a:gd name="T81" fmla="*/ 883 h 952"/>
                  <a:gd name="T82" fmla="*/ 767 w 1239"/>
                  <a:gd name="T83" fmla="*/ 920 h 952"/>
                  <a:gd name="T84" fmla="*/ 836 w 1239"/>
                  <a:gd name="T85" fmla="*/ 895 h 952"/>
                  <a:gd name="T86" fmla="*/ 934 w 1239"/>
                  <a:gd name="T87" fmla="*/ 859 h 952"/>
                  <a:gd name="T88" fmla="*/ 980 w 1239"/>
                  <a:gd name="T89" fmla="*/ 802 h 952"/>
                  <a:gd name="T90" fmla="*/ 1067 w 1239"/>
                  <a:gd name="T91" fmla="*/ 822 h 952"/>
                  <a:gd name="T92" fmla="*/ 1148 w 1239"/>
                  <a:gd name="T93" fmla="*/ 720 h 952"/>
                  <a:gd name="T94" fmla="*/ 1200 w 1239"/>
                  <a:gd name="T95" fmla="*/ 693 h 952"/>
                  <a:gd name="T96" fmla="*/ 1214 w 1239"/>
                  <a:gd name="T97" fmla="*/ 598 h 952"/>
                  <a:gd name="T98" fmla="*/ 1238 w 1239"/>
                  <a:gd name="T99" fmla="*/ 553 h 952"/>
                  <a:gd name="T100" fmla="*/ 1197 w 1239"/>
                  <a:gd name="T101" fmla="*/ 533 h 952"/>
                  <a:gd name="T102" fmla="*/ 1130 w 1239"/>
                  <a:gd name="T103" fmla="*/ 540 h 952"/>
                  <a:gd name="T104" fmla="*/ 1061 w 1239"/>
                  <a:gd name="T105" fmla="*/ 557 h 952"/>
                  <a:gd name="T106" fmla="*/ 1004 w 1239"/>
                  <a:gd name="T107" fmla="*/ 549 h 952"/>
                  <a:gd name="T108" fmla="*/ 977 w 1239"/>
                  <a:gd name="T109" fmla="*/ 510 h 952"/>
                  <a:gd name="T110" fmla="*/ 966 w 1239"/>
                  <a:gd name="T111" fmla="*/ 528 h 952"/>
                  <a:gd name="T112" fmla="*/ 939 w 1239"/>
                  <a:gd name="T113" fmla="*/ 537 h 952"/>
                  <a:gd name="T114" fmla="*/ 925 w 1239"/>
                  <a:gd name="T115" fmla="*/ 515 h 952"/>
                  <a:gd name="T116" fmla="*/ 950 w 1239"/>
                  <a:gd name="T117" fmla="*/ 496 h 952"/>
                  <a:gd name="T118" fmla="*/ 969 w 1239"/>
                  <a:gd name="T119" fmla="*/ 480 h 952"/>
                  <a:gd name="T120" fmla="*/ 917 w 1239"/>
                  <a:gd name="T121" fmla="*/ 472 h 952"/>
                  <a:gd name="T122" fmla="*/ 875 w 1239"/>
                  <a:gd name="T123" fmla="*/ 49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9" h="952">
                    <a:moveTo>
                      <a:pt x="829" y="484"/>
                    </a:moveTo>
                    <a:lnTo>
                      <a:pt x="820" y="487"/>
                    </a:lnTo>
                    <a:lnTo>
                      <a:pt x="814" y="492"/>
                    </a:lnTo>
                    <a:lnTo>
                      <a:pt x="788" y="475"/>
                    </a:lnTo>
                    <a:lnTo>
                      <a:pt x="790" y="480"/>
                    </a:lnTo>
                    <a:lnTo>
                      <a:pt x="786" y="496"/>
                    </a:lnTo>
                    <a:lnTo>
                      <a:pt x="775" y="503"/>
                    </a:lnTo>
                    <a:lnTo>
                      <a:pt x="772" y="513"/>
                    </a:lnTo>
                    <a:lnTo>
                      <a:pt x="769" y="511"/>
                    </a:lnTo>
                    <a:lnTo>
                      <a:pt x="767" y="525"/>
                    </a:lnTo>
                    <a:lnTo>
                      <a:pt x="772" y="534"/>
                    </a:lnTo>
                    <a:lnTo>
                      <a:pt x="767" y="536"/>
                    </a:lnTo>
                    <a:lnTo>
                      <a:pt x="769" y="549"/>
                    </a:lnTo>
                    <a:lnTo>
                      <a:pt x="764" y="566"/>
                    </a:lnTo>
                    <a:lnTo>
                      <a:pt x="757" y="566"/>
                    </a:lnTo>
                    <a:lnTo>
                      <a:pt x="757" y="575"/>
                    </a:lnTo>
                    <a:lnTo>
                      <a:pt x="745" y="583"/>
                    </a:lnTo>
                    <a:lnTo>
                      <a:pt x="746" y="598"/>
                    </a:lnTo>
                    <a:lnTo>
                      <a:pt x="731" y="598"/>
                    </a:lnTo>
                    <a:lnTo>
                      <a:pt x="727" y="589"/>
                    </a:lnTo>
                    <a:lnTo>
                      <a:pt x="721" y="600"/>
                    </a:lnTo>
                    <a:lnTo>
                      <a:pt x="717" y="576"/>
                    </a:lnTo>
                    <a:lnTo>
                      <a:pt x="711" y="574"/>
                    </a:lnTo>
                    <a:lnTo>
                      <a:pt x="710" y="575"/>
                    </a:lnTo>
                    <a:lnTo>
                      <a:pt x="707" y="571"/>
                    </a:lnTo>
                    <a:lnTo>
                      <a:pt x="702" y="571"/>
                    </a:lnTo>
                    <a:lnTo>
                      <a:pt x="698" y="575"/>
                    </a:lnTo>
                    <a:lnTo>
                      <a:pt x="696" y="581"/>
                    </a:lnTo>
                    <a:lnTo>
                      <a:pt x="687" y="583"/>
                    </a:lnTo>
                    <a:lnTo>
                      <a:pt x="683" y="594"/>
                    </a:lnTo>
                    <a:lnTo>
                      <a:pt x="672" y="604"/>
                    </a:lnTo>
                    <a:lnTo>
                      <a:pt x="666" y="595"/>
                    </a:lnTo>
                    <a:lnTo>
                      <a:pt x="660" y="595"/>
                    </a:lnTo>
                    <a:lnTo>
                      <a:pt x="660" y="582"/>
                    </a:lnTo>
                    <a:lnTo>
                      <a:pt x="647" y="571"/>
                    </a:lnTo>
                    <a:lnTo>
                      <a:pt x="645" y="570"/>
                    </a:lnTo>
                    <a:lnTo>
                      <a:pt x="636" y="578"/>
                    </a:lnTo>
                    <a:lnTo>
                      <a:pt x="632" y="574"/>
                    </a:lnTo>
                    <a:lnTo>
                      <a:pt x="638" y="570"/>
                    </a:lnTo>
                    <a:lnTo>
                      <a:pt x="635" y="562"/>
                    </a:lnTo>
                    <a:lnTo>
                      <a:pt x="627" y="555"/>
                    </a:lnTo>
                    <a:lnTo>
                      <a:pt x="627" y="547"/>
                    </a:lnTo>
                    <a:lnTo>
                      <a:pt x="622" y="548"/>
                    </a:lnTo>
                    <a:lnTo>
                      <a:pt x="612" y="559"/>
                    </a:lnTo>
                    <a:lnTo>
                      <a:pt x="605" y="575"/>
                    </a:lnTo>
                    <a:lnTo>
                      <a:pt x="600" y="581"/>
                    </a:lnTo>
                    <a:lnTo>
                      <a:pt x="597" y="581"/>
                    </a:lnTo>
                    <a:lnTo>
                      <a:pt x="597" y="567"/>
                    </a:lnTo>
                    <a:lnTo>
                      <a:pt x="605" y="548"/>
                    </a:lnTo>
                    <a:lnTo>
                      <a:pt x="601" y="538"/>
                    </a:lnTo>
                    <a:lnTo>
                      <a:pt x="597" y="541"/>
                    </a:lnTo>
                    <a:lnTo>
                      <a:pt x="585" y="528"/>
                    </a:lnTo>
                    <a:lnTo>
                      <a:pt x="574" y="530"/>
                    </a:lnTo>
                    <a:lnTo>
                      <a:pt x="575" y="524"/>
                    </a:lnTo>
                    <a:lnTo>
                      <a:pt x="574" y="521"/>
                    </a:lnTo>
                    <a:lnTo>
                      <a:pt x="565" y="515"/>
                    </a:lnTo>
                    <a:lnTo>
                      <a:pt x="556" y="517"/>
                    </a:lnTo>
                    <a:lnTo>
                      <a:pt x="554" y="511"/>
                    </a:lnTo>
                    <a:lnTo>
                      <a:pt x="551" y="513"/>
                    </a:lnTo>
                    <a:lnTo>
                      <a:pt x="550" y="502"/>
                    </a:lnTo>
                    <a:lnTo>
                      <a:pt x="531" y="494"/>
                    </a:lnTo>
                    <a:lnTo>
                      <a:pt x="533" y="487"/>
                    </a:lnTo>
                    <a:lnTo>
                      <a:pt x="537" y="477"/>
                    </a:lnTo>
                    <a:lnTo>
                      <a:pt x="540" y="471"/>
                    </a:lnTo>
                    <a:lnTo>
                      <a:pt x="537" y="464"/>
                    </a:lnTo>
                    <a:lnTo>
                      <a:pt x="536" y="450"/>
                    </a:lnTo>
                    <a:lnTo>
                      <a:pt x="541" y="438"/>
                    </a:lnTo>
                    <a:lnTo>
                      <a:pt x="537" y="426"/>
                    </a:lnTo>
                    <a:lnTo>
                      <a:pt x="533" y="412"/>
                    </a:lnTo>
                    <a:lnTo>
                      <a:pt x="533" y="412"/>
                    </a:lnTo>
                    <a:lnTo>
                      <a:pt x="528" y="410"/>
                    </a:lnTo>
                    <a:lnTo>
                      <a:pt x="521" y="389"/>
                    </a:lnTo>
                    <a:lnTo>
                      <a:pt x="524" y="382"/>
                    </a:lnTo>
                    <a:lnTo>
                      <a:pt x="521" y="374"/>
                    </a:lnTo>
                    <a:lnTo>
                      <a:pt x="527" y="376"/>
                    </a:lnTo>
                    <a:lnTo>
                      <a:pt x="527" y="370"/>
                    </a:lnTo>
                    <a:lnTo>
                      <a:pt x="529" y="372"/>
                    </a:lnTo>
                    <a:lnTo>
                      <a:pt x="533" y="368"/>
                    </a:lnTo>
                    <a:lnTo>
                      <a:pt x="531" y="363"/>
                    </a:lnTo>
                    <a:lnTo>
                      <a:pt x="525" y="363"/>
                    </a:lnTo>
                    <a:lnTo>
                      <a:pt x="525" y="362"/>
                    </a:lnTo>
                    <a:lnTo>
                      <a:pt x="517" y="363"/>
                    </a:lnTo>
                    <a:lnTo>
                      <a:pt x="518" y="353"/>
                    </a:lnTo>
                    <a:lnTo>
                      <a:pt x="512" y="343"/>
                    </a:lnTo>
                    <a:lnTo>
                      <a:pt x="516" y="336"/>
                    </a:lnTo>
                    <a:lnTo>
                      <a:pt x="514" y="330"/>
                    </a:lnTo>
                    <a:lnTo>
                      <a:pt x="510" y="326"/>
                    </a:lnTo>
                    <a:lnTo>
                      <a:pt x="508" y="328"/>
                    </a:lnTo>
                    <a:lnTo>
                      <a:pt x="502" y="319"/>
                    </a:lnTo>
                    <a:lnTo>
                      <a:pt x="493" y="321"/>
                    </a:lnTo>
                    <a:lnTo>
                      <a:pt x="472" y="309"/>
                    </a:lnTo>
                    <a:lnTo>
                      <a:pt x="466" y="294"/>
                    </a:lnTo>
                    <a:lnTo>
                      <a:pt x="467" y="289"/>
                    </a:lnTo>
                    <a:lnTo>
                      <a:pt x="457" y="277"/>
                    </a:lnTo>
                    <a:lnTo>
                      <a:pt x="452" y="278"/>
                    </a:lnTo>
                    <a:lnTo>
                      <a:pt x="444" y="264"/>
                    </a:lnTo>
                    <a:lnTo>
                      <a:pt x="455" y="254"/>
                    </a:lnTo>
                    <a:lnTo>
                      <a:pt x="463" y="254"/>
                    </a:lnTo>
                    <a:lnTo>
                      <a:pt x="466" y="259"/>
                    </a:lnTo>
                    <a:lnTo>
                      <a:pt x="463" y="264"/>
                    </a:lnTo>
                    <a:lnTo>
                      <a:pt x="474" y="279"/>
                    </a:lnTo>
                    <a:lnTo>
                      <a:pt x="480" y="281"/>
                    </a:lnTo>
                    <a:lnTo>
                      <a:pt x="486" y="277"/>
                    </a:lnTo>
                    <a:lnTo>
                      <a:pt x="505" y="285"/>
                    </a:lnTo>
                    <a:lnTo>
                      <a:pt x="514" y="270"/>
                    </a:lnTo>
                    <a:lnTo>
                      <a:pt x="516" y="273"/>
                    </a:lnTo>
                    <a:lnTo>
                      <a:pt x="518" y="274"/>
                    </a:lnTo>
                    <a:lnTo>
                      <a:pt x="521" y="269"/>
                    </a:lnTo>
                    <a:lnTo>
                      <a:pt x="505" y="245"/>
                    </a:lnTo>
                    <a:lnTo>
                      <a:pt x="495" y="241"/>
                    </a:lnTo>
                    <a:lnTo>
                      <a:pt x="491" y="236"/>
                    </a:lnTo>
                    <a:lnTo>
                      <a:pt x="479" y="236"/>
                    </a:lnTo>
                    <a:lnTo>
                      <a:pt x="471" y="226"/>
                    </a:lnTo>
                    <a:lnTo>
                      <a:pt x="464" y="228"/>
                    </a:lnTo>
                    <a:lnTo>
                      <a:pt x="460" y="222"/>
                    </a:lnTo>
                    <a:lnTo>
                      <a:pt x="470" y="201"/>
                    </a:lnTo>
                    <a:lnTo>
                      <a:pt x="474" y="201"/>
                    </a:lnTo>
                    <a:lnTo>
                      <a:pt x="474" y="193"/>
                    </a:lnTo>
                    <a:lnTo>
                      <a:pt x="476" y="193"/>
                    </a:lnTo>
                    <a:lnTo>
                      <a:pt x="480" y="184"/>
                    </a:lnTo>
                    <a:lnTo>
                      <a:pt x="483" y="182"/>
                    </a:lnTo>
                    <a:lnTo>
                      <a:pt x="478" y="165"/>
                    </a:lnTo>
                    <a:lnTo>
                      <a:pt x="484" y="159"/>
                    </a:lnTo>
                    <a:lnTo>
                      <a:pt x="482" y="153"/>
                    </a:lnTo>
                    <a:lnTo>
                      <a:pt x="486" y="151"/>
                    </a:lnTo>
                    <a:lnTo>
                      <a:pt x="484" y="142"/>
                    </a:lnTo>
                    <a:lnTo>
                      <a:pt x="476" y="134"/>
                    </a:lnTo>
                    <a:lnTo>
                      <a:pt x="490" y="115"/>
                    </a:lnTo>
                    <a:lnTo>
                      <a:pt x="499" y="107"/>
                    </a:lnTo>
                    <a:lnTo>
                      <a:pt x="503" y="96"/>
                    </a:lnTo>
                    <a:lnTo>
                      <a:pt x="498" y="81"/>
                    </a:lnTo>
                    <a:lnTo>
                      <a:pt x="487" y="79"/>
                    </a:lnTo>
                    <a:lnTo>
                      <a:pt x="486" y="70"/>
                    </a:lnTo>
                    <a:lnTo>
                      <a:pt x="489" y="69"/>
                    </a:lnTo>
                    <a:lnTo>
                      <a:pt x="490" y="51"/>
                    </a:lnTo>
                    <a:lnTo>
                      <a:pt x="484" y="47"/>
                    </a:lnTo>
                    <a:lnTo>
                      <a:pt x="475" y="45"/>
                    </a:lnTo>
                    <a:lnTo>
                      <a:pt x="486" y="23"/>
                    </a:lnTo>
                    <a:lnTo>
                      <a:pt x="479" y="0"/>
                    </a:lnTo>
                    <a:lnTo>
                      <a:pt x="479" y="16"/>
                    </a:lnTo>
                    <a:lnTo>
                      <a:pt x="468" y="37"/>
                    </a:lnTo>
                    <a:lnTo>
                      <a:pt x="455" y="38"/>
                    </a:lnTo>
                    <a:lnTo>
                      <a:pt x="438" y="54"/>
                    </a:lnTo>
                    <a:lnTo>
                      <a:pt x="434" y="57"/>
                    </a:lnTo>
                    <a:lnTo>
                      <a:pt x="433" y="51"/>
                    </a:lnTo>
                    <a:lnTo>
                      <a:pt x="426" y="56"/>
                    </a:lnTo>
                    <a:lnTo>
                      <a:pt x="422" y="64"/>
                    </a:lnTo>
                    <a:lnTo>
                      <a:pt x="417" y="61"/>
                    </a:lnTo>
                    <a:lnTo>
                      <a:pt x="415" y="70"/>
                    </a:lnTo>
                    <a:lnTo>
                      <a:pt x="409" y="69"/>
                    </a:lnTo>
                    <a:lnTo>
                      <a:pt x="410" y="76"/>
                    </a:lnTo>
                    <a:lnTo>
                      <a:pt x="391" y="80"/>
                    </a:lnTo>
                    <a:lnTo>
                      <a:pt x="391" y="80"/>
                    </a:lnTo>
                    <a:lnTo>
                      <a:pt x="388" y="88"/>
                    </a:lnTo>
                    <a:lnTo>
                      <a:pt x="394" y="89"/>
                    </a:lnTo>
                    <a:lnTo>
                      <a:pt x="395" y="96"/>
                    </a:lnTo>
                    <a:lnTo>
                      <a:pt x="403" y="102"/>
                    </a:lnTo>
                    <a:lnTo>
                      <a:pt x="409" y="114"/>
                    </a:lnTo>
                    <a:lnTo>
                      <a:pt x="406" y="119"/>
                    </a:lnTo>
                    <a:lnTo>
                      <a:pt x="398" y="121"/>
                    </a:lnTo>
                    <a:lnTo>
                      <a:pt x="402" y="127"/>
                    </a:lnTo>
                    <a:lnTo>
                      <a:pt x="395" y="134"/>
                    </a:lnTo>
                    <a:lnTo>
                      <a:pt x="391" y="141"/>
                    </a:lnTo>
                    <a:lnTo>
                      <a:pt x="388" y="140"/>
                    </a:lnTo>
                    <a:lnTo>
                      <a:pt x="381" y="145"/>
                    </a:lnTo>
                    <a:lnTo>
                      <a:pt x="373" y="132"/>
                    </a:lnTo>
                    <a:lnTo>
                      <a:pt x="369" y="113"/>
                    </a:lnTo>
                    <a:lnTo>
                      <a:pt x="365" y="108"/>
                    </a:lnTo>
                    <a:lnTo>
                      <a:pt x="358" y="115"/>
                    </a:lnTo>
                    <a:lnTo>
                      <a:pt x="331" y="114"/>
                    </a:lnTo>
                    <a:lnTo>
                      <a:pt x="338" y="119"/>
                    </a:lnTo>
                    <a:lnTo>
                      <a:pt x="324" y="121"/>
                    </a:lnTo>
                    <a:lnTo>
                      <a:pt x="303" y="132"/>
                    </a:lnTo>
                    <a:lnTo>
                      <a:pt x="297" y="146"/>
                    </a:lnTo>
                    <a:lnTo>
                      <a:pt x="305" y="149"/>
                    </a:lnTo>
                    <a:lnTo>
                      <a:pt x="299" y="161"/>
                    </a:lnTo>
                    <a:lnTo>
                      <a:pt x="288" y="164"/>
                    </a:lnTo>
                    <a:lnTo>
                      <a:pt x="290" y="179"/>
                    </a:lnTo>
                    <a:lnTo>
                      <a:pt x="284" y="182"/>
                    </a:lnTo>
                    <a:lnTo>
                      <a:pt x="267" y="176"/>
                    </a:lnTo>
                    <a:lnTo>
                      <a:pt x="252" y="182"/>
                    </a:lnTo>
                    <a:lnTo>
                      <a:pt x="250" y="175"/>
                    </a:lnTo>
                    <a:lnTo>
                      <a:pt x="246" y="152"/>
                    </a:lnTo>
                    <a:lnTo>
                      <a:pt x="232" y="129"/>
                    </a:lnTo>
                    <a:lnTo>
                      <a:pt x="238" y="113"/>
                    </a:lnTo>
                    <a:lnTo>
                      <a:pt x="231" y="111"/>
                    </a:lnTo>
                    <a:lnTo>
                      <a:pt x="229" y="107"/>
                    </a:lnTo>
                    <a:lnTo>
                      <a:pt x="247" y="100"/>
                    </a:lnTo>
                    <a:lnTo>
                      <a:pt x="257" y="100"/>
                    </a:lnTo>
                    <a:lnTo>
                      <a:pt x="228" y="57"/>
                    </a:lnTo>
                    <a:lnTo>
                      <a:pt x="223" y="70"/>
                    </a:lnTo>
                    <a:lnTo>
                      <a:pt x="216" y="69"/>
                    </a:lnTo>
                    <a:lnTo>
                      <a:pt x="206" y="80"/>
                    </a:lnTo>
                    <a:lnTo>
                      <a:pt x="215" y="81"/>
                    </a:lnTo>
                    <a:lnTo>
                      <a:pt x="220" y="91"/>
                    </a:lnTo>
                    <a:lnTo>
                      <a:pt x="209" y="95"/>
                    </a:lnTo>
                    <a:lnTo>
                      <a:pt x="194" y="81"/>
                    </a:lnTo>
                    <a:lnTo>
                      <a:pt x="185" y="84"/>
                    </a:lnTo>
                    <a:lnTo>
                      <a:pt x="187" y="94"/>
                    </a:lnTo>
                    <a:lnTo>
                      <a:pt x="175" y="91"/>
                    </a:lnTo>
                    <a:lnTo>
                      <a:pt x="167" y="110"/>
                    </a:lnTo>
                    <a:lnTo>
                      <a:pt x="168" y="118"/>
                    </a:lnTo>
                    <a:lnTo>
                      <a:pt x="159" y="156"/>
                    </a:lnTo>
                    <a:lnTo>
                      <a:pt x="158" y="160"/>
                    </a:lnTo>
                    <a:lnTo>
                      <a:pt x="152" y="156"/>
                    </a:lnTo>
                    <a:lnTo>
                      <a:pt x="147" y="160"/>
                    </a:lnTo>
                    <a:lnTo>
                      <a:pt x="149" y="167"/>
                    </a:lnTo>
                    <a:lnTo>
                      <a:pt x="139" y="171"/>
                    </a:lnTo>
                    <a:lnTo>
                      <a:pt x="130" y="170"/>
                    </a:lnTo>
                    <a:lnTo>
                      <a:pt x="134" y="172"/>
                    </a:lnTo>
                    <a:lnTo>
                      <a:pt x="126" y="182"/>
                    </a:lnTo>
                    <a:lnTo>
                      <a:pt x="125" y="180"/>
                    </a:lnTo>
                    <a:lnTo>
                      <a:pt x="125" y="194"/>
                    </a:lnTo>
                    <a:lnTo>
                      <a:pt x="114" y="203"/>
                    </a:lnTo>
                    <a:lnTo>
                      <a:pt x="120" y="218"/>
                    </a:lnTo>
                    <a:lnTo>
                      <a:pt x="110" y="220"/>
                    </a:lnTo>
                    <a:lnTo>
                      <a:pt x="106" y="232"/>
                    </a:lnTo>
                    <a:lnTo>
                      <a:pt x="99" y="239"/>
                    </a:lnTo>
                    <a:lnTo>
                      <a:pt x="103" y="248"/>
                    </a:lnTo>
                    <a:lnTo>
                      <a:pt x="99" y="258"/>
                    </a:lnTo>
                    <a:lnTo>
                      <a:pt x="103" y="269"/>
                    </a:lnTo>
                    <a:lnTo>
                      <a:pt x="101" y="277"/>
                    </a:lnTo>
                    <a:lnTo>
                      <a:pt x="87" y="289"/>
                    </a:lnTo>
                    <a:lnTo>
                      <a:pt x="94" y="297"/>
                    </a:lnTo>
                    <a:lnTo>
                      <a:pt x="99" y="316"/>
                    </a:lnTo>
                    <a:lnTo>
                      <a:pt x="96" y="326"/>
                    </a:lnTo>
                    <a:lnTo>
                      <a:pt x="101" y="334"/>
                    </a:lnTo>
                    <a:lnTo>
                      <a:pt x="110" y="343"/>
                    </a:lnTo>
                    <a:lnTo>
                      <a:pt x="114" y="350"/>
                    </a:lnTo>
                    <a:lnTo>
                      <a:pt x="109" y="353"/>
                    </a:lnTo>
                    <a:lnTo>
                      <a:pt x="101" y="347"/>
                    </a:lnTo>
                    <a:lnTo>
                      <a:pt x="95" y="358"/>
                    </a:lnTo>
                    <a:lnTo>
                      <a:pt x="98" y="369"/>
                    </a:lnTo>
                    <a:lnTo>
                      <a:pt x="110" y="380"/>
                    </a:lnTo>
                    <a:lnTo>
                      <a:pt x="105" y="388"/>
                    </a:lnTo>
                    <a:lnTo>
                      <a:pt x="107" y="392"/>
                    </a:lnTo>
                    <a:lnTo>
                      <a:pt x="99" y="399"/>
                    </a:lnTo>
                    <a:lnTo>
                      <a:pt x="99" y="411"/>
                    </a:lnTo>
                    <a:lnTo>
                      <a:pt x="98" y="412"/>
                    </a:lnTo>
                    <a:lnTo>
                      <a:pt x="103" y="420"/>
                    </a:lnTo>
                    <a:lnTo>
                      <a:pt x="111" y="416"/>
                    </a:lnTo>
                    <a:lnTo>
                      <a:pt x="114" y="419"/>
                    </a:lnTo>
                    <a:lnTo>
                      <a:pt x="132" y="452"/>
                    </a:lnTo>
                    <a:lnTo>
                      <a:pt x="139" y="448"/>
                    </a:lnTo>
                    <a:lnTo>
                      <a:pt x="139" y="467"/>
                    </a:lnTo>
                    <a:lnTo>
                      <a:pt x="148" y="483"/>
                    </a:lnTo>
                    <a:lnTo>
                      <a:pt x="162" y="495"/>
                    </a:lnTo>
                    <a:lnTo>
                      <a:pt x="160" y="510"/>
                    </a:lnTo>
                    <a:lnTo>
                      <a:pt x="145" y="511"/>
                    </a:lnTo>
                    <a:lnTo>
                      <a:pt x="144" y="515"/>
                    </a:lnTo>
                    <a:lnTo>
                      <a:pt x="147" y="519"/>
                    </a:lnTo>
                    <a:lnTo>
                      <a:pt x="151" y="518"/>
                    </a:lnTo>
                    <a:lnTo>
                      <a:pt x="149" y="528"/>
                    </a:lnTo>
                    <a:lnTo>
                      <a:pt x="166" y="543"/>
                    </a:lnTo>
                    <a:lnTo>
                      <a:pt x="172" y="544"/>
                    </a:lnTo>
                    <a:lnTo>
                      <a:pt x="170" y="552"/>
                    </a:lnTo>
                    <a:lnTo>
                      <a:pt x="175" y="557"/>
                    </a:lnTo>
                    <a:lnTo>
                      <a:pt x="171" y="568"/>
                    </a:lnTo>
                    <a:lnTo>
                      <a:pt x="160" y="563"/>
                    </a:lnTo>
                    <a:lnTo>
                      <a:pt x="158" y="576"/>
                    </a:lnTo>
                    <a:lnTo>
                      <a:pt x="163" y="589"/>
                    </a:lnTo>
                    <a:lnTo>
                      <a:pt x="162" y="594"/>
                    </a:lnTo>
                    <a:lnTo>
                      <a:pt x="155" y="598"/>
                    </a:lnTo>
                    <a:lnTo>
                      <a:pt x="156" y="610"/>
                    </a:lnTo>
                    <a:lnTo>
                      <a:pt x="159" y="610"/>
                    </a:lnTo>
                    <a:lnTo>
                      <a:pt x="158" y="619"/>
                    </a:lnTo>
                    <a:lnTo>
                      <a:pt x="153" y="620"/>
                    </a:lnTo>
                    <a:lnTo>
                      <a:pt x="141" y="613"/>
                    </a:lnTo>
                    <a:lnTo>
                      <a:pt x="130" y="616"/>
                    </a:lnTo>
                    <a:lnTo>
                      <a:pt x="121" y="638"/>
                    </a:lnTo>
                    <a:lnTo>
                      <a:pt x="101" y="639"/>
                    </a:lnTo>
                    <a:lnTo>
                      <a:pt x="98" y="646"/>
                    </a:lnTo>
                    <a:lnTo>
                      <a:pt x="107" y="654"/>
                    </a:lnTo>
                    <a:lnTo>
                      <a:pt x="106" y="662"/>
                    </a:lnTo>
                    <a:lnTo>
                      <a:pt x="113" y="673"/>
                    </a:lnTo>
                    <a:lnTo>
                      <a:pt x="113" y="675"/>
                    </a:lnTo>
                    <a:lnTo>
                      <a:pt x="110" y="693"/>
                    </a:lnTo>
                    <a:lnTo>
                      <a:pt x="124" y="699"/>
                    </a:lnTo>
                    <a:lnTo>
                      <a:pt x="120" y="715"/>
                    </a:lnTo>
                    <a:lnTo>
                      <a:pt x="124" y="723"/>
                    </a:lnTo>
                    <a:lnTo>
                      <a:pt x="121" y="746"/>
                    </a:lnTo>
                    <a:lnTo>
                      <a:pt x="122" y="751"/>
                    </a:lnTo>
                    <a:lnTo>
                      <a:pt x="134" y="757"/>
                    </a:lnTo>
                    <a:lnTo>
                      <a:pt x="132" y="761"/>
                    </a:lnTo>
                    <a:lnTo>
                      <a:pt x="136" y="766"/>
                    </a:lnTo>
                    <a:lnTo>
                      <a:pt x="130" y="765"/>
                    </a:lnTo>
                    <a:lnTo>
                      <a:pt x="129" y="766"/>
                    </a:lnTo>
                    <a:lnTo>
                      <a:pt x="132" y="769"/>
                    </a:lnTo>
                    <a:lnTo>
                      <a:pt x="124" y="772"/>
                    </a:lnTo>
                    <a:lnTo>
                      <a:pt x="126" y="781"/>
                    </a:lnTo>
                    <a:lnTo>
                      <a:pt x="133" y="784"/>
                    </a:lnTo>
                    <a:lnTo>
                      <a:pt x="128" y="796"/>
                    </a:lnTo>
                    <a:lnTo>
                      <a:pt x="126" y="799"/>
                    </a:lnTo>
                    <a:lnTo>
                      <a:pt x="121" y="796"/>
                    </a:lnTo>
                    <a:lnTo>
                      <a:pt x="111" y="804"/>
                    </a:lnTo>
                    <a:lnTo>
                      <a:pt x="106" y="802"/>
                    </a:lnTo>
                    <a:lnTo>
                      <a:pt x="101" y="799"/>
                    </a:lnTo>
                    <a:lnTo>
                      <a:pt x="90" y="785"/>
                    </a:lnTo>
                    <a:lnTo>
                      <a:pt x="76" y="785"/>
                    </a:lnTo>
                    <a:lnTo>
                      <a:pt x="58" y="777"/>
                    </a:lnTo>
                    <a:lnTo>
                      <a:pt x="53" y="780"/>
                    </a:lnTo>
                    <a:lnTo>
                      <a:pt x="46" y="765"/>
                    </a:lnTo>
                    <a:lnTo>
                      <a:pt x="39" y="769"/>
                    </a:lnTo>
                    <a:lnTo>
                      <a:pt x="31" y="781"/>
                    </a:lnTo>
                    <a:lnTo>
                      <a:pt x="31" y="768"/>
                    </a:lnTo>
                    <a:lnTo>
                      <a:pt x="27" y="772"/>
                    </a:lnTo>
                    <a:lnTo>
                      <a:pt x="11" y="773"/>
                    </a:lnTo>
                    <a:lnTo>
                      <a:pt x="3" y="783"/>
                    </a:lnTo>
                    <a:lnTo>
                      <a:pt x="0" y="777"/>
                    </a:lnTo>
                    <a:lnTo>
                      <a:pt x="1" y="784"/>
                    </a:lnTo>
                    <a:lnTo>
                      <a:pt x="14" y="795"/>
                    </a:lnTo>
                    <a:lnTo>
                      <a:pt x="31" y="822"/>
                    </a:lnTo>
                    <a:lnTo>
                      <a:pt x="44" y="814"/>
                    </a:lnTo>
                    <a:lnTo>
                      <a:pt x="56" y="817"/>
                    </a:lnTo>
                    <a:lnTo>
                      <a:pt x="53" y="830"/>
                    </a:lnTo>
                    <a:lnTo>
                      <a:pt x="50" y="836"/>
                    </a:lnTo>
                    <a:lnTo>
                      <a:pt x="44" y="834"/>
                    </a:lnTo>
                    <a:lnTo>
                      <a:pt x="41" y="838"/>
                    </a:lnTo>
                    <a:lnTo>
                      <a:pt x="41" y="840"/>
                    </a:lnTo>
                    <a:lnTo>
                      <a:pt x="42" y="841"/>
                    </a:lnTo>
                    <a:lnTo>
                      <a:pt x="39" y="853"/>
                    </a:lnTo>
                    <a:lnTo>
                      <a:pt x="41" y="859"/>
                    </a:lnTo>
                    <a:lnTo>
                      <a:pt x="48" y="860"/>
                    </a:lnTo>
                    <a:lnTo>
                      <a:pt x="56" y="855"/>
                    </a:lnTo>
                    <a:lnTo>
                      <a:pt x="58" y="868"/>
                    </a:lnTo>
                    <a:lnTo>
                      <a:pt x="63" y="872"/>
                    </a:lnTo>
                    <a:lnTo>
                      <a:pt x="58" y="876"/>
                    </a:lnTo>
                    <a:lnTo>
                      <a:pt x="58" y="886"/>
                    </a:lnTo>
                    <a:lnTo>
                      <a:pt x="54" y="888"/>
                    </a:lnTo>
                    <a:lnTo>
                      <a:pt x="58" y="897"/>
                    </a:lnTo>
                    <a:lnTo>
                      <a:pt x="56" y="899"/>
                    </a:lnTo>
                    <a:lnTo>
                      <a:pt x="61" y="907"/>
                    </a:lnTo>
                    <a:lnTo>
                      <a:pt x="63" y="916"/>
                    </a:lnTo>
                    <a:lnTo>
                      <a:pt x="76" y="907"/>
                    </a:lnTo>
                    <a:lnTo>
                      <a:pt x="80" y="917"/>
                    </a:lnTo>
                    <a:lnTo>
                      <a:pt x="77" y="926"/>
                    </a:lnTo>
                    <a:lnTo>
                      <a:pt x="102" y="924"/>
                    </a:lnTo>
                    <a:lnTo>
                      <a:pt x="98" y="933"/>
                    </a:lnTo>
                    <a:lnTo>
                      <a:pt x="98" y="933"/>
                    </a:lnTo>
                    <a:lnTo>
                      <a:pt x="105" y="935"/>
                    </a:lnTo>
                    <a:lnTo>
                      <a:pt x="113" y="936"/>
                    </a:lnTo>
                    <a:lnTo>
                      <a:pt x="129" y="941"/>
                    </a:lnTo>
                    <a:lnTo>
                      <a:pt x="129" y="941"/>
                    </a:lnTo>
                    <a:lnTo>
                      <a:pt x="133" y="944"/>
                    </a:lnTo>
                    <a:lnTo>
                      <a:pt x="137" y="945"/>
                    </a:lnTo>
                    <a:lnTo>
                      <a:pt x="143" y="952"/>
                    </a:lnTo>
                    <a:lnTo>
                      <a:pt x="148" y="952"/>
                    </a:lnTo>
                    <a:lnTo>
                      <a:pt x="147" y="949"/>
                    </a:lnTo>
                    <a:lnTo>
                      <a:pt x="147" y="949"/>
                    </a:lnTo>
                    <a:lnTo>
                      <a:pt x="143" y="949"/>
                    </a:lnTo>
                    <a:lnTo>
                      <a:pt x="140" y="948"/>
                    </a:lnTo>
                    <a:lnTo>
                      <a:pt x="140" y="947"/>
                    </a:lnTo>
                    <a:lnTo>
                      <a:pt x="143" y="941"/>
                    </a:lnTo>
                    <a:lnTo>
                      <a:pt x="144" y="943"/>
                    </a:lnTo>
                    <a:lnTo>
                      <a:pt x="144" y="943"/>
                    </a:lnTo>
                    <a:lnTo>
                      <a:pt x="147" y="940"/>
                    </a:lnTo>
                    <a:lnTo>
                      <a:pt x="148" y="939"/>
                    </a:lnTo>
                    <a:lnTo>
                      <a:pt x="149" y="939"/>
                    </a:lnTo>
                    <a:lnTo>
                      <a:pt x="151" y="939"/>
                    </a:lnTo>
                    <a:lnTo>
                      <a:pt x="151" y="939"/>
                    </a:lnTo>
                    <a:lnTo>
                      <a:pt x="153" y="935"/>
                    </a:lnTo>
                    <a:lnTo>
                      <a:pt x="155" y="931"/>
                    </a:lnTo>
                    <a:lnTo>
                      <a:pt x="152" y="931"/>
                    </a:lnTo>
                    <a:lnTo>
                      <a:pt x="152" y="929"/>
                    </a:lnTo>
                    <a:lnTo>
                      <a:pt x="155" y="929"/>
                    </a:lnTo>
                    <a:lnTo>
                      <a:pt x="156" y="928"/>
                    </a:lnTo>
                    <a:lnTo>
                      <a:pt x="156" y="928"/>
                    </a:lnTo>
                    <a:lnTo>
                      <a:pt x="155" y="924"/>
                    </a:lnTo>
                    <a:lnTo>
                      <a:pt x="153" y="920"/>
                    </a:lnTo>
                    <a:lnTo>
                      <a:pt x="153" y="918"/>
                    </a:lnTo>
                    <a:lnTo>
                      <a:pt x="158" y="922"/>
                    </a:lnTo>
                    <a:lnTo>
                      <a:pt x="158" y="922"/>
                    </a:lnTo>
                    <a:lnTo>
                      <a:pt x="163" y="922"/>
                    </a:lnTo>
                    <a:lnTo>
                      <a:pt x="168" y="922"/>
                    </a:lnTo>
                    <a:lnTo>
                      <a:pt x="179" y="918"/>
                    </a:lnTo>
                    <a:lnTo>
                      <a:pt x="179" y="918"/>
                    </a:lnTo>
                    <a:lnTo>
                      <a:pt x="191" y="916"/>
                    </a:lnTo>
                    <a:lnTo>
                      <a:pt x="204" y="912"/>
                    </a:lnTo>
                    <a:lnTo>
                      <a:pt x="205" y="907"/>
                    </a:lnTo>
                    <a:lnTo>
                      <a:pt x="202" y="907"/>
                    </a:lnTo>
                    <a:lnTo>
                      <a:pt x="202" y="907"/>
                    </a:lnTo>
                    <a:lnTo>
                      <a:pt x="200" y="906"/>
                    </a:lnTo>
                    <a:lnTo>
                      <a:pt x="197" y="903"/>
                    </a:lnTo>
                    <a:lnTo>
                      <a:pt x="197" y="897"/>
                    </a:lnTo>
                    <a:lnTo>
                      <a:pt x="197" y="895"/>
                    </a:lnTo>
                    <a:lnTo>
                      <a:pt x="194" y="895"/>
                    </a:lnTo>
                    <a:lnTo>
                      <a:pt x="193" y="894"/>
                    </a:lnTo>
                    <a:lnTo>
                      <a:pt x="194" y="891"/>
                    </a:lnTo>
                    <a:lnTo>
                      <a:pt x="194" y="891"/>
                    </a:lnTo>
                    <a:lnTo>
                      <a:pt x="189" y="888"/>
                    </a:lnTo>
                    <a:lnTo>
                      <a:pt x="185" y="883"/>
                    </a:lnTo>
                    <a:lnTo>
                      <a:pt x="185" y="882"/>
                    </a:lnTo>
                    <a:lnTo>
                      <a:pt x="185" y="882"/>
                    </a:lnTo>
                    <a:lnTo>
                      <a:pt x="187" y="884"/>
                    </a:lnTo>
                    <a:lnTo>
                      <a:pt x="189" y="887"/>
                    </a:lnTo>
                    <a:lnTo>
                      <a:pt x="196" y="890"/>
                    </a:lnTo>
                    <a:lnTo>
                      <a:pt x="196" y="894"/>
                    </a:lnTo>
                    <a:lnTo>
                      <a:pt x="198" y="891"/>
                    </a:lnTo>
                    <a:lnTo>
                      <a:pt x="198" y="891"/>
                    </a:lnTo>
                    <a:lnTo>
                      <a:pt x="200" y="897"/>
                    </a:lnTo>
                    <a:lnTo>
                      <a:pt x="200" y="903"/>
                    </a:lnTo>
                    <a:lnTo>
                      <a:pt x="200" y="903"/>
                    </a:lnTo>
                    <a:lnTo>
                      <a:pt x="202" y="903"/>
                    </a:lnTo>
                    <a:lnTo>
                      <a:pt x="205" y="903"/>
                    </a:lnTo>
                    <a:lnTo>
                      <a:pt x="212" y="903"/>
                    </a:lnTo>
                    <a:lnTo>
                      <a:pt x="212" y="903"/>
                    </a:lnTo>
                    <a:lnTo>
                      <a:pt x="219" y="903"/>
                    </a:lnTo>
                    <a:lnTo>
                      <a:pt x="219" y="903"/>
                    </a:lnTo>
                    <a:lnTo>
                      <a:pt x="223" y="903"/>
                    </a:lnTo>
                    <a:lnTo>
                      <a:pt x="223" y="903"/>
                    </a:lnTo>
                    <a:lnTo>
                      <a:pt x="228" y="894"/>
                    </a:lnTo>
                    <a:lnTo>
                      <a:pt x="236" y="886"/>
                    </a:lnTo>
                    <a:lnTo>
                      <a:pt x="236" y="882"/>
                    </a:lnTo>
                    <a:lnTo>
                      <a:pt x="235" y="882"/>
                    </a:lnTo>
                    <a:lnTo>
                      <a:pt x="235" y="884"/>
                    </a:lnTo>
                    <a:lnTo>
                      <a:pt x="233" y="884"/>
                    </a:lnTo>
                    <a:lnTo>
                      <a:pt x="231" y="883"/>
                    </a:lnTo>
                    <a:lnTo>
                      <a:pt x="228" y="883"/>
                    </a:lnTo>
                    <a:lnTo>
                      <a:pt x="229" y="882"/>
                    </a:lnTo>
                    <a:lnTo>
                      <a:pt x="229" y="880"/>
                    </a:lnTo>
                    <a:lnTo>
                      <a:pt x="224" y="876"/>
                    </a:lnTo>
                    <a:lnTo>
                      <a:pt x="224" y="876"/>
                    </a:lnTo>
                    <a:lnTo>
                      <a:pt x="224" y="871"/>
                    </a:lnTo>
                    <a:lnTo>
                      <a:pt x="223" y="865"/>
                    </a:lnTo>
                    <a:lnTo>
                      <a:pt x="221" y="865"/>
                    </a:lnTo>
                    <a:lnTo>
                      <a:pt x="220" y="865"/>
                    </a:lnTo>
                    <a:lnTo>
                      <a:pt x="219" y="868"/>
                    </a:lnTo>
                    <a:lnTo>
                      <a:pt x="217" y="868"/>
                    </a:lnTo>
                    <a:lnTo>
                      <a:pt x="217" y="868"/>
                    </a:lnTo>
                    <a:lnTo>
                      <a:pt x="213" y="863"/>
                    </a:lnTo>
                    <a:lnTo>
                      <a:pt x="208" y="859"/>
                    </a:lnTo>
                    <a:lnTo>
                      <a:pt x="208" y="855"/>
                    </a:lnTo>
                    <a:lnTo>
                      <a:pt x="208" y="855"/>
                    </a:lnTo>
                    <a:lnTo>
                      <a:pt x="204" y="852"/>
                    </a:lnTo>
                    <a:lnTo>
                      <a:pt x="204" y="852"/>
                    </a:lnTo>
                    <a:lnTo>
                      <a:pt x="194" y="837"/>
                    </a:lnTo>
                    <a:lnTo>
                      <a:pt x="189" y="833"/>
                    </a:lnTo>
                    <a:lnTo>
                      <a:pt x="185" y="831"/>
                    </a:lnTo>
                    <a:lnTo>
                      <a:pt x="181" y="830"/>
                    </a:lnTo>
                    <a:lnTo>
                      <a:pt x="174" y="826"/>
                    </a:lnTo>
                    <a:lnTo>
                      <a:pt x="174" y="822"/>
                    </a:lnTo>
                    <a:lnTo>
                      <a:pt x="174" y="822"/>
                    </a:lnTo>
                    <a:lnTo>
                      <a:pt x="175" y="822"/>
                    </a:lnTo>
                    <a:lnTo>
                      <a:pt x="175" y="822"/>
                    </a:lnTo>
                    <a:lnTo>
                      <a:pt x="177" y="823"/>
                    </a:lnTo>
                    <a:lnTo>
                      <a:pt x="178" y="826"/>
                    </a:lnTo>
                    <a:lnTo>
                      <a:pt x="182" y="830"/>
                    </a:lnTo>
                    <a:lnTo>
                      <a:pt x="183" y="830"/>
                    </a:lnTo>
                    <a:lnTo>
                      <a:pt x="186" y="827"/>
                    </a:lnTo>
                    <a:lnTo>
                      <a:pt x="197" y="834"/>
                    </a:lnTo>
                    <a:lnTo>
                      <a:pt x="198" y="837"/>
                    </a:lnTo>
                    <a:lnTo>
                      <a:pt x="200" y="837"/>
                    </a:lnTo>
                    <a:lnTo>
                      <a:pt x="202" y="842"/>
                    </a:lnTo>
                    <a:lnTo>
                      <a:pt x="202" y="842"/>
                    </a:lnTo>
                    <a:lnTo>
                      <a:pt x="205" y="837"/>
                    </a:lnTo>
                    <a:lnTo>
                      <a:pt x="206" y="833"/>
                    </a:lnTo>
                    <a:lnTo>
                      <a:pt x="206" y="829"/>
                    </a:lnTo>
                    <a:lnTo>
                      <a:pt x="210" y="825"/>
                    </a:lnTo>
                    <a:lnTo>
                      <a:pt x="206" y="823"/>
                    </a:lnTo>
                    <a:lnTo>
                      <a:pt x="206" y="822"/>
                    </a:lnTo>
                    <a:lnTo>
                      <a:pt x="212" y="825"/>
                    </a:lnTo>
                    <a:lnTo>
                      <a:pt x="212" y="826"/>
                    </a:lnTo>
                    <a:lnTo>
                      <a:pt x="208" y="830"/>
                    </a:lnTo>
                    <a:lnTo>
                      <a:pt x="208" y="830"/>
                    </a:lnTo>
                    <a:lnTo>
                      <a:pt x="209" y="834"/>
                    </a:lnTo>
                    <a:lnTo>
                      <a:pt x="208" y="838"/>
                    </a:lnTo>
                    <a:lnTo>
                      <a:pt x="209" y="840"/>
                    </a:lnTo>
                    <a:lnTo>
                      <a:pt x="209" y="840"/>
                    </a:lnTo>
                    <a:lnTo>
                      <a:pt x="210" y="841"/>
                    </a:lnTo>
                    <a:lnTo>
                      <a:pt x="212" y="842"/>
                    </a:lnTo>
                    <a:lnTo>
                      <a:pt x="212" y="842"/>
                    </a:lnTo>
                    <a:lnTo>
                      <a:pt x="221" y="853"/>
                    </a:lnTo>
                    <a:lnTo>
                      <a:pt x="221" y="853"/>
                    </a:lnTo>
                    <a:lnTo>
                      <a:pt x="227" y="859"/>
                    </a:lnTo>
                    <a:lnTo>
                      <a:pt x="233" y="864"/>
                    </a:lnTo>
                    <a:lnTo>
                      <a:pt x="233" y="864"/>
                    </a:lnTo>
                    <a:lnTo>
                      <a:pt x="235" y="868"/>
                    </a:lnTo>
                    <a:lnTo>
                      <a:pt x="239" y="872"/>
                    </a:lnTo>
                    <a:lnTo>
                      <a:pt x="239" y="872"/>
                    </a:lnTo>
                    <a:lnTo>
                      <a:pt x="248" y="876"/>
                    </a:lnTo>
                    <a:lnTo>
                      <a:pt x="252" y="879"/>
                    </a:lnTo>
                    <a:lnTo>
                      <a:pt x="259" y="883"/>
                    </a:lnTo>
                    <a:lnTo>
                      <a:pt x="259" y="883"/>
                    </a:lnTo>
                    <a:lnTo>
                      <a:pt x="263" y="884"/>
                    </a:lnTo>
                    <a:lnTo>
                      <a:pt x="263" y="884"/>
                    </a:lnTo>
                    <a:lnTo>
                      <a:pt x="267" y="887"/>
                    </a:lnTo>
                    <a:lnTo>
                      <a:pt x="270" y="890"/>
                    </a:lnTo>
                    <a:lnTo>
                      <a:pt x="276" y="897"/>
                    </a:lnTo>
                    <a:lnTo>
                      <a:pt x="276" y="897"/>
                    </a:lnTo>
                    <a:lnTo>
                      <a:pt x="276" y="899"/>
                    </a:lnTo>
                    <a:lnTo>
                      <a:pt x="276" y="899"/>
                    </a:lnTo>
                    <a:lnTo>
                      <a:pt x="278" y="901"/>
                    </a:lnTo>
                    <a:lnTo>
                      <a:pt x="281" y="902"/>
                    </a:lnTo>
                    <a:lnTo>
                      <a:pt x="288" y="905"/>
                    </a:lnTo>
                    <a:lnTo>
                      <a:pt x="288" y="905"/>
                    </a:lnTo>
                    <a:lnTo>
                      <a:pt x="290" y="906"/>
                    </a:lnTo>
                    <a:lnTo>
                      <a:pt x="293" y="910"/>
                    </a:lnTo>
                    <a:lnTo>
                      <a:pt x="296" y="910"/>
                    </a:lnTo>
                    <a:lnTo>
                      <a:pt x="296" y="910"/>
                    </a:lnTo>
                    <a:lnTo>
                      <a:pt x="299" y="907"/>
                    </a:lnTo>
                    <a:lnTo>
                      <a:pt x="300" y="903"/>
                    </a:lnTo>
                    <a:lnTo>
                      <a:pt x="300" y="903"/>
                    </a:lnTo>
                    <a:lnTo>
                      <a:pt x="297" y="905"/>
                    </a:lnTo>
                    <a:lnTo>
                      <a:pt x="295" y="903"/>
                    </a:lnTo>
                    <a:lnTo>
                      <a:pt x="300" y="901"/>
                    </a:lnTo>
                    <a:lnTo>
                      <a:pt x="300" y="899"/>
                    </a:lnTo>
                    <a:lnTo>
                      <a:pt x="303" y="899"/>
                    </a:lnTo>
                    <a:lnTo>
                      <a:pt x="303" y="897"/>
                    </a:lnTo>
                    <a:lnTo>
                      <a:pt x="301" y="894"/>
                    </a:lnTo>
                    <a:lnTo>
                      <a:pt x="301" y="893"/>
                    </a:lnTo>
                    <a:lnTo>
                      <a:pt x="297" y="893"/>
                    </a:lnTo>
                    <a:lnTo>
                      <a:pt x="296" y="893"/>
                    </a:lnTo>
                    <a:lnTo>
                      <a:pt x="300" y="890"/>
                    </a:lnTo>
                    <a:lnTo>
                      <a:pt x="300" y="890"/>
                    </a:lnTo>
                    <a:lnTo>
                      <a:pt x="296" y="884"/>
                    </a:lnTo>
                    <a:lnTo>
                      <a:pt x="293" y="878"/>
                    </a:lnTo>
                    <a:lnTo>
                      <a:pt x="289" y="880"/>
                    </a:lnTo>
                    <a:lnTo>
                      <a:pt x="289" y="879"/>
                    </a:lnTo>
                    <a:lnTo>
                      <a:pt x="290" y="876"/>
                    </a:lnTo>
                    <a:lnTo>
                      <a:pt x="292" y="874"/>
                    </a:lnTo>
                    <a:lnTo>
                      <a:pt x="290" y="872"/>
                    </a:lnTo>
                    <a:lnTo>
                      <a:pt x="282" y="871"/>
                    </a:lnTo>
                    <a:lnTo>
                      <a:pt x="282" y="867"/>
                    </a:lnTo>
                    <a:lnTo>
                      <a:pt x="285" y="869"/>
                    </a:lnTo>
                    <a:lnTo>
                      <a:pt x="285" y="869"/>
                    </a:lnTo>
                    <a:lnTo>
                      <a:pt x="286" y="868"/>
                    </a:lnTo>
                    <a:lnTo>
                      <a:pt x="289" y="867"/>
                    </a:lnTo>
                    <a:lnTo>
                      <a:pt x="290" y="868"/>
                    </a:lnTo>
                    <a:lnTo>
                      <a:pt x="290" y="868"/>
                    </a:lnTo>
                    <a:lnTo>
                      <a:pt x="297" y="871"/>
                    </a:lnTo>
                    <a:lnTo>
                      <a:pt x="301" y="872"/>
                    </a:lnTo>
                    <a:lnTo>
                      <a:pt x="305" y="871"/>
                    </a:lnTo>
                    <a:lnTo>
                      <a:pt x="304" y="867"/>
                    </a:lnTo>
                    <a:lnTo>
                      <a:pt x="304" y="865"/>
                    </a:lnTo>
                    <a:lnTo>
                      <a:pt x="308" y="865"/>
                    </a:lnTo>
                    <a:lnTo>
                      <a:pt x="308" y="869"/>
                    </a:lnTo>
                    <a:lnTo>
                      <a:pt x="308" y="869"/>
                    </a:lnTo>
                    <a:lnTo>
                      <a:pt x="308" y="872"/>
                    </a:lnTo>
                    <a:lnTo>
                      <a:pt x="311" y="874"/>
                    </a:lnTo>
                    <a:lnTo>
                      <a:pt x="315" y="876"/>
                    </a:lnTo>
                    <a:lnTo>
                      <a:pt x="315" y="878"/>
                    </a:lnTo>
                    <a:lnTo>
                      <a:pt x="311" y="878"/>
                    </a:lnTo>
                    <a:lnTo>
                      <a:pt x="309" y="878"/>
                    </a:lnTo>
                    <a:lnTo>
                      <a:pt x="311" y="879"/>
                    </a:lnTo>
                    <a:lnTo>
                      <a:pt x="312" y="880"/>
                    </a:lnTo>
                    <a:lnTo>
                      <a:pt x="312" y="883"/>
                    </a:lnTo>
                    <a:lnTo>
                      <a:pt x="311" y="882"/>
                    </a:lnTo>
                    <a:lnTo>
                      <a:pt x="309" y="886"/>
                    </a:lnTo>
                    <a:lnTo>
                      <a:pt x="312" y="886"/>
                    </a:lnTo>
                    <a:lnTo>
                      <a:pt x="312" y="886"/>
                    </a:lnTo>
                    <a:lnTo>
                      <a:pt x="314" y="887"/>
                    </a:lnTo>
                    <a:lnTo>
                      <a:pt x="314" y="887"/>
                    </a:lnTo>
                    <a:lnTo>
                      <a:pt x="309" y="894"/>
                    </a:lnTo>
                    <a:lnTo>
                      <a:pt x="308" y="902"/>
                    </a:lnTo>
                    <a:lnTo>
                      <a:pt x="308" y="902"/>
                    </a:lnTo>
                    <a:lnTo>
                      <a:pt x="311" y="905"/>
                    </a:lnTo>
                    <a:lnTo>
                      <a:pt x="312" y="907"/>
                    </a:lnTo>
                    <a:lnTo>
                      <a:pt x="312" y="907"/>
                    </a:lnTo>
                    <a:lnTo>
                      <a:pt x="316" y="907"/>
                    </a:lnTo>
                    <a:lnTo>
                      <a:pt x="323" y="906"/>
                    </a:lnTo>
                    <a:lnTo>
                      <a:pt x="335" y="902"/>
                    </a:lnTo>
                    <a:lnTo>
                      <a:pt x="335" y="901"/>
                    </a:lnTo>
                    <a:lnTo>
                      <a:pt x="335" y="897"/>
                    </a:lnTo>
                    <a:lnTo>
                      <a:pt x="333" y="899"/>
                    </a:lnTo>
                    <a:lnTo>
                      <a:pt x="331" y="901"/>
                    </a:lnTo>
                    <a:lnTo>
                      <a:pt x="330" y="899"/>
                    </a:lnTo>
                    <a:lnTo>
                      <a:pt x="331" y="898"/>
                    </a:lnTo>
                    <a:lnTo>
                      <a:pt x="331" y="898"/>
                    </a:lnTo>
                    <a:lnTo>
                      <a:pt x="331" y="893"/>
                    </a:lnTo>
                    <a:lnTo>
                      <a:pt x="331" y="888"/>
                    </a:lnTo>
                    <a:lnTo>
                      <a:pt x="331" y="888"/>
                    </a:lnTo>
                    <a:lnTo>
                      <a:pt x="331" y="882"/>
                    </a:lnTo>
                    <a:lnTo>
                      <a:pt x="330" y="875"/>
                    </a:lnTo>
                    <a:lnTo>
                      <a:pt x="333" y="874"/>
                    </a:lnTo>
                    <a:lnTo>
                      <a:pt x="334" y="876"/>
                    </a:lnTo>
                    <a:lnTo>
                      <a:pt x="335" y="878"/>
                    </a:lnTo>
                    <a:lnTo>
                      <a:pt x="338" y="878"/>
                    </a:lnTo>
                    <a:lnTo>
                      <a:pt x="338" y="869"/>
                    </a:lnTo>
                    <a:lnTo>
                      <a:pt x="345" y="865"/>
                    </a:lnTo>
                    <a:lnTo>
                      <a:pt x="346" y="865"/>
                    </a:lnTo>
                    <a:lnTo>
                      <a:pt x="347" y="869"/>
                    </a:lnTo>
                    <a:lnTo>
                      <a:pt x="350" y="871"/>
                    </a:lnTo>
                    <a:lnTo>
                      <a:pt x="353" y="871"/>
                    </a:lnTo>
                    <a:lnTo>
                      <a:pt x="354" y="868"/>
                    </a:lnTo>
                    <a:lnTo>
                      <a:pt x="354" y="868"/>
                    </a:lnTo>
                    <a:lnTo>
                      <a:pt x="358" y="868"/>
                    </a:lnTo>
                    <a:lnTo>
                      <a:pt x="361" y="869"/>
                    </a:lnTo>
                    <a:lnTo>
                      <a:pt x="365" y="868"/>
                    </a:lnTo>
                    <a:lnTo>
                      <a:pt x="365" y="868"/>
                    </a:lnTo>
                    <a:lnTo>
                      <a:pt x="368" y="868"/>
                    </a:lnTo>
                    <a:lnTo>
                      <a:pt x="371" y="867"/>
                    </a:lnTo>
                    <a:lnTo>
                      <a:pt x="372" y="867"/>
                    </a:lnTo>
                    <a:lnTo>
                      <a:pt x="372" y="867"/>
                    </a:lnTo>
                    <a:lnTo>
                      <a:pt x="368" y="875"/>
                    </a:lnTo>
                    <a:lnTo>
                      <a:pt x="368" y="879"/>
                    </a:lnTo>
                    <a:lnTo>
                      <a:pt x="368" y="883"/>
                    </a:lnTo>
                    <a:lnTo>
                      <a:pt x="366" y="883"/>
                    </a:lnTo>
                    <a:lnTo>
                      <a:pt x="368" y="884"/>
                    </a:lnTo>
                    <a:lnTo>
                      <a:pt x="368" y="884"/>
                    </a:lnTo>
                    <a:lnTo>
                      <a:pt x="371" y="886"/>
                    </a:lnTo>
                    <a:lnTo>
                      <a:pt x="373" y="887"/>
                    </a:lnTo>
                    <a:lnTo>
                      <a:pt x="377" y="893"/>
                    </a:lnTo>
                    <a:lnTo>
                      <a:pt x="379" y="891"/>
                    </a:lnTo>
                    <a:lnTo>
                      <a:pt x="379" y="891"/>
                    </a:lnTo>
                    <a:lnTo>
                      <a:pt x="380" y="884"/>
                    </a:lnTo>
                    <a:lnTo>
                      <a:pt x="379" y="879"/>
                    </a:lnTo>
                    <a:lnTo>
                      <a:pt x="377" y="875"/>
                    </a:lnTo>
                    <a:lnTo>
                      <a:pt x="376" y="871"/>
                    </a:lnTo>
                    <a:lnTo>
                      <a:pt x="377" y="869"/>
                    </a:lnTo>
                    <a:lnTo>
                      <a:pt x="384" y="871"/>
                    </a:lnTo>
                    <a:lnTo>
                      <a:pt x="385" y="872"/>
                    </a:lnTo>
                    <a:lnTo>
                      <a:pt x="384" y="876"/>
                    </a:lnTo>
                    <a:lnTo>
                      <a:pt x="385" y="883"/>
                    </a:lnTo>
                    <a:lnTo>
                      <a:pt x="390" y="886"/>
                    </a:lnTo>
                    <a:lnTo>
                      <a:pt x="391" y="886"/>
                    </a:lnTo>
                    <a:lnTo>
                      <a:pt x="391" y="886"/>
                    </a:lnTo>
                    <a:lnTo>
                      <a:pt x="392" y="882"/>
                    </a:lnTo>
                    <a:lnTo>
                      <a:pt x="395" y="876"/>
                    </a:lnTo>
                    <a:lnTo>
                      <a:pt x="392" y="874"/>
                    </a:lnTo>
                    <a:lnTo>
                      <a:pt x="394" y="872"/>
                    </a:lnTo>
                    <a:lnTo>
                      <a:pt x="394" y="869"/>
                    </a:lnTo>
                    <a:lnTo>
                      <a:pt x="394" y="869"/>
                    </a:lnTo>
                    <a:lnTo>
                      <a:pt x="398" y="871"/>
                    </a:lnTo>
                    <a:lnTo>
                      <a:pt x="396" y="875"/>
                    </a:lnTo>
                    <a:lnTo>
                      <a:pt x="396" y="876"/>
                    </a:lnTo>
                    <a:lnTo>
                      <a:pt x="400" y="876"/>
                    </a:lnTo>
                    <a:lnTo>
                      <a:pt x="394" y="882"/>
                    </a:lnTo>
                    <a:lnTo>
                      <a:pt x="394" y="884"/>
                    </a:lnTo>
                    <a:lnTo>
                      <a:pt x="395" y="886"/>
                    </a:lnTo>
                    <a:lnTo>
                      <a:pt x="399" y="887"/>
                    </a:lnTo>
                    <a:lnTo>
                      <a:pt x="398" y="890"/>
                    </a:lnTo>
                    <a:lnTo>
                      <a:pt x="402" y="891"/>
                    </a:lnTo>
                    <a:lnTo>
                      <a:pt x="402" y="891"/>
                    </a:lnTo>
                    <a:lnTo>
                      <a:pt x="404" y="890"/>
                    </a:lnTo>
                    <a:lnTo>
                      <a:pt x="407" y="888"/>
                    </a:lnTo>
                    <a:lnTo>
                      <a:pt x="411" y="883"/>
                    </a:lnTo>
                    <a:lnTo>
                      <a:pt x="411" y="883"/>
                    </a:lnTo>
                    <a:lnTo>
                      <a:pt x="413" y="879"/>
                    </a:lnTo>
                    <a:lnTo>
                      <a:pt x="414" y="875"/>
                    </a:lnTo>
                    <a:lnTo>
                      <a:pt x="415" y="875"/>
                    </a:lnTo>
                    <a:lnTo>
                      <a:pt x="415" y="875"/>
                    </a:lnTo>
                    <a:lnTo>
                      <a:pt x="415" y="878"/>
                    </a:lnTo>
                    <a:lnTo>
                      <a:pt x="414" y="879"/>
                    </a:lnTo>
                    <a:lnTo>
                      <a:pt x="414" y="882"/>
                    </a:lnTo>
                    <a:lnTo>
                      <a:pt x="414" y="884"/>
                    </a:lnTo>
                    <a:lnTo>
                      <a:pt x="410" y="890"/>
                    </a:lnTo>
                    <a:lnTo>
                      <a:pt x="410" y="891"/>
                    </a:lnTo>
                    <a:lnTo>
                      <a:pt x="409" y="891"/>
                    </a:lnTo>
                    <a:lnTo>
                      <a:pt x="407" y="891"/>
                    </a:lnTo>
                    <a:lnTo>
                      <a:pt x="403" y="894"/>
                    </a:lnTo>
                    <a:lnTo>
                      <a:pt x="403" y="894"/>
                    </a:lnTo>
                    <a:lnTo>
                      <a:pt x="398" y="893"/>
                    </a:lnTo>
                    <a:lnTo>
                      <a:pt x="392" y="890"/>
                    </a:lnTo>
                    <a:lnTo>
                      <a:pt x="391" y="890"/>
                    </a:lnTo>
                    <a:lnTo>
                      <a:pt x="387" y="893"/>
                    </a:lnTo>
                    <a:lnTo>
                      <a:pt x="387" y="893"/>
                    </a:lnTo>
                    <a:lnTo>
                      <a:pt x="385" y="897"/>
                    </a:lnTo>
                    <a:lnTo>
                      <a:pt x="384" y="901"/>
                    </a:lnTo>
                    <a:lnTo>
                      <a:pt x="383" y="901"/>
                    </a:lnTo>
                    <a:lnTo>
                      <a:pt x="381" y="901"/>
                    </a:lnTo>
                    <a:lnTo>
                      <a:pt x="381" y="905"/>
                    </a:lnTo>
                    <a:lnTo>
                      <a:pt x="380" y="906"/>
                    </a:lnTo>
                    <a:lnTo>
                      <a:pt x="379" y="905"/>
                    </a:lnTo>
                    <a:lnTo>
                      <a:pt x="380" y="902"/>
                    </a:lnTo>
                    <a:lnTo>
                      <a:pt x="379" y="901"/>
                    </a:lnTo>
                    <a:lnTo>
                      <a:pt x="377" y="902"/>
                    </a:lnTo>
                    <a:lnTo>
                      <a:pt x="376" y="906"/>
                    </a:lnTo>
                    <a:lnTo>
                      <a:pt x="376" y="906"/>
                    </a:lnTo>
                    <a:lnTo>
                      <a:pt x="377" y="909"/>
                    </a:lnTo>
                    <a:lnTo>
                      <a:pt x="380" y="910"/>
                    </a:lnTo>
                    <a:lnTo>
                      <a:pt x="388" y="916"/>
                    </a:lnTo>
                    <a:lnTo>
                      <a:pt x="402" y="922"/>
                    </a:lnTo>
                    <a:lnTo>
                      <a:pt x="402" y="922"/>
                    </a:lnTo>
                    <a:lnTo>
                      <a:pt x="407" y="926"/>
                    </a:lnTo>
                    <a:lnTo>
                      <a:pt x="413" y="933"/>
                    </a:lnTo>
                    <a:lnTo>
                      <a:pt x="418" y="939"/>
                    </a:lnTo>
                    <a:lnTo>
                      <a:pt x="422" y="943"/>
                    </a:lnTo>
                    <a:lnTo>
                      <a:pt x="425" y="941"/>
                    </a:lnTo>
                    <a:lnTo>
                      <a:pt x="425" y="941"/>
                    </a:lnTo>
                    <a:lnTo>
                      <a:pt x="428" y="937"/>
                    </a:lnTo>
                    <a:lnTo>
                      <a:pt x="432" y="932"/>
                    </a:lnTo>
                    <a:lnTo>
                      <a:pt x="436" y="921"/>
                    </a:lnTo>
                    <a:lnTo>
                      <a:pt x="433" y="922"/>
                    </a:lnTo>
                    <a:lnTo>
                      <a:pt x="429" y="918"/>
                    </a:lnTo>
                    <a:lnTo>
                      <a:pt x="428" y="917"/>
                    </a:lnTo>
                    <a:lnTo>
                      <a:pt x="425" y="918"/>
                    </a:lnTo>
                    <a:lnTo>
                      <a:pt x="426" y="916"/>
                    </a:lnTo>
                    <a:lnTo>
                      <a:pt x="426" y="914"/>
                    </a:lnTo>
                    <a:lnTo>
                      <a:pt x="432" y="914"/>
                    </a:lnTo>
                    <a:lnTo>
                      <a:pt x="432" y="912"/>
                    </a:lnTo>
                    <a:lnTo>
                      <a:pt x="436" y="912"/>
                    </a:lnTo>
                    <a:lnTo>
                      <a:pt x="434" y="914"/>
                    </a:lnTo>
                    <a:lnTo>
                      <a:pt x="437" y="917"/>
                    </a:lnTo>
                    <a:lnTo>
                      <a:pt x="436" y="918"/>
                    </a:lnTo>
                    <a:lnTo>
                      <a:pt x="437" y="920"/>
                    </a:lnTo>
                    <a:lnTo>
                      <a:pt x="437" y="920"/>
                    </a:lnTo>
                    <a:lnTo>
                      <a:pt x="440" y="916"/>
                    </a:lnTo>
                    <a:lnTo>
                      <a:pt x="445" y="912"/>
                    </a:lnTo>
                    <a:lnTo>
                      <a:pt x="445" y="912"/>
                    </a:lnTo>
                    <a:lnTo>
                      <a:pt x="455" y="907"/>
                    </a:lnTo>
                    <a:lnTo>
                      <a:pt x="455" y="907"/>
                    </a:lnTo>
                    <a:lnTo>
                      <a:pt x="463" y="907"/>
                    </a:lnTo>
                    <a:lnTo>
                      <a:pt x="463" y="907"/>
                    </a:lnTo>
                    <a:lnTo>
                      <a:pt x="474" y="903"/>
                    </a:lnTo>
                    <a:lnTo>
                      <a:pt x="474" y="903"/>
                    </a:lnTo>
                    <a:lnTo>
                      <a:pt x="491" y="899"/>
                    </a:lnTo>
                    <a:lnTo>
                      <a:pt x="491" y="899"/>
                    </a:lnTo>
                    <a:lnTo>
                      <a:pt x="502" y="895"/>
                    </a:lnTo>
                    <a:lnTo>
                      <a:pt x="508" y="894"/>
                    </a:lnTo>
                    <a:lnTo>
                      <a:pt x="514" y="893"/>
                    </a:lnTo>
                    <a:lnTo>
                      <a:pt x="514" y="893"/>
                    </a:lnTo>
                    <a:lnTo>
                      <a:pt x="528" y="893"/>
                    </a:lnTo>
                    <a:lnTo>
                      <a:pt x="541" y="893"/>
                    </a:lnTo>
                    <a:lnTo>
                      <a:pt x="541" y="893"/>
                    </a:lnTo>
                    <a:lnTo>
                      <a:pt x="558" y="891"/>
                    </a:lnTo>
                    <a:lnTo>
                      <a:pt x="574" y="888"/>
                    </a:lnTo>
                    <a:lnTo>
                      <a:pt x="574" y="888"/>
                    </a:lnTo>
                    <a:lnTo>
                      <a:pt x="575" y="888"/>
                    </a:lnTo>
                    <a:lnTo>
                      <a:pt x="575" y="888"/>
                    </a:lnTo>
                    <a:lnTo>
                      <a:pt x="588" y="884"/>
                    </a:lnTo>
                    <a:lnTo>
                      <a:pt x="601" y="880"/>
                    </a:lnTo>
                    <a:lnTo>
                      <a:pt x="601" y="880"/>
                    </a:lnTo>
                    <a:lnTo>
                      <a:pt x="611" y="878"/>
                    </a:lnTo>
                    <a:lnTo>
                      <a:pt x="616" y="878"/>
                    </a:lnTo>
                    <a:lnTo>
                      <a:pt x="620" y="878"/>
                    </a:lnTo>
                    <a:lnTo>
                      <a:pt x="622" y="876"/>
                    </a:lnTo>
                    <a:lnTo>
                      <a:pt x="615" y="875"/>
                    </a:lnTo>
                    <a:lnTo>
                      <a:pt x="609" y="875"/>
                    </a:lnTo>
                    <a:lnTo>
                      <a:pt x="609" y="874"/>
                    </a:lnTo>
                    <a:lnTo>
                      <a:pt x="609" y="874"/>
                    </a:lnTo>
                    <a:lnTo>
                      <a:pt x="615" y="874"/>
                    </a:lnTo>
                    <a:lnTo>
                      <a:pt x="620" y="875"/>
                    </a:lnTo>
                    <a:lnTo>
                      <a:pt x="623" y="876"/>
                    </a:lnTo>
                    <a:lnTo>
                      <a:pt x="623" y="876"/>
                    </a:lnTo>
                    <a:lnTo>
                      <a:pt x="638" y="879"/>
                    </a:lnTo>
                    <a:lnTo>
                      <a:pt x="653" y="880"/>
                    </a:lnTo>
                    <a:lnTo>
                      <a:pt x="653" y="880"/>
                    </a:lnTo>
                    <a:lnTo>
                      <a:pt x="664" y="883"/>
                    </a:lnTo>
                    <a:lnTo>
                      <a:pt x="669" y="884"/>
                    </a:lnTo>
                    <a:lnTo>
                      <a:pt x="676" y="886"/>
                    </a:lnTo>
                    <a:lnTo>
                      <a:pt x="676" y="886"/>
                    </a:lnTo>
                    <a:lnTo>
                      <a:pt x="695" y="895"/>
                    </a:lnTo>
                    <a:lnTo>
                      <a:pt x="717" y="902"/>
                    </a:lnTo>
                    <a:lnTo>
                      <a:pt x="717" y="902"/>
                    </a:lnTo>
                    <a:lnTo>
                      <a:pt x="729" y="906"/>
                    </a:lnTo>
                    <a:lnTo>
                      <a:pt x="729" y="906"/>
                    </a:lnTo>
                    <a:lnTo>
                      <a:pt x="731" y="906"/>
                    </a:lnTo>
                    <a:lnTo>
                      <a:pt x="734" y="905"/>
                    </a:lnTo>
                    <a:lnTo>
                      <a:pt x="737" y="905"/>
                    </a:lnTo>
                    <a:lnTo>
                      <a:pt x="741" y="907"/>
                    </a:lnTo>
                    <a:lnTo>
                      <a:pt x="741" y="907"/>
                    </a:lnTo>
                    <a:lnTo>
                      <a:pt x="752" y="916"/>
                    </a:lnTo>
                    <a:lnTo>
                      <a:pt x="759" y="921"/>
                    </a:lnTo>
                    <a:lnTo>
                      <a:pt x="761" y="922"/>
                    </a:lnTo>
                    <a:lnTo>
                      <a:pt x="764" y="922"/>
                    </a:lnTo>
                    <a:lnTo>
                      <a:pt x="767" y="920"/>
                    </a:lnTo>
                    <a:lnTo>
                      <a:pt x="767" y="920"/>
                    </a:lnTo>
                    <a:lnTo>
                      <a:pt x="782" y="928"/>
                    </a:lnTo>
                    <a:lnTo>
                      <a:pt x="782" y="928"/>
                    </a:lnTo>
                    <a:lnTo>
                      <a:pt x="788" y="932"/>
                    </a:lnTo>
                    <a:lnTo>
                      <a:pt x="794" y="935"/>
                    </a:lnTo>
                    <a:lnTo>
                      <a:pt x="799" y="936"/>
                    </a:lnTo>
                    <a:lnTo>
                      <a:pt x="806" y="933"/>
                    </a:lnTo>
                    <a:lnTo>
                      <a:pt x="806" y="933"/>
                    </a:lnTo>
                    <a:lnTo>
                      <a:pt x="810" y="929"/>
                    </a:lnTo>
                    <a:lnTo>
                      <a:pt x="813" y="925"/>
                    </a:lnTo>
                    <a:lnTo>
                      <a:pt x="813" y="925"/>
                    </a:lnTo>
                    <a:lnTo>
                      <a:pt x="818" y="918"/>
                    </a:lnTo>
                    <a:lnTo>
                      <a:pt x="825" y="910"/>
                    </a:lnTo>
                    <a:lnTo>
                      <a:pt x="825" y="910"/>
                    </a:lnTo>
                    <a:lnTo>
                      <a:pt x="828" y="907"/>
                    </a:lnTo>
                    <a:lnTo>
                      <a:pt x="832" y="905"/>
                    </a:lnTo>
                    <a:lnTo>
                      <a:pt x="836" y="895"/>
                    </a:lnTo>
                    <a:lnTo>
                      <a:pt x="836" y="895"/>
                    </a:lnTo>
                    <a:lnTo>
                      <a:pt x="840" y="890"/>
                    </a:lnTo>
                    <a:lnTo>
                      <a:pt x="843" y="887"/>
                    </a:lnTo>
                    <a:lnTo>
                      <a:pt x="852" y="882"/>
                    </a:lnTo>
                    <a:lnTo>
                      <a:pt x="852" y="882"/>
                    </a:lnTo>
                    <a:lnTo>
                      <a:pt x="860" y="878"/>
                    </a:lnTo>
                    <a:lnTo>
                      <a:pt x="867" y="876"/>
                    </a:lnTo>
                    <a:lnTo>
                      <a:pt x="887" y="872"/>
                    </a:lnTo>
                    <a:lnTo>
                      <a:pt x="887" y="872"/>
                    </a:lnTo>
                    <a:lnTo>
                      <a:pt x="896" y="869"/>
                    </a:lnTo>
                    <a:lnTo>
                      <a:pt x="902" y="865"/>
                    </a:lnTo>
                    <a:lnTo>
                      <a:pt x="902" y="865"/>
                    </a:lnTo>
                    <a:lnTo>
                      <a:pt x="909" y="865"/>
                    </a:lnTo>
                    <a:lnTo>
                      <a:pt x="916" y="864"/>
                    </a:lnTo>
                    <a:lnTo>
                      <a:pt x="916" y="864"/>
                    </a:lnTo>
                    <a:lnTo>
                      <a:pt x="927" y="861"/>
                    </a:lnTo>
                    <a:lnTo>
                      <a:pt x="927" y="861"/>
                    </a:lnTo>
                    <a:lnTo>
                      <a:pt x="934" y="859"/>
                    </a:lnTo>
                    <a:lnTo>
                      <a:pt x="934" y="859"/>
                    </a:lnTo>
                    <a:lnTo>
                      <a:pt x="939" y="856"/>
                    </a:lnTo>
                    <a:lnTo>
                      <a:pt x="943" y="855"/>
                    </a:lnTo>
                    <a:lnTo>
                      <a:pt x="943" y="855"/>
                    </a:lnTo>
                    <a:lnTo>
                      <a:pt x="951" y="852"/>
                    </a:lnTo>
                    <a:lnTo>
                      <a:pt x="951" y="852"/>
                    </a:lnTo>
                    <a:lnTo>
                      <a:pt x="955" y="850"/>
                    </a:lnTo>
                    <a:lnTo>
                      <a:pt x="957" y="846"/>
                    </a:lnTo>
                    <a:lnTo>
                      <a:pt x="961" y="841"/>
                    </a:lnTo>
                    <a:lnTo>
                      <a:pt x="961" y="841"/>
                    </a:lnTo>
                    <a:lnTo>
                      <a:pt x="974" y="827"/>
                    </a:lnTo>
                    <a:lnTo>
                      <a:pt x="974" y="827"/>
                    </a:lnTo>
                    <a:lnTo>
                      <a:pt x="982" y="822"/>
                    </a:lnTo>
                    <a:lnTo>
                      <a:pt x="992" y="815"/>
                    </a:lnTo>
                    <a:lnTo>
                      <a:pt x="992" y="815"/>
                    </a:lnTo>
                    <a:lnTo>
                      <a:pt x="992" y="814"/>
                    </a:lnTo>
                    <a:lnTo>
                      <a:pt x="991" y="812"/>
                    </a:lnTo>
                    <a:lnTo>
                      <a:pt x="988" y="808"/>
                    </a:lnTo>
                    <a:lnTo>
                      <a:pt x="980" y="802"/>
                    </a:lnTo>
                    <a:lnTo>
                      <a:pt x="980" y="802"/>
                    </a:lnTo>
                    <a:lnTo>
                      <a:pt x="984" y="803"/>
                    </a:lnTo>
                    <a:lnTo>
                      <a:pt x="987" y="806"/>
                    </a:lnTo>
                    <a:lnTo>
                      <a:pt x="989" y="808"/>
                    </a:lnTo>
                    <a:lnTo>
                      <a:pt x="992" y="812"/>
                    </a:lnTo>
                    <a:lnTo>
                      <a:pt x="992" y="812"/>
                    </a:lnTo>
                    <a:lnTo>
                      <a:pt x="997" y="812"/>
                    </a:lnTo>
                    <a:lnTo>
                      <a:pt x="1007" y="814"/>
                    </a:lnTo>
                    <a:lnTo>
                      <a:pt x="1022" y="818"/>
                    </a:lnTo>
                    <a:lnTo>
                      <a:pt x="1022" y="818"/>
                    </a:lnTo>
                    <a:lnTo>
                      <a:pt x="1035" y="822"/>
                    </a:lnTo>
                    <a:lnTo>
                      <a:pt x="1035" y="822"/>
                    </a:lnTo>
                    <a:lnTo>
                      <a:pt x="1049" y="825"/>
                    </a:lnTo>
                    <a:lnTo>
                      <a:pt x="1064" y="826"/>
                    </a:lnTo>
                    <a:lnTo>
                      <a:pt x="1064" y="826"/>
                    </a:lnTo>
                    <a:lnTo>
                      <a:pt x="1067" y="825"/>
                    </a:lnTo>
                    <a:lnTo>
                      <a:pt x="1067" y="825"/>
                    </a:lnTo>
                    <a:lnTo>
                      <a:pt x="1067" y="822"/>
                    </a:lnTo>
                    <a:lnTo>
                      <a:pt x="1061" y="796"/>
                    </a:lnTo>
                    <a:lnTo>
                      <a:pt x="1061" y="796"/>
                    </a:lnTo>
                    <a:lnTo>
                      <a:pt x="1065" y="775"/>
                    </a:lnTo>
                    <a:lnTo>
                      <a:pt x="1065" y="775"/>
                    </a:lnTo>
                    <a:lnTo>
                      <a:pt x="1072" y="760"/>
                    </a:lnTo>
                    <a:lnTo>
                      <a:pt x="1072" y="760"/>
                    </a:lnTo>
                    <a:lnTo>
                      <a:pt x="1077" y="754"/>
                    </a:lnTo>
                    <a:lnTo>
                      <a:pt x="1077" y="754"/>
                    </a:lnTo>
                    <a:lnTo>
                      <a:pt x="1088" y="742"/>
                    </a:lnTo>
                    <a:lnTo>
                      <a:pt x="1103" y="732"/>
                    </a:lnTo>
                    <a:lnTo>
                      <a:pt x="1103" y="732"/>
                    </a:lnTo>
                    <a:lnTo>
                      <a:pt x="1110" y="730"/>
                    </a:lnTo>
                    <a:lnTo>
                      <a:pt x="1119" y="727"/>
                    </a:lnTo>
                    <a:lnTo>
                      <a:pt x="1137" y="726"/>
                    </a:lnTo>
                    <a:lnTo>
                      <a:pt x="1137" y="726"/>
                    </a:lnTo>
                    <a:lnTo>
                      <a:pt x="1144" y="724"/>
                    </a:lnTo>
                    <a:lnTo>
                      <a:pt x="1145" y="722"/>
                    </a:lnTo>
                    <a:lnTo>
                      <a:pt x="1148" y="720"/>
                    </a:lnTo>
                    <a:lnTo>
                      <a:pt x="1148" y="720"/>
                    </a:lnTo>
                    <a:lnTo>
                      <a:pt x="1149" y="716"/>
                    </a:lnTo>
                    <a:lnTo>
                      <a:pt x="1151" y="713"/>
                    </a:lnTo>
                    <a:lnTo>
                      <a:pt x="1153" y="712"/>
                    </a:lnTo>
                    <a:lnTo>
                      <a:pt x="1157" y="711"/>
                    </a:lnTo>
                    <a:lnTo>
                      <a:pt x="1171" y="708"/>
                    </a:lnTo>
                    <a:lnTo>
                      <a:pt x="1171" y="708"/>
                    </a:lnTo>
                    <a:lnTo>
                      <a:pt x="1182" y="703"/>
                    </a:lnTo>
                    <a:lnTo>
                      <a:pt x="1182" y="703"/>
                    </a:lnTo>
                    <a:lnTo>
                      <a:pt x="1185" y="701"/>
                    </a:lnTo>
                    <a:lnTo>
                      <a:pt x="1189" y="701"/>
                    </a:lnTo>
                    <a:lnTo>
                      <a:pt x="1191" y="704"/>
                    </a:lnTo>
                    <a:lnTo>
                      <a:pt x="1194" y="703"/>
                    </a:lnTo>
                    <a:lnTo>
                      <a:pt x="1190" y="700"/>
                    </a:lnTo>
                    <a:lnTo>
                      <a:pt x="1191" y="697"/>
                    </a:lnTo>
                    <a:lnTo>
                      <a:pt x="1191" y="697"/>
                    </a:lnTo>
                    <a:lnTo>
                      <a:pt x="1195" y="694"/>
                    </a:lnTo>
                    <a:lnTo>
                      <a:pt x="1200" y="693"/>
                    </a:lnTo>
                    <a:lnTo>
                      <a:pt x="1204" y="690"/>
                    </a:lnTo>
                    <a:lnTo>
                      <a:pt x="1208" y="689"/>
                    </a:lnTo>
                    <a:lnTo>
                      <a:pt x="1208" y="689"/>
                    </a:lnTo>
                    <a:lnTo>
                      <a:pt x="1214" y="682"/>
                    </a:lnTo>
                    <a:lnTo>
                      <a:pt x="1220" y="673"/>
                    </a:lnTo>
                    <a:lnTo>
                      <a:pt x="1220" y="673"/>
                    </a:lnTo>
                    <a:lnTo>
                      <a:pt x="1223" y="667"/>
                    </a:lnTo>
                    <a:lnTo>
                      <a:pt x="1223" y="661"/>
                    </a:lnTo>
                    <a:lnTo>
                      <a:pt x="1223" y="648"/>
                    </a:lnTo>
                    <a:lnTo>
                      <a:pt x="1223" y="648"/>
                    </a:lnTo>
                    <a:lnTo>
                      <a:pt x="1221" y="640"/>
                    </a:lnTo>
                    <a:lnTo>
                      <a:pt x="1221" y="640"/>
                    </a:lnTo>
                    <a:lnTo>
                      <a:pt x="1223" y="632"/>
                    </a:lnTo>
                    <a:lnTo>
                      <a:pt x="1221" y="624"/>
                    </a:lnTo>
                    <a:lnTo>
                      <a:pt x="1221" y="624"/>
                    </a:lnTo>
                    <a:lnTo>
                      <a:pt x="1220" y="617"/>
                    </a:lnTo>
                    <a:lnTo>
                      <a:pt x="1220" y="617"/>
                    </a:lnTo>
                    <a:lnTo>
                      <a:pt x="1214" y="598"/>
                    </a:lnTo>
                    <a:lnTo>
                      <a:pt x="1212" y="590"/>
                    </a:lnTo>
                    <a:lnTo>
                      <a:pt x="1210" y="579"/>
                    </a:lnTo>
                    <a:lnTo>
                      <a:pt x="1209" y="578"/>
                    </a:lnTo>
                    <a:lnTo>
                      <a:pt x="1205" y="579"/>
                    </a:lnTo>
                    <a:lnTo>
                      <a:pt x="1208" y="576"/>
                    </a:lnTo>
                    <a:lnTo>
                      <a:pt x="1208" y="574"/>
                    </a:lnTo>
                    <a:lnTo>
                      <a:pt x="1212" y="568"/>
                    </a:lnTo>
                    <a:lnTo>
                      <a:pt x="1212" y="568"/>
                    </a:lnTo>
                    <a:lnTo>
                      <a:pt x="1217" y="570"/>
                    </a:lnTo>
                    <a:lnTo>
                      <a:pt x="1217" y="570"/>
                    </a:lnTo>
                    <a:lnTo>
                      <a:pt x="1223" y="570"/>
                    </a:lnTo>
                    <a:lnTo>
                      <a:pt x="1223" y="570"/>
                    </a:lnTo>
                    <a:lnTo>
                      <a:pt x="1225" y="570"/>
                    </a:lnTo>
                    <a:lnTo>
                      <a:pt x="1228" y="568"/>
                    </a:lnTo>
                    <a:lnTo>
                      <a:pt x="1232" y="562"/>
                    </a:lnTo>
                    <a:lnTo>
                      <a:pt x="1232" y="562"/>
                    </a:lnTo>
                    <a:lnTo>
                      <a:pt x="1235" y="557"/>
                    </a:lnTo>
                    <a:lnTo>
                      <a:pt x="1238" y="553"/>
                    </a:lnTo>
                    <a:lnTo>
                      <a:pt x="1236" y="545"/>
                    </a:lnTo>
                    <a:lnTo>
                      <a:pt x="1239" y="544"/>
                    </a:lnTo>
                    <a:lnTo>
                      <a:pt x="1239" y="544"/>
                    </a:lnTo>
                    <a:lnTo>
                      <a:pt x="1239" y="540"/>
                    </a:lnTo>
                    <a:lnTo>
                      <a:pt x="1238" y="536"/>
                    </a:lnTo>
                    <a:lnTo>
                      <a:pt x="1235" y="532"/>
                    </a:lnTo>
                    <a:lnTo>
                      <a:pt x="1232" y="529"/>
                    </a:lnTo>
                    <a:lnTo>
                      <a:pt x="1229" y="528"/>
                    </a:lnTo>
                    <a:lnTo>
                      <a:pt x="1229" y="528"/>
                    </a:lnTo>
                    <a:lnTo>
                      <a:pt x="1227" y="529"/>
                    </a:lnTo>
                    <a:lnTo>
                      <a:pt x="1223" y="529"/>
                    </a:lnTo>
                    <a:lnTo>
                      <a:pt x="1214" y="529"/>
                    </a:lnTo>
                    <a:lnTo>
                      <a:pt x="1214" y="529"/>
                    </a:lnTo>
                    <a:lnTo>
                      <a:pt x="1213" y="530"/>
                    </a:lnTo>
                    <a:lnTo>
                      <a:pt x="1206" y="533"/>
                    </a:lnTo>
                    <a:lnTo>
                      <a:pt x="1205" y="533"/>
                    </a:lnTo>
                    <a:lnTo>
                      <a:pt x="1198" y="533"/>
                    </a:lnTo>
                    <a:lnTo>
                      <a:pt x="1197" y="533"/>
                    </a:lnTo>
                    <a:lnTo>
                      <a:pt x="1197" y="533"/>
                    </a:lnTo>
                    <a:lnTo>
                      <a:pt x="1194" y="534"/>
                    </a:lnTo>
                    <a:lnTo>
                      <a:pt x="1190" y="536"/>
                    </a:lnTo>
                    <a:lnTo>
                      <a:pt x="1182" y="534"/>
                    </a:lnTo>
                    <a:lnTo>
                      <a:pt x="1182" y="534"/>
                    </a:lnTo>
                    <a:lnTo>
                      <a:pt x="1179" y="536"/>
                    </a:lnTo>
                    <a:lnTo>
                      <a:pt x="1176" y="538"/>
                    </a:lnTo>
                    <a:lnTo>
                      <a:pt x="1176" y="538"/>
                    </a:lnTo>
                    <a:lnTo>
                      <a:pt x="1174" y="538"/>
                    </a:lnTo>
                    <a:lnTo>
                      <a:pt x="1171" y="537"/>
                    </a:lnTo>
                    <a:lnTo>
                      <a:pt x="1170" y="538"/>
                    </a:lnTo>
                    <a:lnTo>
                      <a:pt x="1170" y="538"/>
                    </a:lnTo>
                    <a:lnTo>
                      <a:pt x="1166" y="538"/>
                    </a:lnTo>
                    <a:lnTo>
                      <a:pt x="1160" y="537"/>
                    </a:lnTo>
                    <a:lnTo>
                      <a:pt x="1149" y="536"/>
                    </a:lnTo>
                    <a:lnTo>
                      <a:pt x="1149" y="536"/>
                    </a:lnTo>
                    <a:lnTo>
                      <a:pt x="1140" y="537"/>
                    </a:lnTo>
                    <a:lnTo>
                      <a:pt x="1130" y="540"/>
                    </a:lnTo>
                    <a:lnTo>
                      <a:pt x="1119" y="543"/>
                    </a:lnTo>
                    <a:lnTo>
                      <a:pt x="1115" y="543"/>
                    </a:lnTo>
                    <a:lnTo>
                      <a:pt x="1110" y="541"/>
                    </a:lnTo>
                    <a:lnTo>
                      <a:pt x="1110" y="543"/>
                    </a:lnTo>
                    <a:lnTo>
                      <a:pt x="1110" y="543"/>
                    </a:lnTo>
                    <a:lnTo>
                      <a:pt x="1105" y="544"/>
                    </a:lnTo>
                    <a:lnTo>
                      <a:pt x="1099" y="543"/>
                    </a:lnTo>
                    <a:lnTo>
                      <a:pt x="1099" y="543"/>
                    </a:lnTo>
                    <a:lnTo>
                      <a:pt x="1095" y="545"/>
                    </a:lnTo>
                    <a:lnTo>
                      <a:pt x="1084" y="547"/>
                    </a:lnTo>
                    <a:lnTo>
                      <a:pt x="1084" y="547"/>
                    </a:lnTo>
                    <a:lnTo>
                      <a:pt x="1079" y="552"/>
                    </a:lnTo>
                    <a:lnTo>
                      <a:pt x="1076" y="555"/>
                    </a:lnTo>
                    <a:lnTo>
                      <a:pt x="1072" y="556"/>
                    </a:lnTo>
                    <a:lnTo>
                      <a:pt x="1072" y="556"/>
                    </a:lnTo>
                    <a:lnTo>
                      <a:pt x="1067" y="557"/>
                    </a:lnTo>
                    <a:lnTo>
                      <a:pt x="1061" y="557"/>
                    </a:lnTo>
                    <a:lnTo>
                      <a:pt x="1061" y="557"/>
                    </a:lnTo>
                    <a:lnTo>
                      <a:pt x="1054" y="557"/>
                    </a:lnTo>
                    <a:lnTo>
                      <a:pt x="1046" y="557"/>
                    </a:lnTo>
                    <a:lnTo>
                      <a:pt x="1046" y="557"/>
                    </a:lnTo>
                    <a:lnTo>
                      <a:pt x="1038" y="560"/>
                    </a:lnTo>
                    <a:lnTo>
                      <a:pt x="1038" y="559"/>
                    </a:lnTo>
                    <a:lnTo>
                      <a:pt x="1038" y="559"/>
                    </a:lnTo>
                    <a:lnTo>
                      <a:pt x="1035" y="557"/>
                    </a:lnTo>
                    <a:lnTo>
                      <a:pt x="1033" y="555"/>
                    </a:lnTo>
                    <a:lnTo>
                      <a:pt x="1030" y="553"/>
                    </a:lnTo>
                    <a:lnTo>
                      <a:pt x="1027" y="551"/>
                    </a:lnTo>
                    <a:lnTo>
                      <a:pt x="1027" y="551"/>
                    </a:lnTo>
                    <a:lnTo>
                      <a:pt x="1018" y="552"/>
                    </a:lnTo>
                    <a:lnTo>
                      <a:pt x="1012" y="552"/>
                    </a:lnTo>
                    <a:lnTo>
                      <a:pt x="1008" y="552"/>
                    </a:lnTo>
                    <a:lnTo>
                      <a:pt x="1008" y="552"/>
                    </a:lnTo>
                    <a:lnTo>
                      <a:pt x="1007" y="551"/>
                    </a:lnTo>
                    <a:lnTo>
                      <a:pt x="1004" y="549"/>
                    </a:lnTo>
                    <a:lnTo>
                      <a:pt x="1004" y="549"/>
                    </a:lnTo>
                    <a:lnTo>
                      <a:pt x="996" y="548"/>
                    </a:lnTo>
                    <a:lnTo>
                      <a:pt x="992" y="547"/>
                    </a:lnTo>
                    <a:lnTo>
                      <a:pt x="989" y="548"/>
                    </a:lnTo>
                    <a:lnTo>
                      <a:pt x="989" y="544"/>
                    </a:lnTo>
                    <a:lnTo>
                      <a:pt x="988" y="543"/>
                    </a:lnTo>
                    <a:lnTo>
                      <a:pt x="989" y="534"/>
                    </a:lnTo>
                    <a:lnTo>
                      <a:pt x="989" y="534"/>
                    </a:lnTo>
                    <a:lnTo>
                      <a:pt x="985" y="530"/>
                    </a:lnTo>
                    <a:lnTo>
                      <a:pt x="981" y="526"/>
                    </a:lnTo>
                    <a:lnTo>
                      <a:pt x="978" y="526"/>
                    </a:lnTo>
                    <a:lnTo>
                      <a:pt x="978" y="526"/>
                    </a:lnTo>
                    <a:lnTo>
                      <a:pt x="976" y="522"/>
                    </a:lnTo>
                    <a:lnTo>
                      <a:pt x="973" y="517"/>
                    </a:lnTo>
                    <a:lnTo>
                      <a:pt x="974" y="514"/>
                    </a:lnTo>
                    <a:lnTo>
                      <a:pt x="976" y="514"/>
                    </a:lnTo>
                    <a:lnTo>
                      <a:pt x="977" y="515"/>
                    </a:lnTo>
                    <a:lnTo>
                      <a:pt x="978" y="514"/>
                    </a:lnTo>
                    <a:lnTo>
                      <a:pt x="977" y="510"/>
                    </a:lnTo>
                    <a:lnTo>
                      <a:pt x="977" y="510"/>
                    </a:lnTo>
                    <a:lnTo>
                      <a:pt x="972" y="511"/>
                    </a:lnTo>
                    <a:lnTo>
                      <a:pt x="966" y="511"/>
                    </a:lnTo>
                    <a:lnTo>
                      <a:pt x="966" y="511"/>
                    </a:lnTo>
                    <a:lnTo>
                      <a:pt x="966" y="518"/>
                    </a:lnTo>
                    <a:lnTo>
                      <a:pt x="966" y="524"/>
                    </a:lnTo>
                    <a:lnTo>
                      <a:pt x="969" y="525"/>
                    </a:lnTo>
                    <a:lnTo>
                      <a:pt x="970" y="529"/>
                    </a:lnTo>
                    <a:lnTo>
                      <a:pt x="973" y="532"/>
                    </a:lnTo>
                    <a:lnTo>
                      <a:pt x="973" y="532"/>
                    </a:lnTo>
                    <a:lnTo>
                      <a:pt x="969" y="534"/>
                    </a:lnTo>
                    <a:lnTo>
                      <a:pt x="965" y="537"/>
                    </a:lnTo>
                    <a:lnTo>
                      <a:pt x="963" y="536"/>
                    </a:lnTo>
                    <a:lnTo>
                      <a:pt x="963" y="536"/>
                    </a:lnTo>
                    <a:lnTo>
                      <a:pt x="965" y="533"/>
                    </a:lnTo>
                    <a:lnTo>
                      <a:pt x="968" y="529"/>
                    </a:lnTo>
                    <a:lnTo>
                      <a:pt x="966" y="528"/>
                    </a:lnTo>
                    <a:lnTo>
                      <a:pt x="966" y="528"/>
                    </a:lnTo>
                    <a:lnTo>
                      <a:pt x="963" y="529"/>
                    </a:lnTo>
                    <a:lnTo>
                      <a:pt x="961" y="532"/>
                    </a:lnTo>
                    <a:lnTo>
                      <a:pt x="959" y="537"/>
                    </a:lnTo>
                    <a:lnTo>
                      <a:pt x="957" y="538"/>
                    </a:lnTo>
                    <a:lnTo>
                      <a:pt x="954" y="537"/>
                    </a:lnTo>
                    <a:lnTo>
                      <a:pt x="955" y="534"/>
                    </a:lnTo>
                    <a:lnTo>
                      <a:pt x="953" y="534"/>
                    </a:lnTo>
                    <a:lnTo>
                      <a:pt x="953" y="534"/>
                    </a:lnTo>
                    <a:lnTo>
                      <a:pt x="951" y="529"/>
                    </a:lnTo>
                    <a:lnTo>
                      <a:pt x="949" y="526"/>
                    </a:lnTo>
                    <a:lnTo>
                      <a:pt x="946" y="526"/>
                    </a:lnTo>
                    <a:lnTo>
                      <a:pt x="946" y="528"/>
                    </a:lnTo>
                    <a:lnTo>
                      <a:pt x="944" y="533"/>
                    </a:lnTo>
                    <a:lnTo>
                      <a:pt x="944" y="533"/>
                    </a:lnTo>
                    <a:lnTo>
                      <a:pt x="942" y="536"/>
                    </a:lnTo>
                    <a:lnTo>
                      <a:pt x="940" y="538"/>
                    </a:lnTo>
                    <a:lnTo>
                      <a:pt x="939" y="540"/>
                    </a:lnTo>
                    <a:lnTo>
                      <a:pt x="939" y="537"/>
                    </a:lnTo>
                    <a:lnTo>
                      <a:pt x="943" y="533"/>
                    </a:lnTo>
                    <a:lnTo>
                      <a:pt x="938" y="532"/>
                    </a:lnTo>
                    <a:lnTo>
                      <a:pt x="938" y="534"/>
                    </a:lnTo>
                    <a:lnTo>
                      <a:pt x="936" y="537"/>
                    </a:lnTo>
                    <a:lnTo>
                      <a:pt x="936" y="537"/>
                    </a:lnTo>
                    <a:lnTo>
                      <a:pt x="934" y="536"/>
                    </a:lnTo>
                    <a:lnTo>
                      <a:pt x="931" y="533"/>
                    </a:lnTo>
                    <a:lnTo>
                      <a:pt x="931" y="530"/>
                    </a:lnTo>
                    <a:lnTo>
                      <a:pt x="930" y="532"/>
                    </a:lnTo>
                    <a:lnTo>
                      <a:pt x="930" y="532"/>
                    </a:lnTo>
                    <a:lnTo>
                      <a:pt x="915" y="525"/>
                    </a:lnTo>
                    <a:lnTo>
                      <a:pt x="912" y="519"/>
                    </a:lnTo>
                    <a:lnTo>
                      <a:pt x="911" y="518"/>
                    </a:lnTo>
                    <a:lnTo>
                      <a:pt x="911" y="517"/>
                    </a:lnTo>
                    <a:lnTo>
                      <a:pt x="911" y="517"/>
                    </a:lnTo>
                    <a:lnTo>
                      <a:pt x="915" y="517"/>
                    </a:lnTo>
                    <a:lnTo>
                      <a:pt x="917" y="517"/>
                    </a:lnTo>
                    <a:lnTo>
                      <a:pt x="925" y="515"/>
                    </a:lnTo>
                    <a:lnTo>
                      <a:pt x="925" y="515"/>
                    </a:lnTo>
                    <a:lnTo>
                      <a:pt x="928" y="515"/>
                    </a:lnTo>
                    <a:lnTo>
                      <a:pt x="928" y="515"/>
                    </a:lnTo>
                    <a:lnTo>
                      <a:pt x="934" y="514"/>
                    </a:lnTo>
                    <a:lnTo>
                      <a:pt x="939" y="510"/>
                    </a:lnTo>
                    <a:lnTo>
                      <a:pt x="939" y="509"/>
                    </a:lnTo>
                    <a:lnTo>
                      <a:pt x="939" y="507"/>
                    </a:lnTo>
                    <a:lnTo>
                      <a:pt x="938" y="507"/>
                    </a:lnTo>
                    <a:lnTo>
                      <a:pt x="935" y="510"/>
                    </a:lnTo>
                    <a:lnTo>
                      <a:pt x="935" y="510"/>
                    </a:lnTo>
                    <a:lnTo>
                      <a:pt x="938" y="502"/>
                    </a:lnTo>
                    <a:lnTo>
                      <a:pt x="940" y="500"/>
                    </a:lnTo>
                    <a:lnTo>
                      <a:pt x="942" y="499"/>
                    </a:lnTo>
                    <a:lnTo>
                      <a:pt x="946" y="499"/>
                    </a:lnTo>
                    <a:lnTo>
                      <a:pt x="949" y="502"/>
                    </a:lnTo>
                    <a:lnTo>
                      <a:pt x="951" y="500"/>
                    </a:lnTo>
                    <a:lnTo>
                      <a:pt x="949" y="496"/>
                    </a:lnTo>
                    <a:lnTo>
                      <a:pt x="950" y="496"/>
                    </a:lnTo>
                    <a:lnTo>
                      <a:pt x="953" y="496"/>
                    </a:lnTo>
                    <a:lnTo>
                      <a:pt x="955" y="495"/>
                    </a:lnTo>
                    <a:lnTo>
                      <a:pt x="955" y="498"/>
                    </a:lnTo>
                    <a:lnTo>
                      <a:pt x="958" y="500"/>
                    </a:lnTo>
                    <a:lnTo>
                      <a:pt x="957" y="502"/>
                    </a:lnTo>
                    <a:lnTo>
                      <a:pt x="959" y="503"/>
                    </a:lnTo>
                    <a:lnTo>
                      <a:pt x="959" y="503"/>
                    </a:lnTo>
                    <a:lnTo>
                      <a:pt x="966" y="503"/>
                    </a:lnTo>
                    <a:lnTo>
                      <a:pt x="970" y="503"/>
                    </a:lnTo>
                    <a:lnTo>
                      <a:pt x="973" y="500"/>
                    </a:lnTo>
                    <a:lnTo>
                      <a:pt x="973" y="500"/>
                    </a:lnTo>
                    <a:lnTo>
                      <a:pt x="974" y="498"/>
                    </a:lnTo>
                    <a:lnTo>
                      <a:pt x="974" y="494"/>
                    </a:lnTo>
                    <a:lnTo>
                      <a:pt x="974" y="491"/>
                    </a:lnTo>
                    <a:lnTo>
                      <a:pt x="974" y="488"/>
                    </a:lnTo>
                    <a:lnTo>
                      <a:pt x="974" y="488"/>
                    </a:lnTo>
                    <a:lnTo>
                      <a:pt x="972" y="483"/>
                    </a:lnTo>
                    <a:lnTo>
                      <a:pt x="969" y="480"/>
                    </a:lnTo>
                    <a:lnTo>
                      <a:pt x="959" y="477"/>
                    </a:lnTo>
                    <a:lnTo>
                      <a:pt x="959" y="477"/>
                    </a:lnTo>
                    <a:lnTo>
                      <a:pt x="958" y="477"/>
                    </a:lnTo>
                    <a:lnTo>
                      <a:pt x="957" y="480"/>
                    </a:lnTo>
                    <a:lnTo>
                      <a:pt x="954" y="477"/>
                    </a:lnTo>
                    <a:lnTo>
                      <a:pt x="954" y="477"/>
                    </a:lnTo>
                    <a:lnTo>
                      <a:pt x="946" y="476"/>
                    </a:lnTo>
                    <a:lnTo>
                      <a:pt x="940" y="476"/>
                    </a:lnTo>
                    <a:lnTo>
                      <a:pt x="936" y="477"/>
                    </a:lnTo>
                    <a:lnTo>
                      <a:pt x="936" y="477"/>
                    </a:lnTo>
                    <a:lnTo>
                      <a:pt x="935" y="475"/>
                    </a:lnTo>
                    <a:lnTo>
                      <a:pt x="932" y="473"/>
                    </a:lnTo>
                    <a:lnTo>
                      <a:pt x="927" y="472"/>
                    </a:lnTo>
                    <a:lnTo>
                      <a:pt x="925" y="473"/>
                    </a:lnTo>
                    <a:lnTo>
                      <a:pt x="924" y="475"/>
                    </a:lnTo>
                    <a:lnTo>
                      <a:pt x="924" y="475"/>
                    </a:lnTo>
                    <a:lnTo>
                      <a:pt x="921" y="472"/>
                    </a:lnTo>
                    <a:lnTo>
                      <a:pt x="917" y="472"/>
                    </a:lnTo>
                    <a:lnTo>
                      <a:pt x="915" y="473"/>
                    </a:lnTo>
                    <a:lnTo>
                      <a:pt x="913" y="471"/>
                    </a:lnTo>
                    <a:lnTo>
                      <a:pt x="913" y="471"/>
                    </a:lnTo>
                    <a:lnTo>
                      <a:pt x="911" y="471"/>
                    </a:lnTo>
                    <a:lnTo>
                      <a:pt x="911" y="471"/>
                    </a:lnTo>
                    <a:lnTo>
                      <a:pt x="900" y="472"/>
                    </a:lnTo>
                    <a:lnTo>
                      <a:pt x="887" y="471"/>
                    </a:lnTo>
                    <a:lnTo>
                      <a:pt x="883" y="473"/>
                    </a:lnTo>
                    <a:lnTo>
                      <a:pt x="883" y="475"/>
                    </a:lnTo>
                    <a:lnTo>
                      <a:pt x="882" y="476"/>
                    </a:lnTo>
                    <a:lnTo>
                      <a:pt x="881" y="483"/>
                    </a:lnTo>
                    <a:lnTo>
                      <a:pt x="879" y="484"/>
                    </a:lnTo>
                    <a:lnTo>
                      <a:pt x="879" y="487"/>
                    </a:lnTo>
                    <a:lnTo>
                      <a:pt x="881" y="488"/>
                    </a:lnTo>
                    <a:lnTo>
                      <a:pt x="879" y="490"/>
                    </a:lnTo>
                    <a:lnTo>
                      <a:pt x="878" y="492"/>
                    </a:lnTo>
                    <a:lnTo>
                      <a:pt x="875" y="492"/>
                    </a:lnTo>
                    <a:lnTo>
                      <a:pt x="875" y="492"/>
                    </a:lnTo>
                    <a:lnTo>
                      <a:pt x="871" y="495"/>
                    </a:lnTo>
                    <a:lnTo>
                      <a:pt x="867" y="495"/>
                    </a:lnTo>
                    <a:lnTo>
                      <a:pt x="867" y="495"/>
                    </a:lnTo>
                    <a:lnTo>
                      <a:pt x="860" y="496"/>
                    </a:lnTo>
                    <a:lnTo>
                      <a:pt x="854" y="498"/>
                    </a:lnTo>
                    <a:lnTo>
                      <a:pt x="840" y="495"/>
                    </a:lnTo>
                    <a:lnTo>
                      <a:pt x="839" y="495"/>
                    </a:lnTo>
                    <a:lnTo>
                      <a:pt x="839" y="495"/>
                    </a:lnTo>
                    <a:lnTo>
                      <a:pt x="835" y="495"/>
                    </a:lnTo>
                    <a:lnTo>
                      <a:pt x="829" y="48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sp>
          <p:nvSpPr>
            <p:cNvPr id="106" name="Freeform 368">
              <a:extLst>
                <a:ext uri="{FF2B5EF4-FFF2-40B4-BE49-F238E27FC236}">
                  <a16:creationId xmlns:a16="http://schemas.microsoft.com/office/drawing/2014/main" id="{1D8F9B76-A89D-4E60-8A1A-71C87992463C}"/>
                </a:ext>
              </a:extLst>
            </p:cNvPr>
            <p:cNvSpPr>
              <a:spLocks/>
            </p:cNvSpPr>
            <p:nvPr/>
          </p:nvSpPr>
          <p:spPr bwMode="auto">
            <a:xfrm>
              <a:off x="3705225" y="4749869"/>
              <a:ext cx="723900" cy="757238"/>
            </a:xfrm>
            <a:custGeom>
              <a:avLst/>
              <a:gdLst>
                <a:gd name="T0" fmla="*/ 894 w 910"/>
                <a:gd name="T1" fmla="*/ 194 h 955"/>
                <a:gd name="T2" fmla="*/ 819 w 910"/>
                <a:gd name="T3" fmla="*/ 95 h 955"/>
                <a:gd name="T4" fmla="*/ 756 w 910"/>
                <a:gd name="T5" fmla="*/ 43 h 955"/>
                <a:gd name="T6" fmla="*/ 617 w 910"/>
                <a:gd name="T7" fmla="*/ 8 h 955"/>
                <a:gd name="T8" fmla="*/ 597 w 910"/>
                <a:gd name="T9" fmla="*/ 16 h 955"/>
                <a:gd name="T10" fmla="*/ 576 w 910"/>
                <a:gd name="T11" fmla="*/ 19 h 955"/>
                <a:gd name="T12" fmla="*/ 541 w 910"/>
                <a:gd name="T13" fmla="*/ 8 h 955"/>
                <a:gd name="T14" fmla="*/ 534 w 910"/>
                <a:gd name="T15" fmla="*/ 4 h 955"/>
                <a:gd name="T16" fmla="*/ 518 w 910"/>
                <a:gd name="T17" fmla="*/ 8 h 955"/>
                <a:gd name="T18" fmla="*/ 495 w 910"/>
                <a:gd name="T19" fmla="*/ 10 h 955"/>
                <a:gd name="T20" fmla="*/ 456 w 910"/>
                <a:gd name="T21" fmla="*/ 16 h 955"/>
                <a:gd name="T22" fmla="*/ 422 w 910"/>
                <a:gd name="T23" fmla="*/ 94 h 955"/>
                <a:gd name="T24" fmla="*/ 385 w 910"/>
                <a:gd name="T25" fmla="*/ 109 h 955"/>
                <a:gd name="T26" fmla="*/ 259 w 910"/>
                <a:gd name="T27" fmla="*/ 209 h 955"/>
                <a:gd name="T28" fmla="*/ 106 w 910"/>
                <a:gd name="T29" fmla="*/ 220 h 955"/>
                <a:gd name="T30" fmla="*/ 142 w 910"/>
                <a:gd name="T31" fmla="*/ 319 h 955"/>
                <a:gd name="T32" fmla="*/ 106 w 910"/>
                <a:gd name="T33" fmla="*/ 423 h 955"/>
                <a:gd name="T34" fmla="*/ 45 w 910"/>
                <a:gd name="T35" fmla="*/ 529 h 955"/>
                <a:gd name="T36" fmla="*/ 32 w 910"/>
                <a:gd name="T37" fmla="*/ 653 h 955"/>
                <a:gd name="T38" fmla="*/ 61 w 910"/>
                <a:gd name="T39" fmla="*/ 745 h 955"/>
                <a:gd name="T40" fmla="*/ 58 w 910"/>
                <a:gd name="T41" fmla="*/ 779 h 955"/>
                <a:gd name="T42" fmla="*/ 77 w 910"/>
                <a:gd name="T43" fmla="*/ 834 h 955"/>
                <a:gd name="T44" fmla="*/ 172 w 910"/>
                <a:gd name="T45" fmla="*/ 842 h 955"/>
                <a:gd name="T46" fmla="*/ 281 w 910"/>
                <a:gd name="T47" fmla="*/ 857 h 955"/>
                <a:gd name="T48" fmla="*/ 386 w 910"/>
                <a:gd name="T49" fmla="*/ 901 h 955"/>
                <a:gd name="T50" fmla="*/ 376 w 910"/>
                <a:gd name="T51" fmla="*/ 947 h 955"/>
                <a:gd name="T52" fmla="*/ 427 w 910"/>
                <a:gd name="T53" fmla="*/ 947 h 955"/>
                <a:gd name="T54" fmla="*/ 462 w 910"/>
                <a:gd name="T55" fmla="*/ 917 h 955"/>
                <a:gd name="T56" fmla="*/ 467 w 910"/>
                <a:gd name="T57" fmla="*/ 894 h 955"/>
                <a:gd name="T58" fmla="*/ 540 w 910"/>
                <a:gd name="T59" fmla="*/ 904 h 955"/>
                <a:gd name="T60" fmla="*/ 586 w 910"/>
                <a:gd name="T61" fmla="*/ 880 h 955"/>
                <a:gd name="T62" fmla="*/ 566 w 910"/>
                <a:gd name="T63" fmla="*/ 848 h 955"/>
                <a:gd name="T64" fmla="*/ 609 w 910"/>
                <a:gd name="T65" fmla="*/ 825 h 955"/>
                <a:gd name="T66" fmla="*/ 610 w 910"/>
                <a:gd name="T67" fmla="*/ 777 h 955"/>
                <a:gd name="T68" fmla="*/ 578 w 910"/>
                <a:gd name="T69" fmla="*/ 787 h 955"/>
                <a:gd name="T70" fmla="*/ 537 w 910"/>
                <a:gd name="T71" fmla="*/ 804 h 955"/>
                <a:gd name="T72" fmla="*/ 525 w 910"/>
                <a:gd name="T73" fmla="*/ 783 h 955"/>
                <a:gd name="T74" fmla="*/ 551 w 910"/>
                <a:gd name="T75" fmla="*/ 775 h 955"/>
                <a:gd name="T76" fmla="*/ 589 w 910"/>
                <a:gd name="T77" fmla="*/ 762 h 955"/>
                <a:gd name="T78" fmla="*/ 579 w 910"/>
                <a:gd name="T79" fmla="*/ 746 h 955"/>
                <a:gd name="T80" fmla="*/ 623 w 910"/>
                <a:gd name="T81" fmla="*/ 730 h 955"/>
                <a:gd name="T82" fmla="*/ 621 w 910"/>
                <a:gd name="T83" fmla="*/ 719 h 955"/>
                <a:gd name="T84" fmla="*/ 639 w 910"/>
                <a:gd name="T85" fmla="*/ 737 h 955"/>
                <a:gd name="T86" fmla="*/ 712 w 910"/>
                <a:gd name="T87" fmla="*/ 730 h 955"/>
                <a:gd name="T88" fmla="*/ 726 w 910"/>
                <a:gd name="T89" fmla="*/ 697 h 955"/>
                <a:gd name="T90" fmla="*/ 701 w 910"/>
                <a:gd name="T91" fmla="*/ 691 h 955"/>
                <a:gd name="T92" fmla="*/ 722 w 910"/>
                <a:gd name="T93" fmla="*/ 677 h 955"/>
                <a:gd name="T94" fmla="*/ 726 w 910"/>
                <a:gd name="T95" fmla="*/ 647 h 955"/>
                <a:gd name="T96" fmla="*/ 692 w 910"/>
                <a:gd name="T97" fmla="*/ 644 h 955"/>
                <a:gd name="T98" fmla="*/ 655 w 910"/>
                <a:gd name="T99" fmla="*/ 644 h 955"/>
                <a:gd name="T100" fmla="*/ 697 w 910"/>
                <a:gd name="T101" fmla="*/ 636 h 955"/>
                <a:gd name="T102" fmla="*/ 730 w 910"/>
                <a:gd name="T103" fmla="*/ 621 h 955"/>
                <a:gd name="T104" fmla="*/ 689 w 910"/>
                <a:gd name="T105" fmla="*/ 593 h 955"/>
                <a:gd name="T106" fmla="*/ 734 w 910"/>
                <a:gd name="T107" fmla="*/ 619 h 955"/>
                <a:gd name="T108" fmla="*/ 750 w 910"/>
                <a:gd name="T109" fmla="*/ 648 h 955"/>
                <a:gd name="T110" fmla="*/ 784 w 910"/>
                <a:gd name="T111" fmla="*/ 612 h 955"/>
                <a:gd name="T112" fmla="*/ 842 w 910"/>
                <a:gd name="T113" fmla="*/ 559 h 955"/>
                <a:gd name="T114" fmla="*/ 857 w 910"/>
                <a:gd name="T115" fmla="*/ 478 h 955"/>
                <a:gd name="T116" fmla="*/ 898 w 910"/>
                <a:gd name="T117" fmla="*/ 366 h 955"/>
                <a:gd name="T118" fmla="*/ 899 w 910"/>
                <a:gd name="T119" fmla="*/ 2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55">
                  <a:moveTo>
                    <a:pt x="899" y="265"/>
                  </a:moveTo>
                  <a:lnTo>
                    <a:pt x="898" y="259"/>
                  </a:lnTo>
                  <a:lnTo>
                    <a:pt x="901" y="258"/>
                  </a:lnTo>
                  <a:lnTo>
                    <a:pt x="901" y="258"/>
                  </a:lnTo>
                  <a:lnTo>
                    <a:pt x="902" y="250"/>
                  </a:lnTo>
                  <a:lnTo>
                    <a:pt x="902" y="250"/>
                  </a:lnTo>
                  <a:lnTo>
                    <a:pt x="902" y="236"/>
                  </a:lnTo>
                  <a:lnTo>
                    <a:pt x="903" y="223"/>
                  </a:lnTo>
                  <a:lnTo>
                    <a:pt x="901" y="213"/>
                  </a:lnTo>
                  <a:lnTo>
                    <a:pt x="901" y="213"/>
                  </a:lnTo>
                  <a:lnTo>
                    <a:pt x="899" y="205"/>
                  </a:lnTo>
                  <a:lnTo>
                    <a:pt x="897" y="198"/>
                  </a:lnTo>
                  <a:lnTo>
                    <a:pt x="897" y="198"/>
                  </a:lnTo>
                  <a:lnTo>
                    <a:pt x="894" y="194"/>
                  </a:lnTo>
                  <a:lnTo>
                    <a:pt x="894" y="194"/>
                  </a:lnTo>
                  <a:lnTo>
                    <a:pt x="891" y="185"/>
                  </a:lnTo>
                  <a:lnTo>
                    <a:pt x="888" y="174"/>
                  </a:lnTo>
                  <a:lnTo>
                    <a:pt x="888" y="174"/>
                  </a:lnTo>
                  <a:lnTo>
                    <a:pt x="888" y="170"/>
                  </a:lnTo>
                  <a:lnTo>
                    <a:pt x="888" y="170"/>
                  </a:lnTo>
                  <a:lnTo>
                    <a:pt x="886" y="163"/>
                  </a:lnTo>
                  <a:lnTo>
                    <a:pt x="882" y="156"/>
                  </a:lnTo>
                  <a:lnTo>
                    <a:pt x="869" y="143"/>
                  </a:lnTo>
                  <a:lnTo>
                    <a:pt x="857" y="129"/>
                  </a:lnTo>
                  <a:lnTo>
                    <a:pt x="846" y="118"/>
                  </a:lnTo>
                  <a:lnTo>
                    <a:pt x="845" y="118"/>
                  </a:lnTo>
                  <a:lnTo>
                    <a:pt x="845" y="118"/>
                  </a:lnTo>
                  <a:lnTo>
                    <a:pt x="830" y="106"/>
                  </a:lnTo>
                  <a:lnTo>
                    <a:pt x="830" y="106"/>
                  </a:lnTo>
                  <a:lnTo>
                    <a:pt x="819" y="95"/>
                  </a:lnTo>
                  <a:lnTo>
                    <a:pt x="814" y="90"/>
                  </a:lnTo>
                  <a:lnTo>
                    <a:pt x="814" y="90"/>
                  </a:lnTo>
                  <a:lnTo>
                    <a:pt x="810" y="88"/>
                  </a:lnTo>
                  <a:lnTo>
                    <a:pt x="810" y="88"/>
                  </a:lnTo>
                  <a:lnTo>
                    <a:pt x="800" y="79"/>
                  </a:lnTo>
                  <a:lnTo>
                    <a:pt x="791" y="69"/>
                  </a:lnTo>
                  <a:lnTo>
                    <a:pt x="791" y="69"/>
                  </a:lnTo>
                  <a:lnTo>
                    <a:pt x="789" y="68"/>
                  </a:lnTo>
                  <a:lnTo>
                    <a:pt x="789" y="68"/>
                  </a:lnTo>
                  <a:lnTo>
                    <a:pt x="781" y="60"/>
                  </a:lnTo>
                  <a:lnTo>
                    <a:pt x="781" y="60"/>
                  </a:lnTo>
                  <a:lnTo>
                    <a:pt x="773" y="56"/>
                  </a:lnTo>
                  <a:lnTo>
                    <a:pt x="773" y="56"/>
                  </a:lnTo>
                  <a:lnTo>
                    <a:pt x="756" y="43"/>
                  </a:lnTo>
                  <a:lnTo>
                    <a:pt x="756" y="43"/>
                  </a:lnTo>
                  <a:lnTo>
                    <a:pt x="749" y="39"/>
                  </a:lnTo>
                  <a:lnTo>
                    <a:pt x="749" y="39"/>
                  </a:lnTo>
                  <a:lnTo>
                    <a:pt x="745" y="37"/>
                  </a:lnTo>
                  <a:lnTo>
                    <a:pt x="745" y="37"/>
                  </a:lnTo>
                  <a:lnTo>
                    <a:pt x="724" y="31"/>
                  </a:lnTo>
                  <a:lnTo>
                    <a:pt x="704" y="27"/>
                  </a:lnTo>
                  <a:lnTo>
                    <a:pt x="704" y="27"/>
                  </a:lnTo>
                  <a:lnTo>
                    <a:pt x="690" y="26"/>
                  </a:lnTo>
                  <a:lnTo>
                    <a:pt x="677" y="23"/>
                  </a:lnTo>
                  <a:lnTo>
                    <a:pt x="651" y="16"/>
                  </a:lnTo>
                  <a:lnTo>
                    <a:pt x="651" y="16"/>
                  </a:lnTo>
                  <a:lnTo>
                    <a:pt x="633" y="10"/>
                  </a:lnTo>
                  <a:lnTo>
                    <a:pt x="624" y="7"/>
                  </a:lnTo>
                  <a:lnTo>
                    <a:pt x="620" y="7"/>
                  </a:lnTo>
                  <a:lnTo>
                    <a:pt x="617" y="8"/>
                  </a:lnTo>
                  <a:lnTo>
                    <a:pt x="617" y="8"/>
                  </a:lnTo>
                  <a:lnTo>
                    <a:pt x="620" y="11"/>
                  </a:lnTo>
                  <a:lnTo>
                    <a:pt x="628" y="10"/>
                  </a:lnTo>
                  <a:lnTo>
                    <a:pt x="640" y="15"/>
                  </a:lnTo>
                  <a:lnTo>
                    <a:pt x="633" y="16"/>
                  </a:lnTo>
                  <a:lnTo>
                    <a:pt x="633" y="16"/>
                  </a:lnTo>
                  <a:lnTo>
                    <a:pt x="629" y="16"/>
                  </a:lnTo>
                  <a:lnTo>
                    <a:pt x="625" y="16"/>
                  </a:lnTo>
                  <a:lnTo>
                    <a:pt x="616" y="18"/>
                  </a:lnTo>
                  <a:lnTo>
                    <a:pt x="613" y="16"/>
                  </a:lnTo>
                  <a:lnTo>
                    <a:pt x="613" y="16"/>
                  </a:lnTo>
                  <a:lnTo>
                    <a:pt x="606" y="16"/>
                  </a:lnTo>
                  <a:lnTo>
                    <a:pt x="604" y="16"/>
                  </a:lnTo>
                  <a:lnTo>
                    <a:pt x="601" y="15"/>
                  </a:lnTo>
                  <a:lnTo>
                    <a:pt x="597" y="16"/>
                  </a:lnTo>
                  <a:lnTo>
                    <a:pt x="597" y="16"/>
                  </a:lnTo>
                  <a:lnTo>
                    <a:pt x="593" y="15"/>
                  </a:lnTo>
                  <a:lnTo>
                    <a:pt x="589" y="14"/>
                  </a:lnTo>
                  <a:lnTo>
                    <a:pt x="589" y="14"/>
                  </a:lnTo>
                  <a:lnTo>
                    <a:pt x="587" y="12"/>
                  </a:lnTo>
                  <a:lnTo>
                    <a:pt x="586" y="8"/>
                  </a:lnTo>
                  <a:lnTo>
                    <a:pt x="583" y="7"/>
                  </a:lnTo>
                  <a:lnTo>
                    <a:pt x="582" y="7"/>
                  </a:lnTo>
                  <a:lnTo>
                    <a:pt x="580" y="11"/>
                  </a:lnTo>
                  <a:lnTo>
                    <a:pt x="578" y="12"/>
                  </a:lnTo>
                  <a:lnTo>
                    <a:pt x="579" y="14"/>
                  </a:lnTo>
                  <a:lnTo>
                    <a:pt x="578" y="18"/>
                  </a:lnTo>
                  <a:lnTo>
                    <a:pt x="580" y="19"/>
                  </a:lnTo>
                  <a:lnTo>
                    <a:pt x="579" y="20"/>
                  </a:lnTo>
                  <a:lnTo>
                    <a:pt x="576" y="19"/>
                  </a:lnTo>
                  <a:lnTo>
                    <a:pt x="576" y="19"/>
                  </a:lnTo>
                  <a:lnTo>
                    <a:pt x="576" y="16"/>
                  </a:lnTo>
                  <a:lnTo>
                    <a:pt x="578" y="12"/>
                  </a:lnTo>
                  <a:lnTo>
                    <a:pt x="576" y="10"/>
                  </a:lnTo>
                  <a:lnTo>
                    <a:pt x="576" y="10"/>
                  </a:lnTo>
                  <a:lnTo>
                    <a:pt x="571" y="8"/>
                  </a:lnTo>
                  <a:lnTo>
                    <a:pt x="564" y="10"/>
                  </a:lnTo>
                  <a:lnTo>
                    <a:pt x="563" y="11"/>
                  </a:lnTo>
                  <a:lnTo>
                    <a:pt x="563" y="11"/>
                  </a:lnTo>
                  <a:lnTo>
                    <a:pt x="555" y="10"/>
                  </a:lnTo>
                  <a:lnTo>
                    <a:pt x="551" y="8"/>
                  </a:lnTo>
                  <a:lnTo>
                    <a:pt x="548" y="7"/>
                  </a:lnTo>
                  <a:lnTo>
                    <a:pt x="548" y="7"/>
                  </a:lnTo>
                  <a:lnTo>
                    <a:pt x="544" y="7"/>
                  </a:lnTo>
                  <a:lnTo>
                    <a:pt x="541" y="8"/>
                  </a:lnTo>
                  <a:lnTo>
                    <a:pt x="541" y="10"/>
                  </a:lnTo>
                  <a:lnTo>
                    <a:pt x="543" y="11"/>
                  </a:lnTo>
                  <a:lnTo>
                    <a:pt x="540" y="15"/>
                  </a:lnTo>
                  <a:lnTo>
                    <a:pt x="536" y="14"/>
                  </a:lnTo>
                  <a:lnTo>
                    <a:pt x="536" y="12"/>
                  </a:lnTo>
                  <a:lnTo>
                    <a:pt x="541" y="11"/>
                  </a:lnTo>
                  <a:lnTo>
                    <a:pt x="537" y="8"/>
                  </a:lnTo>
                  <a:lnTo>
                    <a:pt x="537" y="8"/>
                  </a:lnTo>
                  <a:lnTo>
                    <a:pt x="534" y="10"/>
                  </a:lnTo>
                  <a:lnTo>
                    <a:pt x="532" y="8"/>
                  </a:lnTo>
                  <a:lnTo>
                    <a:pt x="537" y="7"/>
                  </a:lnTo>
                  <a:lnTo>
                    <a:pt x="541" y="8"/>
                  </a:lnTo>
                  <a:lnTo>
                    <a:pt x="541" y="6"/>
                  </a:lnTo>
                  <a:lnTo>
                    <a:pt x="541" y="6"/>
                  </a:lnTo>
                  <a:lnTo>
                    <a:pt x="534" y="4"/>
                  </a:lnTo>
                  <a:lnTo>
                    <a:pt x="524" y="1"/>
                  </a:lnTo>
                  <a:lnTo>
                    <a:pt x="514" y="0"/>
                  </a:lnTo>
                  <a:lnTo>
                    <a:pt x="510" y="0"/>
                  </a:lnTo>
                  <a:lnTo>
                    <a:pt x="509" y="1"/>
                  </a:lnTo>
                  <a:lnTo>
                    <a:pt x="510" y="3"/>
                  </a:lnTo>
                  <a:lnTo>
                    <a:pt x="513" y="1"/>
                  </a:lnTo>
                  <a:lnTo>
                    <a:pt x="515" y="1"/>
                  </a:lnTo>
                  <a:lnTo>
                    <a:pt x="515" y="6"/>
                  </a:lnTo>
                  <a:lnTo>
                    <a:pt x="517" y="7"/>
                  </a:lnTo>
                  <a:lnTo>
                    <a:pt x="519" y="4"/>
                  </a:lnTo>
                  <a:lnTo>
                    <a:pt x="526" y="7"/>
                  </a:lnTo>
                  <a:lnTo>
                    <a:pt x="524" y="8"/>
                  </a:lnTo>
                  <a:lnTo>
                    <a:pt x="524" y="8"/>
                  </a:lnTo>
                  <a:lnTo>
                    <a:pt x="519" y="7"/>
                  </a:lnTo>
                  <a:lnTo>
                    <a:pt x="518" y="8"/>
                  </a:lnTo>
                  <a:lnTo>
                    <a:pt x="515" y="10"/>
                  </a:lnTo>
                  <a:lnTo>
                    <a:pt x="515" y="11"/>
                  </a:lnTo>
                  <a:lnTo>
                    <a:pt x="517" y="12"/>
                  </a:lnTo>
                  <a:lnTo>
                    <a:pt x="514" y="14"/>
                  </a:lnTo>
                  <a:lnTo>
                    <a:pt x="513" y="12"/>
                  </a:lnTo>
                  <a:lnTo>
                    <a:pt x="513" y="12"/>
                  </a:lnTo>
                  <a:lnTo>
                    <a:pt x="509" y="14"/>
                  </a:lnTo>
                  <a:lnTo>
                    <a:pt x="505" y="12"/>
                  </a:lnTo>
                  <a:lnTo>
                    <a:pt x="513" y="10"/>
                  </a:lnTo>
                  <a:lnTo>
                    <a:pt x="513" y="8"/>
                  </a:lnTo>
                  <a:lnTo>
                    <a:pt x="509" y="7"/>
                  </a:lnTo>
                  <a:lnTo>
                    <a:pt x="509" y="7"/>
                  </a:lnTo>
                  <a:lnTo>
                    <a:pt x="502" y="10"/>
                  </a:lnTo>
                  <a:lnTo>
                    <a:pt x="498" y="10"/>
                  </a:lnTo>
                  <a:lnTo>
                    <a:pt x="495" y="10"/>
                  </a:lnTo>
                  <a:lnTo>
                    <a:pt x="491" y="11"/>
                  </a:lnTo>
                  <a:lnTo>
                    <a:pt x="488" y="8"/>
                  </a:lnTo>
                  <a:lnTo>
                    <a:pt x="483" y="8"/>
                  </a:lnTo>
                  <a:lnTo>
                    <a:pt x="481" y="10"/>
                  </a:lnTo>
                  <a:lnTo>
                    <a:pt x="476" y="11"/>
                  </a:lnTo>
                  <a:lnTo>
                    <a:pt x="475" y="10"/>
                  </a:lnTo>
                  <a:lnTo>
                    <a:pt x="475" y="8"/>
                  </a:lnTo>
                  <a:lnTo>
                    <a:pt x="472" y="10"/>
                  </a:lnTo>
                  <a:lnTo>
                    <a:pt x="469" y="8"/>
                  </a:lnTo>
                  <a:lnTo>
                    <a:pt x="465" y="8"/>
                  </a:lnTo>
                  <a:lnTo>
                    <a:pt x="465" y="11"/>
                  </a:lnTo>
                  <a:lnTo>
                    <a:pt x="464" y="12"/>
                  </a:lnTo>
                  <a:lnTo>
                    <a:pt x="462" y="11"/>
                  </a:lnTo>
                  <a:lnTo>
                    <a:pt x="462" y="11"/>
                  </a:lnTo>
                  <a:lnTo>
                    <a:pt x="456" y="16"/>
                  </a:lnTo>
                  <a:lnTo>
                    <a:pt x="449" y="23"/>
                  </a:lnTo>
                  <a:lnTo>
                    <a:pt x="445" y="31"/>
                  </a:lnTo>
                  <a:lnTo>
                    <a:pt x="442" y="39"/>
                  </a:lnTo>
                  <a:lnTo>
                    <a:pt x="442" y="39"/>
                  </a:lnTo>
                  <a:lnTo>
                    <a:pt x="439" y="53"/>
                  </a:lnTo>
                  <a:lnTo>
                    <a:pt x="439" y="53"/>
                  </a:lnTo>
                  <a:lnTo>
                    <a:pt x="437" y="57"/>
                  </a:lnTo>
                  <a:lnTo>
                    <a:pt x="435" y="61"/>
                  </a:lnTo>
                  <a:lnTo>
                    <a:pt x="433" y="64"/>
                  </a:lnTo>
                  <a:lnTo>
                    <a:pt x="433" y="64"/>
                  </a:lnTo>
                  <a:lnTo>
                    <a:pt x="430" y="72"/>
                  </a:lnTo>
                  <a:lnTo>
                    <a:pt x="430" y="72"/>
                  </a:lnTo>
                  <a:lnTo>
                    <a:pt x="430" y="90"/>
                  </a:lnTo>
                  <a:lnTo>
                    <a:pt x="430" y="90"/>
                  </a:lnTo>
                  <a:lnTo>
                    <a:pt x="422" y="94"/>
                  </a:lnTo>
                  <a:lnTo>
                    <a:pt x="415" y="98"/>
                  </a:lnTo>
                  <a:lnTo>
                    <a:pt x="415" y="98"/>
                  </a:lnTo>
                  <a:lnTo>
                    <a:pt x="411" y="100"/>
                  </a:lnTo>
                  <a:lnTo>
                    <a:pt x="410" y="105"/>
                  </a:lnTo>
                  <a:lnTo>
                    <a:pt x="405" y="111"/>
                  </a:lnTo>
                  <a:lnTo>
                    <a:pt x="405" y="111"/>
                  </a:lnTo>
                  <a:lnTo>
                    <a:pt x="403" y="114"/>
                  </a:lnTo>
                  <a:lnTo>
                    <a:pt x="403" y="114"/>
                  </a:lnTo>
                  <a:lnTo>
                    <a:pt x="401" y="119"/>
                  </a:lnTo>
                  <a:lnTo>
                    <a:pt x="403" y="125"/>
                  </a:lnTo>
                  <a:lnTo>
                    <a:pt x="403" y="125"/>
                  </a:lnTo>
                  <a:lnTo>
                    <a:pt x="399" y="121"/>
                  </a:lnTo>
                  <a:lnTo>
                    <a:pt x="393" y="117"/>
                  </a:lnTo>
                  <a:lnTo>
                    <a:pt x="388" y="113"/>
                  </a:lnTo>
                  <a:lnTo>
                    <a:pt x="385" y="109"/>
                  </a:lnTo>
                  <a:lnTo>
                    <a:pt x="376" y="107"/>
                  </a:lnTo>
                  <a:lnTo>
                    <a:pt x="363" y="113"/>
                  </a:lnTo>
                  <a:lnTo>
                    <a:pt x="363" y="113"/>
                  </a:lnTo>
                  <a:lnTo>
                    <a:pt x="363" y="113"/>
                  </a:lnTo>
                  <a:lnTo>
                    <a:pt x="357" y="129"/>
                  </a:lnTo>
                  <a:lnTo>
                    <a:pt x="366" y="136"/>
                  </a:lnTo>
                  <a:lnTo>
                    <a:pt x="336" y="160"/>
                  </a:lnTo>
                  <a:lnTo>
                    <a:pt x="329" y="157"/>
                  </a:lnTo>
                  <a:lnTo>
                    <a:pt x="316" y="159"/>
                  </a:lnTo>
                  <a:lnTo>
                    <a:pt x="301" y="168"/>
                  </a:lnTo>
                  <a:lnTo>
                    <a:pt x="292" y="167"/>
                  </a:lnTo>
                  <a:lnTo>
                    <a:pt x="285" y="175"/>
                  </a:lnTo>
                  <a:lnTo>
                    <a:pt x="287" y="195"/>
                  </a:lnTo>
                  <a:lnTo>
                    <a:pt x="278" y="206"/>
                  </a:lnTo>
                  <a:lnTo>
                    <a:pt x="259" y="209"/>
                  </a:lnTo>
                  <a:lnTo>
                    <a:pt x="258" y="206"/>
                  </a:lnTo>
                  <a:lnTo>
                    <a:pt x="247" y="201"/>
                  </a:lnTo>
                  <a:lnTo>
                    <a:pt x="239" y="206"/>
                  </a:lnTo>
                  <a:lnTo>
                    <a:pt x="233" y="202"/>
                  </a:lnTo>
                  <a:lnTo>
                    <a:pt x="220" y="216"/>
                  </a:lnTo>
                  <a:lnTo>
                    <a:pt x="205" y="210"/>
                  </a:lnTo>
                  <a:lnTo>
                    <a:pt x="201" y="216"/>
                  </a:lnTo>
                  <a:lnTo>
                    <a:pt x="195" y="206"/>
                  </a:lnTo>
                  <a:lnTo>
                    <a:pt x="176" y="217"/>
                  </a:lnTo>
                  <a:lnTo>
                    <a:pt x="165" y="205"/>
                  </a:lnTo>
                  <a:lnTo>
                    <a:pt x="149" y="204"/>
                  </a:lnTo>
                  <a:lnTo>
                    <a:pt x="144" y="212"/>
                  </a:lnTo>
                  <a:lnTo>
                    <a:pt x="123" y="220"/>
                  </a:lnTo>
                  <a:lnTo>
                    <a:pt x="106" y="217"/>
                  </a:lnTo>
                  <a:lnTo>
                    <a:pt x="106" y="220"/>
                  </a:lnTo>
                  <a:lnTo>
                    <a:pt x="97" y="221"/>
                  </a:lnTo>
                  <a:lnTo>
                    <a:pt x="91" y="227"/>
                  </a:lnTo>
                  <a:lnTo>
                    <a:pt x="99" y="233"/>
                  </a:lnTo>
                  <a:lnTo>
                    <a:pt x="100" y="240"/>
                  </a:lnTo>
                  <a:lnTo>
                    <a:pt x="91" y="259"/>
                  </a:lnTo>
                  <a:lnTo>
                    <a:pt x="97" y="267"/>
                  </a:lnTo>
                  <a:lnTo>
                    <a:pt x="116" y="262"/>
                  </a:lnTo>
                  <a:lnTo>
                    <a:pt x="121" y="263"/>
                  </a:lnTo>
                  <a:lnTo>
                    <a:pt x="123" y="273"/>
                  </a:lnTo>
                  <a:lnTo>
                    <a:pt x="119" y="275"/>
                  </a:lnTo>
                  <a:lnTo>
                    <a:pt x="126" y="282"/>
                  </a:lnTo>
                  <a:lnTo>
                    <a:pt x="126" y="289"/>
                  </a:lnTo>
                  <a:lnTo>
                    <a:pt x="122" y="296"/>
                  </a:lnTo>
                  <a:lnTo>
                    <a:pt x="144" y="308"/>
                  </a:lnTo>
                  <a:lnTo>
                    <a:pt x="142" y="319"/>
                  </a:lnTo>
                  <a:lnTo>
                    <a:pt x="149" y="332"/>
                  </a:lnTo>
                  <a:lnTo>
                    <a:pt x="145" y="336"/>
                  </a:lnTo>
                  <a:lnTo>
                    <a:pt x="138" y="351"/>
                  </a:lnTo>
                  <a:lnTo>
                    <a:pt x="142" y="353"/>
                  </a:lnTo>
                  <a:lnTo>
                    <a:pt x="125" y="366"/>
                  </a:lnTo>
                  <a:lnTo>
                    <a:pt x="122" y="368"/>
                  </a:lnTo>
                  <a:lnTo>
                    <a:pt x="123" y="372"/>
                  </a:lnTo>
                  <a:lnTo>
                    <a:pt x="114" y="383"/>
                  </a:lnTo>
                  <a:lnTo>
                    <a:pt x="93" y="388"/>
                  </a:lnTo>
                  <a:lnTo>
                    <a:pt x="96" y="391"/>
                  </a:lnTo>
                  <a:lnTo>
                    <a:pt x="93" y="400"/>
                  </a:lnTo>
                  <a:lnTo>
                    <a:pt x="102" y="407"/>
                  </a:lnTo>
                  <a:lnTo>
                    <a:pt x="99" y="412"/>
                  </a:lnTo>
                  <a:lnTo>
                    <a:pt x="106" y="412"/>
                  </a:lnTo>
                  <a:lnTo>
                    <a:pt x="106" y="423"/>
                  </a:lnTo>
                  <a:lnTo>
                    <a:pt x="85" y="427"/>
                  </a:lnTo>
                  <a:lnTo>
                    <a:pt x="88" y="429"/>
                  </a:lnTo>
                  <a:lnTo>
                    <a:pt x="78" y="444"/>
                  </a:lnTo>
                  <a:lnTo>
                    <a:pt x="83" y="456"/>
                  </a:lnTo>
                  <a:lnTo>
                    <a:pt x="80" y="464"/>
                  </a:lnTo>
                  <a:lnTo>
                    <a:pt x="70" y="467"/>
                  </a:lnTo>
                  <a:lnTo>
                    <a:pt x="62" y="455"/>
                  </a:lnTo>
                  <a:lnTo>
                    <a:pt x="54" y="452"/>
                  </a:lnTo>
                  <a:lnTo>
                    <a:pt x="35" y="459"/>
                  </a:lnTo>
                  <a:lnTo>
                    <a:pt x="35" y="460"/>
                  </a:lnTo>
                  <a:lnTo>
                    <a:pt x="42" y="483"/>
                  </a:lnTo>
                  <a:lnTo>
                    <a:pt x="31" y="505"/>
                  </a:lnTo>
                  <a:lnTo>
                    <a:pt x="40" y="507"/>
                  </a:lnTo>
                  <a:lnTo>
                    <a:pt x="46" y="511"/>
                  </a:lnTo>
                  <a:lnTo>
                    <a:pt x="45" y="529"/>
                  </a:lnTo>
                  <a:lnTo>
                    <a:pt x="42" y="530"/>
                  </a:lnTo>
                  <a:lnTo>
                    <a:pt x="43" y="539"/>
                  </a:lnTo>
                  <a:lnTo>
                    <a:pt x="54" y="541"/>
                  </a:lnTo>
                  <a:lnTo>
                    <a:pt x="59" y="556"/>
                  </a:lnTo>
                  <a:lnTo>
                    <a:pt x="55" y="567"/>
                  </a:lnTo>
                  <a:lnTo>
                    <a:pt x="46" y="575"/>
                  </a:lnTo>
                  <a:lnTo>
                    <a:pt x="32" y="594"/>
                  </a:lnTo>
                  <a:lnTo>
                    <a:pt x="40" y="602"/>
                  </a:lnTo>
                  <a:lnTo>
                    <a:pt x="42" y="611"/>
                  </a:lnTo>
                  <a:lnTo>
                    <a:pt x="38" y="613"/>
                  </a:lnTo>
                  <a:lnTo>
                    <a:pt x="40" y="619"/>
                  </a:lnTo>
                  <a:lnTo>
                    <a:pt x="34" y="625"/>
                  </a:lnTo>
                  <a:lnTo>
                    <a:pt x="39" y="642"/>
                  </a:lnTo>
                  <a:lnTo>
                    <a:pt x="36" y="644"/>
                  </a:lnTo>
                  <a:lnTo>
                    <a:pt x="32" y="653"/>
                  </a:lnTo>
                  <a:lnTo>
                    <a:pt x="30" y="653"/>
                  </a:lnTo>
                  <a:lnTo>
                    <a:pt x="30" y="661"/>
                  </a:lnTo>
                  <a:lnTo>
                    <a:pt x="26" y="661"/>
                  </a:lnTo>
                  <a:lnTo>
                    <a:pt x="16" y="682"/>
                  </a:lnTo>
                  <a:lnTo>
                    <a:pt x="20" y="688"/>
                  </a:lnTo>
                  <a:lnTo>
                    <a:pt x="27" y="686"/>
                  </a:lnTo>
                  <a:lnTo>
                    <a:pt x="35" y="696"/>
                  </a:lnTo>
                  <a:lnTo>
                    <a:pt x="47" y="696"/>
                  </a:lnTo>
                  <a:lnTo>
                    <a:pt x="51" y="701"/>
                  </a:lnTo>
                  <a:lnTo>
                    <a:pt x="61" y="705"/>
                  </a:lnTo>
                  <a:lnTo>
                    <a:pt x="77" y="729"/>
                  </a:lnTo>
                  <a:lnTo>
                    <a:pt x="74" y="734"/>
                  </a:lnTo>
                  <a:lnTo>
                    <a:pt x="72" y="733"/>
                  </a:lnTo>
                  <a:lnTo>
                    <a:pt x="70" y="730"/>
                  </a:lnTo>
                  <a:lnTo>
                    <a:pt x="61" y="745"/>
                  </a:lnTo>
                  <a:lnTo>
                    <a:pt x="42" y="737"/>
                  </a:lnTo>
                  <a:lnTo>
                    <a:pt x="36" y="741"/>
                  </a:lnTo>
                  <a:lnTo>
                    <a:pt x="30" y="739"/>
                  </a:lnTo>
                  <a:lnTo>
                    <a:pt x="19" y="724"/>
                  </a:lnTo>
                  <a:lnTo>
                    <a:pt x="22" y="719"/>
                  </a:lnTo>
                  <a:lnTo>
                    <a:pt x="19" y="714"/>
                  </a:lnTo>
                  <a:lnTo>
                    <a:pt x="11" y="714"/>
                  </a:lnTo>
                  <a:lnTo>
                    <a:pt x="0" y="724"/>
                  </a:lnTo>
                  <a:lnTo>
                    <a:pt x="8" y="738"/>
                  </a:lnTo>
                  <a:lnTo>
                    <a:pt x="13" y="737"/>
                  </a:lnTo>
                  <a:lnTo>
                    <a:pt x="23" y="749"/>
                  </a:lnTo>
                  <a:lnTo>
                    <a:pt x="22" y="754"/>
                  </a:lnTo>
                  <a:lnTo>
                    <a:pt x="28" y="769"/>
                  </a:lnTo>
                  <a:lnTo>
                    <a:pt x="49" y="781"/>
                  </a:lnTo>
                  <a:lnTo>
                    <a:pt x="58" y="779"/>
                  </a:lnTo>
                  <a:lnTo>
                    <a:pt x="64" y="788"/>
                  </a:lnTo>
                  <a:lnTo>
                    <a:pt x="66" y="786"/>
                  </a:lnTo>
                  <a:lnTo>
                    <a:pt x="70" y="790"/>
                  </a:lnTo>
                  <a:lnTo>
                    <a:pt x="72" y="796"/>
                  </a:lnTo>
                  <a:lnTo>
                    <a:pt x="68" y="803"/>
                  </a:lnTo>
                  <a:lnTo>
                    <a:pt x="74" y="813"/>
                  </a:lnTo>
                  <a:lnTo>
                    <a:pt x="73" y="823"/>
                  </a:lnTo>
                  <a:lnTo>
                    <a:pt x="81" y="822"/>
                  </a:lnTo>
                  <a:lnTo>
                    <a:pt x="81" y="823"/>
                  </a:lnTo>
                  <a:lnTo>
                    <a:pt x="87" y="823"/>
                  </a:lnTo>
                  <a:lnTo>
                    <a:pt x="89" y="828"/>
                  </a:lnTo>
                  <a:lnTo>
                    <a:pt x="85" y="832"/>
                  </a:lnTo>
                  <a:lnTo>
                    <a:pt x="83" y="830"/>
                  </a:lnTo>
                  <a:lnTo>
                    <a:pt x="83" y="836"/>
                  </a:lnTo>
                  <a:lnTo>
                    <a:pt x="77" y="834"/>
                  </a:lnTo>
                  <a:lnTo>
                    <a:pt x="80" y="842"/>
                  </a:lnTo>
                  <a:lnTo>
                    <a:pt x="77" y="849"/>
                  </a:lnTo>
                  <a:lnTo>
                    <a:pt x="84" y="870"/>
                  </a:lnTo>
                  <a:lnTo>
                    <a:pt x="89" y="872"/>
                  </a:lnTo>
                  <a:lnTo>
                    <a:pt x="89" y="853"/>
                  </a:lnTo>
                  <a:lnTo>
                    <a:pt x="104" y="864"/>
                  </a:lnTo>
                  <a:lnTo>
                    <a:pt x="110" y="860"/>
                  </a:lnTo>
                  <a:lnTo>
                    <a:pt x="123" y="863"/>
                  </a:lnTo>
                  <a:lnTo>
                    <a:pt x="133" y="860"/>
                  </a:lnTo>
                  <a:lnTo>
                    <a:pt x="135" y="859"/>
                  </a:lnTo>
                  <a:lnTo>
                    <a:pt x="138" y="856"/>
                  </a:lnTo>
                  <a:lnTo>
                    <a:pt x="154" y="845"/>
                  </a:lnTo>
                  <a:lnTo>
                    <a:pt x="157" y="848"/>
                  </a:lnTo>
                  <a:lnTo>
                    <a:pt x="161" y="849"/>
                  </a:lnTo>
                  <a:lnTo>
                    <a:pt x="172" y="842"/>
                  </a:lnTo>
                  <a:lnTo>
                    <a:pt x="175" y="844"/>
                  </a:lnTo>
                  <a:lnTo>
                    <a:pt x="178" y="836"/>
                  </a:lnTo>
                  <a:lnTo>
                    <a:pt x="191" y="832"/>
                  </a:lnTo>
                  <a:lnTo>
                    <a:pt x="194" y="826"/>
                  </a:lnTo>
                  <a:lnTo>
                    <a:pt x="198" y="830"/>
                  </a:lnTo>
                  <a:lnTo>
                    <a:pt x="201" y="828"/>
                  </a:lnTo>
                  <a:lnTo>
                    <a:pt x="205" y="825"/>
                  </a:lnTo>
                  <a:lnTo>
                    <a:pt x="207" y="815"/>
                  </a:lnTo>
                  <a:lnTo>
                    <a:pt x="224" y="814"/>
                  </a:lnTo>
                  <a:lnTo>
                    <a:pt x="228" y="811"/>
                  </a:lnTo>
                  <a:lnTo>
                    <a:pt x="262" y="818"/>
                  </a:lnTo>
                  <a:lnTo>
                    <a:pt x="262" y="840"/>
                  </a:lnTo>
                  <a:lnTo>
                    <a:pt x="275" y="844"/>
                  </a:lnTo>
                  <a:lnTo>
                    <a:pt x="274" y="849"/>
                  </a:lnTo>
                  <a:lnTo>
                    <a:pt x="281" y="857"/>
                  </a:lnTo>
                  <a:lnTo>
                    <a:pt x="293" y="864"/>
                  </a:lnTo>
                  <a:lnTo>
                    <a:pt x="298" y="864"/>
                  </a:lnTo>
                  <a:lnTo>
                    <a:pt x="300" y="859"/>
                  </a:lnTo>
                  <a:lnTo>
                    <a:pt x="312" y="853"/>
                  </a:lnTo>
                  <a:lnTo>
                    <a:pt x="316" y="852"/>
                  </a:lnTo>
                  <a:lnTo>
                    <a:pt x="336" y="849"/>
                  </a:lnTo>
                  <a:lnTo>
                    <a:pt x="338" y="851"/>
                  </a:lnTo>
                  <a:lnTo>
                    <a:pt x="346" y="845"/>
                  </a:lnTo>
                  <a:lnTo>
                    <a:pt x="357" y="855"/>
                  </a:lnTo>
                  <a:lnTo>
                    <a:pt x="361" y="860"/>
                  </a:lnTo>
                  <a:lnTo>
                    <a:pt x="358" y="864"/>
                  </a:lnTo>
                  <a:lnTo>
                    <a:pt x="363" y="866"/>
                  </a:lnTo>
                  <a:lnTo>
                    <a:pt x="372" y="887"/>
                  </a:lnTo>
                  <a:lnTo>
                    <a:pt x="378" y="886"/>
                  </a:lnTo>
                  <a:lnTo>
                    <a:pt x="386" y="901"/>
                  </a:lnTo>
                  <a:lnTo>
                    <a:pt x="382" y="901"/>
                  </a:lnTo>
                  <a:lnTo>
                    <a:pt x="362" y="906"/>
                  </a:lnTo>
                  <a:lnTo>
                    <a:pt x="362" y="916"/>
                  </a:lnTo>
                  <a:lnTo>
                    <a:pt x="359" y="916"/>
                  </a:lnTo>
                  <a:lnTo>
                    <a:pt x="357" y="909"/>
                  </a:lnTo>
                  <a:lnTo>
                    <a:pt x="355" y="916"/>
                  </a:lnTo>
                  <a:lnTo>
                    <a:pt x="353" y="916"/>
                  </a:lnTo>
                  <a:lnTo>
                    <a:pt x="355" y="923"/>
                  </a:lnTo>
                  <a:lnTo>
                    <a:pt x="350" y="924"/>
                  </a:lnTo>
                  <a:lnTo>
                    <a:pt x="350" y="928"/>
                  </a:lnTo>
                  <a:lnTo>
                    <a:pt x="344" y="931"/>
                  </a:lnTo>
                  <a:lnTo>
                    <a:pt x="344" y="933"/>
                  </a:lnTo>
                  <a:lnTo>
                    <a:pt x="344" y="935"/>
                  </a:lnTo>
                  <a:lnTo>
                    <a:pt x="370" y="952"/>
                  </a:lnTo>
                  <a:lnTo>
                    <a:pt x="376" y="947"/>
                  </a:lnTo>
                  <a:lnTo>
                    <a:pt x="385" y="944"/>
                  </a:lnTo>
                  <a:lnTo>
                    <a:pt x="391" y="955"/>
                  </a:lnTo>
                  <a:lnTo>
                    <a:pt x="395" y="955"/>
                  </a:lnTo>
                  <a:lnTo>
                    <a:pt x="397" y="952"/>
                  </a:lnTo>
                  <a:lnTo>
                    <a:pt x="400" y="951"/>
                  </a:lnTo>
                  <a:lnTo>
                    <a:pt x="403" y="952"/>
                  </a:lnTo>
                  <a:lnTo>
                    <a:pt x="405" y="952"/>
                  </a:lnTo>
                  <a:lnTo>
                    <a:pt x="407" y="950"/>
                  </a:lnTo>
                  <a:lnTo>
                    <a:pt x="408" y="950"/>
                  </a:lnTo>
                  <a:lnTo>
                    <a:pt x="408" y="951"/>
                  </a:lnTo>
                  <a:lnTo>
                    <a:pt x="408" y="951"/>
                  </a:lnTo>
                  <a:lnTo>
                    <a:pt x="412" y="952"/>
                  </a:lnTo>
                  <a:lnTo>
                    <a:pt x="418" y="951"/>
                  </a:lnTo>
                  <a:lnTo>
                    <a:pt x="427" y="947"/>
                  </a:lnTo>
                  <a:lnTo>
                    <a:pt x="427" y="947"/>
                  </a:lnTo>
                  <a:lnTo>
                    <a:pt x="430" y="936"/>
                  </a:lnTo>
                  <a:lnTo>
                    <a:pt x="430" y="936"/>
                  </a:lnTo>
                  <a:lnTo>
                    <a:pt x="430" y="927"/>
                  </a:lnTo>
                  <a:lnTo>
                    <a:pt x="431" y="924"/>
                  </a:lnTo>
                  <a:lnTo>
                    <a:pt x="437" y="920"/>
                  </a:lnTo>
                  <a:lnTo>
                    <a:pt x="437" y="918"/>
                  </a:lnTo>
                  <a:lnTo>
                    <a:pt x="437" y="918"/>
                  </a:lnTo>
                  <a:lnTo>
                    <a:pt x="439" y="918"/>
                  </a:lnTo>
                  <a:lnTo>
                    <a:pt x="441" y="920"/>
                  </a:lnTo>
                  <a:lnTo>
                    <a:pt x="441" y="920"/>
                  </a:lnTo>
                  <a:lnTo>
                    <a:pt x="445" y="918"/>
                  </a:lnTo>
                  <a:lnTo>
                    <a:pt x="449" y="918"/>
                  </a:lnTo>
                  <a:lnTo>
                    <a:pt x="456" y="918"/>
                  </a:lnTo>
                  <a:lnTo>
                    <a:pt x="458" y="916"/>
                  </a:lnTo>
                  <a:lnTo>
                    <a:pt x="462" y="917"/>
                  </a:lnTo>
                  <a:lnTo>
                    <a:pt x="465" y="916"/>
                  </a:lnTo>
                  <a:lnTo>
                    <a:pt x="465" y="913"/>
                  </a:lnTo>
                  <a:lnTo>
                    <a:pt x="465" y="913"/>
                  </a:lnTo>
                  <a:lnTo>
                    <a:pt x="465" y="913"/>
                  </a:lnTo>
                  <a:lnTo>
                    <a:pt x="462" y="913"/>
                  </a:lnTo>
                  <a:lnTo>
                    <a:pt x="458" y="912"/>
                  </a:lnTo>
                  <a:lnTo>
                    <a:pt x="457" y="910"/>
                  </a:lnTo>
                  <a:lnTo>
                    <a:pt x="457" y="906"/>
                  </a:lnTo>
                  <a:lnTo>
                    <a:pt x="454" y="902"/>
                  </a:lnTo>
                  <a:lnTo>
                    <a:pt x="454" y="899"/>
                  </a:lnTo>
                  <a:lnTo>
                    <a:pt x="456" y="901"/>
                  </a:lnTo>
                  <a:lnTo>
                    <a:pt x="457" y="902"/>
                  </a:lnTo>
                  <a:lnTo>
                    <a:pt x="465" y="901"/>
                  </a:lnTo>
                  <a:lnTo>
                    <a:pt x="467" y="901"/>
                  </a:lnTo>
                  <a:lnTo>
                    <a:pt x="467" y="894"/>
                  </a:lnTo>
                  <a:lnTo>
                    <a:pt x="469" y="893"/>
                  </a:lnTo>
                  <a:lnTo>
                    <a:pt x="469" y="893"/>
                  </a:lnTo>
                  <a:lnTo>
                    <a:pt x="473" y="895"/>
                  </a:lnTo>
                  <a:lnTo>
                    <a:pt x="480" y="897"/>
                  </a:lnTo>
                  <a:lnTo>
                    <a:pt x="492" y="899"/>
                  </a:lnTo>
                  <a:lnTo>
                    <a:pt x="492" y="899"/>
                  </a:lnTo>
                  <a:lnTo>
                    <a:pt x="500" y="897"/>
                  </a:lnTo>
                  <a:lnTo>
                    <a:pt x="502" y="897"/>
                  </a:lnTo>
                  <a:lnTo>
                    <a:pt x="515" y="899"/>
                  </a:lnTo>
                  <a:lnTo>
                    <a:pt x="515" y="899"/>
                  </a:lnTo>
                  <a:lnTo>
                    <a:pt x="532" y="902"/>
                  </a:lnTo>
                  <a:lnTo>
                    <a:pt x="532" y="902"/>
                  </a:lnTo>
                  <a:lnTo>
                    <a:pt x="534" y="904"/>
                  </a:lnTo>
                  <a:lnTo>
                    <a:pt x="534" y="904"/>
                  </a:lnTo>
                  <a:lnTo>
                    <a:pt x="540" y="904"/>
                  </a:lnTo>
                  <a:lnTo>
                    <a:pt x="544" y="905"/>
                  </a:lnTo>
                  <a:lnTo>
                    <a:pt x="544" y="905"/>
                  </a:lnTo>
                  <a:lnTo>
                    <a:pt x="552" y="909"/>
                  </a:lnTo>
                  <a:lnTo>
                    <a:pt x="552" y="909"/>
                  </a:lnTo>
                  <a:lnTo>
                    <a:pt x="564" y="899"/>
                  </a:lnTo>
                  <a:lnTo>
                    <a:pt x="575" y="890"/>
                  </a:lnTo>
                  <a:lnTo>
                    <a:pt x="575" y="890"/>
                  </a:lnTo>
                  <a:lnTo>
                    <a:pt x="576" y="889"/>
                  </a:lnTo>
                  <a:lnTo>
                    <a:pt x="576" y="887"/>
                  </a:lnTo>
                  <a:lnTo>
                    <a:pt x="576" y="887"/>
                  </a:lnTo>
                  <a:lnTo>
                    <a:pt x="582" y="886"/>
                  </a:lnTo>
                  <a:lnTo>
                    <a:pt x="583" y="885"/>
                  </a:lnTo>
                  <a:lnTo>
                    <a:pt x="583" y="883"/>
                  </a:lnTo>
                  <a:lnTo>
                    <a:pt x="583" y="883"/>
                  </a:lnTo>
                  <a:lnTo>
                    <a:pt x="586" y="880"/>
                  </a:lnTo>
                  <a:lnTo>
                    <a:pt x="590" y="878"/>
                  </a:lnTo>
                  <a:lnTo>
                    <a:pt x="590" y="878"/>
                  </a:lnTo>
                  <a:lnTo>
                    <a:pt x="597" y="872"/>
                  </a:lnTo>
                  <a:lnTo>
                    <a:pt x="605" y="864"/>
                  </a:lnTo>
                  <a:lnTo>
                    <a:pt x="613" y="856"/>
                  </a:lnTo>
                  <a:lnTo>
                    <a:pt x="614" y="852"/>
                  </a:lnTo>
                  <a:lnTo>
                    <a:pt x="614" y="848"/>
                  </a:lnTo>
                  <a:lnTo>
                    <a:pt x="612" y="847"/>
                  </a:lnTo>
                  <a:lnTo>
                    <a:pt x="595" y="851"/>
                  </a:lnTo>
                  <a:lnTo>
                    <a:pt x="595" y="852"/>
                  </a:lnTo>
                  <a:lnTo>
                    <a:pt x="594" y="849"/>
                  </a:lnTo>
                  <a:lnTo>
                    <a:pt x="594" y="849"/>
                  </a:lnTo>
                  <a:lnTo>
                    <a:pt x="587" y="851"/>
                  </a:lnTo>
                  <a:lnTo>
                    <a:pt x="580" y="851"/>
                  </a:lnTo>
                  <a:lnTo>
                    <a:pt x="566" y="848"/>
                  </a:lnTo>
                  <a:lnTo>
                    <a:pt x="566" y="845"/>
                  </a:lnTo>
                  <a:lnTo>
                    <a:pt x="566" y="845"/>
                  </a:lnTo>
                  <a:lnTo>
                    <a:pt x="574" y="845"/>
                  </a:lnTo>
                  <a:lnTo>
                    <a:pt x="579" y="847"/>
                  </a:lnTo>
                  <a:lnTo>
                    <a:pt x="591" y="845"/>
                  </a:lnTo>
                  <a:lnTo>
                    <a:pt x="591" y="845"/>
                  </a:lnTo>
                  <a:lnTo>
                    <a:pt x="598" y="845"/>
                  </a:lnTo>
                  <a:lnTo>
                    <a:pt x="601" y="844"/>
                  </a:lnTo>
                  <a:lnTo>
                    <a:pt x="605" y="841"/>
                  </a:lnTo>
                  <a:lnTo>
                    <a:pt x="608" y="837"/>
                  </a:lnTo>
                  <a:lnTo>
                    <a:pt x="608" y="837"/>
                  </a:lnTo>
                  <a:lnTo>
                    <a:pt x="609" y="836"/>
                  </a:lnTo>
                  <a:lnTo>
                    <a:pt x="609" y="836"/>
                  </a:lnTo>
                  <a:lnTo>
                    <a:pt x="608" y="830"/>
                  </a:lnTo>
                  <a:lnTo>
                    <a:pt x="609" y="825"/>
                  </a:lnTo>
                  <a:lnTo>
                    <a:pt x="610" y="819"/>
                  </a:lnTo>
                  <a:lnTo>
                    <a:pt x="609" y="814"/>
                  </a:lnTo>
                  <a:lnTo>
                    <a:pt x="613" y="813"/>
                  </a:lnTo>
                  <a:lnTo>
                    <a:pt x="612" y="811"/>
                  </a:lnTo>
                  <a:lnTo>
                    <a:pt x="614" y="807"/>
                  </a:lnTo>
                  <a:lnTo>
                    <a:pt x="612" y="807"/>
                  </a:lnTo>
                  <a:lnTo>
                    <a:pt x="612" y="804"/>
                  </a:lnTo>
                  <a:lnTo>
                    <a:pt x="612" y="804"/>
                  </a:lnTo>
                  <a:lnTo>
                    <a:pt x="610" y="800"/>
                  </a:lnTo>
                  <a:lnTo>
                    <a:pt x="610" y="795"/>
                  </a:lnTo>
                  <a:lnTo>
                    <a:pt x="613" y="786"/>
                  </a:lnTo>
                  <a:lnTo>
                    <a:pt x="612" y="783"/>
                  </a:lnTo>
                  <a:lnTo>
                    <a:pt x="613" y="780"/>
                  </a:lnTo>
                  <a:lnTo>
                    <a:pt x="613" y="780"/>
                  </a:lnTo>
                  <a:lnTo>
                    <a:pt x="610" y="777"/>
                  </a:lnTo>
                  <a:lnTo>
                    <a:pt x="610" y="773"/>
                  </a:lnTo>
                  <a:lnTo>
                    <a:pt x="610" y="773"/>
                  </a:lnTo>
                  <a:lnTo>
                    <a:pt x="608" y="771"/>
                  </a:lnTo>
                  <a:lnTo>
                    <a:pt x="608" y="771"/>
                  </a:lnTo>
                  <a:lnTo>
                    <a:pt x="604" y="769"/>
                  </a:lnTo>
                  <a:lnTo>
                    <a:pt x="604" y="769"/>
                  </a:lnTo>
                  <a:lnTo>
                    <a:pt x="598" y="769"/>
                  </a:lnTo>
                  <a:lnTo>
                    <a:pt x="598" y="769"/>
                  </a:lnTo>
                  <a:lnTo>
                    <a:pt x="594" y="771"/>
                  </a:lnTo>
                  <a:lnTo>
                    <a:pt x="593" y="772"/>
                  </a:lnTo>
                  <a:lnTo>
                    <a:pt x="590" y="776"/>
                  </a:lnTo>
                  <a:lnTo>
                    <a:pt x="590" y="776"/>
                  </a:lnTo>
                  <a:lnTo>
                    <a:pt x="586" y="781"/>
                  </a:lnTo>
                  <a:lnTo>
                    <a:pt x="583" y="784"/>
                  </a:lnTo>
                  <a:lnTo>
                    <a:pt x="578" y="787"/>
                  </a:lnTo>
                  <a:lnTo>
                    <a:pt x="572" y="788"/>
                  </a:lnTo>
                  <a:lnTo>
                    <a:pt x="572" y="788"/>
                  </a:lnTo>
                  <a:lnTo>
                    <a:pt x="570" y="788"/>
                  </a:lnTo>
                  <a:lnTo>
                    <a:pt x="567" y="786"/>
                  </a:lnTo>
                  <a:lnTo>
                    <a:pt x="560" y="787"/>
                  </a:lnTo>
                  <a:lnTo>
                    <a:pt x="559" y="786"/>
                  </a:lnTo>
                  <a:lnTo>
                    <a:pt x="556" y="787"/>
                  </a:lnTo>
                  <a:lnTo>
                    <a:pt x="555" y="794"/>
                  </a:lnTo>
                  <a:lnTo>
                    <a:pt x="549" y="795"/>
                  </a:lnTo>
                  <a:lnTo>
                    <a:pt x="549" y="796"/>
                  </a:lnTo>
                  <a:lnTo>
                    <a:pt x="548" y="796"/>
                  </a:lnTo>
                  <a:lnTo>
                    <a:pt x="544" y="798"/>
                  </a:lnTo>
                  <a:lnTo>
                    <a:pt x="543" y="803"/>
                  </a:lnTo>
                  <a:lnTo>
                    <a:pt x="540" y="806"/>
                  </a:lnTo>
                  <a:lnTo>
                    <a:pt x="537" y="804"/>
                  </a:lnTo>
                  <a:lnTo>
                    <a:pt x="536" y="806"/>
                  </a:lnTo>
                  <a:lnTo>
                    <a:pt x="536" y="802"/>
                  </a:lnTo>
                  <a:lnTo>
                    <a:pt x="537" y="802"/>
                  </a:lnTo>
                  <a:lnTo>
                    <a:pt x="538" y="803"/>
                  </a:lnTo>
                  <a:lnTo>
                    <a:pt x="540" y="803"/>
                  </a:lnTo>
                  <a:lnTo>
                    <a:pt x="540" y="802"/>
                  </a:lnTo>
                  <a:lnTo>
                    <a:pt x="543" y="800"/>
                  </a:lnTo>
                  <a:lnTo>
                    <a:pt x="541" y="796"/>
                  </a:lnTo>
                  <a:lnTo>
                    <a:pt x="547" y="794"/>
                  </a:lnTo>
                  <a:lnTo>
                    <a:pt x="526" y="788"/>
                  </a:lnTo>
                  <a:lnTo>
                    <a:pt x="519" y="780"/>
                  </a:lnTo>
                  <a:lnTo>
                    <a:pt x="522" y="780"/>
                  </a:lnTo>
                  <a:lnTo>
                    <a:pt x="524" y="781"/>
                  </a:lnTo>
                  <a:lnTo>
                    <a:pt x="525" y="783"/>
                  </a:lnTo>
                  <a:lnTo>
                    <a:pt x="525" y="783"/>
                  </a:lnTo>
                  <a:lnTo>
                    <a:pt x="526" y="780"/>
                  </a:lnTo>
                  <a:lnTo>
                    <a:pt x="528" y="777"/>
                  </a:lnTo>
                  <a:lnTo>
                    <a:pt x="528" y="775"/>
                  </a:lnTo>
                  <a:lnTo>
                    <a:pt x="534" y="780"/>
                  </a:lnTo>
                  <a:lnTo>
                    <a:pt x="537" y="779"/>
                  </a:lnTo>
                  <a:lnTo>
                    <a:pt x="540" y="779"/>
                  </a:lnTo>
                  <a:lnTo>
                    <a:pt x="541" y="777"/>
                  </a:lnTo>
                  <a:lnTo>
                    <a:pt x="538" y="776"/>
                  </a:lnTo>
                  <a:lnTo>
                    <a:pt x="541" y="776"/>
                  </a:lnTo>
                  <a:lnTo>
                    <a:pt x="544" y="775"/>
                  </a:lnTo>
                  <a:lnTo>
                    <a:pt x="545" y="772"/>
                  </a:lnTo>
                  <a:lnTo>
                    <a:pt x="548" y="773"/>
                  </a:lnTo>
                  <a:lnTo>
                    <a:pt x="548" y="772"/>
                  </a:lnTo>
                  <a:lnTo>
                    <a:pt x="549" y="772"/>
                  </a:lnTo>
                  <a:lnTo>
                    <a:pt x="551" y="775"/>
                  </a:lnTo>
                  <a:lnTo>
                    <a:pt x="551" y="775"/>
                  </a:lnTo>
                  <a:lnTo>
                    <a:pt x="556" y="775"/>
                  </a:lnTo>
                  <a:lnTo>
                    <a:pt x="560" y="772"/>
                  </a:lnTo>
                  <a:lnTo>
                    <a:pt x="563" y="773"/>
                  </a:lnTo>
                  <a:lnTo>
                    <a:pt x="563" y="773"/>
                  </a:lnTo>
                  <a:lnTo>
                    <a:pt x="568" y="773"/>
                  </a:lnTo>
                  <a:lnTo>
                    <a:pt x="572" y="773"/>
                  </a:lnTo>
                  <a:lnTo>
                    <a:pt x="575" y="772"/>
                  </a:lnTo>
                  <a:lnTo>
                    <a:pt x="578" y="772"/>
                  </a:lnTo>
                  <a:lnTo>
                    <a:pt x="578" y="771"/>
                  </a:lnTo>
                  <a:lnTo>
                    <a:pt x="579" y="771"/>
                  </a:lnTo>
                  <a:lnTo>
                    <a:pt x="579" y="771"/>
                  </a:lnTo>
                  <a:lnTo>
                    <a:pt x="580" y="769"/>
                  </a:lnTo>
                  <a:lnTo>
                    <a:pt x="583" y="767"/>
                  </a:lnTo>
                  <a:lnTo>
                    <a:pt x="589" y="762"/>
                  </a:lnTo>
                  <a:lnTo>
                    <a:pt x="589" y="762"/>
                  </a:lnTo>
                  <a:lnTo>
                    <a:pt x="583" y="761"/>
                  </a:lnTo>
                  <a:lnTo>
                    <a:pt x="579" y="758"/>
                  </a:lnTo>
                  <a:lnTo>
                    <a:pt x="579" y="756"/>
                  </a:lnTo>
                  <a:lnTo>
                    <a:pt x="578" y="754"/>
                  </a:lnTo>
                  <a:lnTo>
                    <a:pt x="578" y="753"/>
                  </a:lnTo>
                  <a:lnTo>
                    <a:pt x="579" y="752"/>
                  </a:lnTo>
                  <a:lnTo>
                    <a:pt x="580" y="756"/>
                  </a:lnTo>
                  <a:lnTo>
                    <a:pt x="590" y="760"/>
                  </a:lnTo>
                  <a:lnTo>
                    <a:pt x="593" y="757"/>
                  </a:lnTo>
                  <a:lnTo>
                    <a:pt x="593" y="757"/>
                  </a:lnTo>
                  <a:lnTo>
                    <a:pt x="590" y="754"/>
                  </a:lnTo>
                  <a:lnTo>
                    <a:pt x="587" y="749"/>
                  </a:lnTo>
                  <a:lnTo>
                    <a:pt x="580" y="748"/>
                  </a:lnTo>
                  <a:lnTo>
                    <a:pt x="579" y="746"/>
                  </a:lnTo>
                  <a:lnTo>
                    <a:pt x="579" y="746"/>
                  </a:lnTo>
                  <a:lnTo>
                    <a:pt x="585" y="746"/>
                  </a:lnTo>
                  <a:lnTo>
                    <a:pt x="589" y="746"/>
                  </a:lnTo>
                  <a:lnTo>
                    <a:pt x="593" y="749"/>
                  </a:lnTo>
                  <a:lnTo>
                    <a:pt x="593" y="743"/>
                  </a:lnTo>
                  <a:lnTo>
                    <a:pt x="594" y="742"/>
                  </a:lnTo>
                  <a:lnTo>
                    <a:pt x="595" y="742"/>
                  </a:lnTo>
                  <a:lnTo>
                    <a:pt x="601" y="739"/>
                  </a:lnTo>
                  <a:lnTo>
                    <a:pt x="602" y="735"/>
                  </a:lnTo>
                  <a:lnTo>
                    <a:pt x="602" y="735"/>
                  </a:lnTo>
                  <a:lnTo>
                    <a:pt x="606" y="734"/>
                  </a:lnTo>
                  <a:lnTo>
                    <a:pt x="608" y="731"/>
                  </a:lnTo>
                  <a:lnTo>
                    <a:pt x="608" y="731"/>
                  </a:lnTo>
                  <a:lnTo>
                    <a:pt x="616" y="730"/>
                  </a:lnTo>
                  <a:lnTo>
                    <a:pt x="623" y="730"/>
                  </a:lnTo>
                  <a:lnTo>
                    <a:pt x="624" y="731"/>
                  </a:lnTo>
                  <a:lnTo>
                    <a:pt x="627" y="731"/>
                  </a:lnTo>
                  <a:lnTo>
                    <a:pt x="627" y="730"/>
                  </a:lnTo>
                  <a:lnTo>
                    <a:pt x="627" y="730"/>
                  </a:lnTo>
                  <a:lnTo>
                    <a:pt x="618" y="724"/>
                  </a:lnTo>
                  <a:lnTo>
                    <a:pt x="616" y="723"/>
                  </a:lnTo>
                  <a:lnTo>
                    <a:pt x="612" y="723"/>
                  </a:lnTo>
                  <a:lnTo>
                    <a:pt x="614" y="720"/>
                  </a:lnTo>
                  <a:lnTo>
                    <a:pt x="614" y="720"/>
                  </a:lnTo>
                  <a:lnTo>
                    <a:pt x="618" y="722"/>
                  </a:lnTo>
                  <a:lnTo>
                    <a:pt x="623" y="724"/>
                  </a:lnTo>
                  <a:lnTo>
                    <a:pt x="624" y="724"/>
                  </a:lnTo>
                  <a:lnTo>
                    <a:pt x="621" y="722"/>
                  </a:lnTo>
                  <a:lnTo>
                    <a:pt x="621" y="722"/>
                  </a:lnTo>
                  <a:lnTo>
                    <a:pt x="621" y="719"/>
                  </a:lnTo>
                  <a:lnTo>
                    <a:pt x="623" y="716"/>
                  </a:lnTo>
                  <a:lnTo>
                    <a:pt x="623" y="712"/>
                  </a:lnTo>
                  <a:lnTo>
                    <a:pt x="623" y="710"/>
                  </a:lnTo>
                  <a:lnTo>
                    <a:pt x="620" y="705"/>
                  </a:lnTo>
                  <a:lnTo>
                    <a:pt x="623" y="705"/>
                  </a:lnTo>
                  <a:lnTo>
                    <a:pt x="627" y="714"/>
                  </a:lnTo>
                  <a:lnTo>
                    <a:pt x="627" y="714"/>
                  </a:lnTo>
                  <a:lnTo>
                    <a:pt x="625" y="715"/>
                  </a:lnTo>
                  <a:lnTo>
                    <a:pt x="625" y="718"/>
                  </a:lnTo>
                  <a:lnTo>
                    <a:pt x="628" y="724"/>
                  </a:lnTo>
                  <a:lnTo>
                    <a:pt x="632" y="730"/>
                  </a:lnTo>
                  <a:lnTo>
                    <a:pt x="635" y="733"/>
                  </a:lnTo>
                  <a:lnTo>
                    <a:pt x="637" y="733"/>
                  </a:lnTo>
                  <a:lnTo>
                    <a:pt x="639" y="735"/>
                  </a:lnTo>
                  <a:lnTo>
                    <a:pt x="639" y="737"/>
                  </a:lnTo>
                  <a:lnTo>
                    <a:pt x="639" y="737"/>
                  </a:lnTo>
                  <a:lnTo>
                    <a:pt x="643" y="741"/>
                  </a:lnTo>
                  <a:lnTo>
                    <a:pt x="646" y="743"/>
                  </a:lnTo>
                  <a:lnTo>
                    <a:pt x="643" y="745"/>
                  </a:lnTo>
                  <a:lnTo>
                    <a:pt x="643" y="745"/>
                  </a:lnTo>
                  <a:lnTo>
                    <a:pt x="644" y="750"/>
                  </a:lnTo>
                  <a:lnTo>
                    <a:pt x="647" y="754"/>
                  </a:lnTo>
                  <a:lnTo>
                    <a:pt x="647" y="754"/>
                  </a:lnTo>
                  <a:lnTo>
                    <a:pt x="659" y="754"/>
                  </a:lnTo>
                  <a:lnTo>
                    <a:pt x="670" y="753"/>
                  </a:lnTo>
                  <a:lnTo>
                    <a:pt x="670" y="753"/>
                  </a:lnTo>
                  <a:lnTo>
                    <a:pt x="681" y="750"/>
                  </a:lnTo>
                  <a:lnTo>
                    <a:pt x="681" y="750"/>
                  </a:lnTo>
                  <a:lnTo>
                    <a:pt x="701" y="737"/>
                  </a:lnTo>
                  <a:lnTo>
                    <a:pt x="712" y="730"/>
                  </a:lnTo>
                  <a:lnTo>
                    <a:pt x="720" y="720"/>
                  </a:lnTo>
                  <a:lnTo>
                    <a:pt x="720" y="720"/>
                  </a:lnTo>
                  <a:lnTo>
                    <a:pt x="730" y="707"/>
                  </a:lnTo>
                  <a:lnTo>
                    <a:pt x="735" y="700"/>
                  </a:lnTo>
                  <a:lnTo>
                    <a:pt x="738" y="693"/>
                  </a:lnTo>
                  <a:lnTo>
                    <a:pt x="735" y="691"/>
                  </a:lnTo>
                  <a:lnTo>
                    <a:pt x="728" y="691"/>
                  </a:lnTo>
                  <a:lnTo>
                    <a:pt x="728" y="691"/>
                  </a:lnTo>
                  <a:lnTo>
                    <a:pt x="730" y="696"/>
                  </a:lnTo>
                  <a:lnTo>
                    <a:pt x="730" y="703"/>
                  </a:lnTo>
                  <a:lnTo>
                    <a:pt x="728" y="703"/>
                  </a:lnTo>
                  <a:lnTo>
                    <a:pt x="728" y="703"/>
                  </a:lnTo>
                  <a:lnTo>
                    <a:pt x="728" y="699"/>
                  </a:lnTo>
                  <a:lnTo>
                    <a:pt x="728" y="699"/>
                  </a:lnTo>
                  <a:lnTo>
                    <a:pt x="726" y="697"/>
                  </a:lnTo>
                  <a:lnTo>
                    <a:pt x="724" y="697"/>
                  </a:lnTo>
                  <a:lnTo>
                    <a:pt x="724" y="700"/>
                  </a:lnTo>
                  <a:lnTo>
                    <a:pt x="723" y="701"/>
                  </a:lnTo>
                  <a:lnTo>
                    <a:pt x="722" y="699"/>
                  </a:lnTo>
                  <a:lnTo>
                    <a:pt x="719" y="700"/>
                  </a:lnTo>
                  <a:lnTo>
                    <a:pt x="715" y="699"/>
                  </a:lnTo>
                  <a:lnTo>
                    <a:pt x="713" y="696"/>
                  </a:lnTo>
                  <a:lnTo>
                    <a:pt x="713" y="695"/>
                  </a:lnTo>
                  <a:lnTo>
                    <a:pt x="713" y="692"/>
                  </a:lnTo>
                  <a:lnTo>
                    <a:pt x="708" y="695"/>
                  </a:lnTo>
                  <a:lnTo>
                    <a:pt x="705" y="693"/>
                  </a:lnTo>
                  <a:lnTo>
                    <a:pt x="704" y="692"/>
                  </a:lnTo>
                  <a:lnTo>
                    <a:pt x="700" y="693"/>
                  </a:lnTo>
                  <a:lnTo>
                    <a:pt x="699" y="692"/>
                  </a:lnTo>
                  <a:lnTo>
                    <a:pt x="701" y="691"/>
                  </a:lnTo>
                  <a:lnTo>
                    <a:pt x="704" y="689"/>
                  </a:lnTo>
                  <a:lnTo>
                    <a:pt x="704" y="685"/>
                  </a:lnTo>
                  <a:lnTo>
                    <a:pt x="704" y="685"/>
                  </a:lnTo>
                  <a:lnTo>
                    <a:pt x="708" y="684"/>
                  </a:lnTo>
                  <a:lnTo>
                    <a:pt x="711" y="681"/>
                  </a:lnTo>
                  <a:lnTo>
                    <a:pt x="713" y="681"/>
                  </a:lnTo>
                  <a:lnTo>
                    <a:pt x="715" y="680"/>
                  </a:lnTo>
                  <a:lnTo>
                    <a:pt x="713" y="678"/>
                  </a:lnTo>
                  <a:lnTo>
                    <a:pt x="709" y="677"/>
                  </a:lnTo>
                  <a:lnTo>
                    <a:pt x="709" y="676"/>
                  </a:lnTo>
                  <a:lnTo>
                    <a:pt x="712" y="676"/>
                  </a:lnTo>
                  <a:lnTo>
                    <a:pt x="715" y="673"/>
                  </a:lnTo>
                  <a:lnTo>
                    <a:pt x="718" y="674"/>
                  </a:lnTo>
                  <a:lnTo>
                    <a:pt x="720" y="677"/>
                  </a:lnTo>
                  <a:lnTo>
                    <a:pt x="722" y="677"/>
                  </a:lnTo>
                  <a:lnTo>
                    <a:pt x="722" y="677"/>
                  </a:lnTo>
                  <a:lnTo>
                    <a:pt x="724" y="672"/>
                  </a:lnTo>
                  <a:lnTo>
                    <a:pt x="726" y="665"/>
                  </a:lnTo>
                  <a:lnTo>
                    <a:pt x="728" y="663"/>
                  </a:lnTo>
                  <a:lnTo>
                    <a:pt x="734" y="654"/>
                  </a:lnTo>
                  <a:lnTo>
                    <a:pt x="737" y="651"/>
                  </a:lnTo>
                  <a:lnTo>
                    <a:pt x="737" y="651"/>
                  </a:lnTo>
                  <a:lnTo>
                    <a:pt x="737" y="646"/>
                  </a:lnTo>
                  <a:lnTo>
                    <a:pt x="737" y="646"/>
                  </a:lnTo>
                  <a:lnTo>
                    <a:pt x="732" y="648"/>
                  </a:lnTo>
                  <a:lnTo>
                    <a:pt x="732" y="651"/>
                  </a:lnTo>
                  <a:lnTo>
                    <a:pt x="731" y="651"/>
                  </a:lnTo>
                  <a:lnTo>
                    <a:pt x="727" y="650"/>
                  </a:lnTo>
                  <a:lnTo>
                    <a:pt x="727" y="650"/>
                  </a:lnTo>
                  <a:lnTo>
                    <a:pt x="726" y="647"/>
                  </a:lnTo>
                  <a:lnTo>
                    <a:pt x="724" y="644"/>
                  </a:lnTo>
                  <a:lnTo>
                    <a:pt x="720" y="646"/>
                  </a:lnTo>
                  <a:lnTo>
                    <a:pt x="720" y="646"/>
                  </a:lnTo>
                  <a:lnTo>
                    <a:pt x="716" y="648"/>
                  </a:lnTo>
                  <a:lnTo>
                    <a:pt x="716" y="648"/>
                  </a:lnTo>
                  <a:lnTo>
                    <a:pt x="712" y="651"/>
                  </a:lnTo>
                  <a:lnTo>
                    <a:pt x="711" y="650"/>
                  </a:lnTo>
                  <a:lnTo>
                    <a:pt x="711" y="647"/>
                  </a:lnTo>
                  <a:lnTo>
                    <a:pt x="709" y="650"/>
                  </a:lnTo>
                  <a:lnTo>
                    <a:pt x="709" y="650"/>
                  </a:lnTo>
                  <a:lnTo>
                    <a:pt x="704" y="648"/>
                  </a:lnTo>
                  <a:lnTo>
                    <a:pt x="697" y="650"/>
                  </a:lnTo>
                  <a:lnTo>
                    <a:pt x="697" y="650"/>
                  </a:lnTo>
                  <a:lnTo>
                    <a:pt x="694" y="647"/>
                  </a:lnTo>
                  <a:lnTo>
                    <a:pt x="692" y="644"/>
                  </a:lnTo>
                  <a:lnTo>
                    <a:pt x="692" y="644"/>
                  </a:lnTo>
                  <a:lnTo>
                    <a:pt x="688" y="646"/>
                  </a:lnTo>
                  <a:lnTo>
                    <a:pt x="685" y="647"/>
                  </a:lnTo>
                  <a:lnTo>
                    <a:pt x="682" y="650"/>
                  </a:lnTo>
                  <a:lnTo>
                    <a:pt x="680" y="650"/>
                  </a:lnTo>
                  <a:lnTo>
                    <a:pt x="677" y="648"/>
                  </a:lnTo>
                  <a:lnTo>
                    <a:pt x="674" y="650"/>
                  </a:lnTo>
                  <a:lnTo>
                    <a:pt x="674" y="650"/>
                  </a:lnTo>
                  <a:lnTo>
                    <a:pt x="665" y="647"/>
                  </a:lnTo>
                  <a:lnTo>
                    <a:pt x="658" y="646"/>
                  </a:lnTo>
                  <a:lnTo>
                    <a:pt x="655" y="647"/>
                  </a:lnTo>
                  <a:lnTo>
                    <a:pt x="654" y="646"/>
                  </a:lnTo>
                  <a:lnTo>
                    <a:pt x="654" y="646"/>
                  </a:lnTo>
                  <a:lnTo>
                    <a:pt x="652" y="642"/>
                  </a:lnTo>
                  <a:lnTo>
                    <a:pt x="655" y="644"/>
                  </a:lnTo>
                  <a:lnTo>
                    <a:pt x="655" y="644"/>
                  </a:lnTo>
                  <a:lnTo>
                    <a:pt x="659" y="642"/>
                  </a:lnTo>
                  <a:lnTo>
                    <a:pt x="662" y="639"/>
                  </a:lnTo>
                  <a:lnTo>
                    <a:pt x="670" y="642"/>
                  </a:lnTo>
                  <a:lnTo>
                    <a:pt x="674" y="640"/>
                  </a:lnTo>
                  <a:lnTo>
                    <a:pt x="674" y="640"/>
                  </a:lnTo>
                  <a:lnTo>
                    <a:pt x="675" y="642"/>
                  </a:lnTo>
                  <a:lnTo>
                    <a:pt x="678" y="642"/>
                  </a:lnTo>
                  <a:lnTo>
                    <a:pt x="682" y="636"/>
                  </a:lnTo>
                  <a:lnTo>
                    <a:pt x="688" y="636"/>
                  </a:lnTo>
                  <a:lnTo>
                    <a:pt x="688" y="636"/>
                  </a:lnTo>
                  <a:lnTo>
                    <a:pt x="689" y="634"/>
                  </a:lnTo>
                  <a:lnTo>
                    <a:pt x="690" y="631"/>
                  </a:lnTo>
                  <a:lnTo>
                    <a:pt x="692" y="634"/>
                  </a:lnTo>
                  <a:lnTo>
                    <a:pt x="697" y="636"/>
                  </a:lnTo>
                  <a:lnTo>
                    <a:pt x="697" y="636"/>
                  </a:lnTo>
                  <a:lnTo>
                    <a:pt x="697" y="639"/>
                  </a:lnTo>
                  <a:lnTo>
                    <a:pt x="700" y="640"/>
                  </a:lnTo>
                  <a:lnTo>
                    <a:pt x="700" y="640"/>
                  </a:lnTo>
                  <a:lnTo>
                    <a:pt x="707" y="640"/>
                  </a:lnTo>
                  <a:lnTo>
                    <a:pt x="709" y="640"/>
                  </a:lnTo>
                  <a:lnTo>
                    <a:pt x="712" y="642"/>
                  </a:lnTo>
                  <a:lnTo>
                    <a:pt x="722" y="638"/>
                  </a:lnTo>
                  <a:lnTo>
                    <a:pt x="722" y="638"/>
                  </a:lnTo>
                  <a:lnTo>
                    <a:pt x="726" y="639"/>
                  </a:lnTo>
                  <a:lnTo>
                    <a:pt x="730" y="642"/>
                  </a:lnTo>
                  <a:lnTo>
                    <a:pt x="732" y="639"/>
                  </a:lnTo>
                  <a:lnTo>
                    <a:pt x="732" y="635"/>
                  </a:lnTo>
                  <a:lnTo>
                    <a:pt x="730" y="632"/>
                  </a:lnTo>
                  <a:lnTo>
                    <a:pt x="730" y="621"/>
                  </a:lnTo>
                  <a:lnTo>
                    <a:pt x="728" y="620"/>
                  </a:lnTo>
                  <a:lnTo>
                    <a:pt x="722" y="619"/>
                  </a:lnTo>
                  <a:lnTo>
                    <a:pt x="720" y="619"/>
                  </a:lnTo>
                  <a:lnTo>
                    <a:pt x="719" y="619"/>
                  </a:lnTo>
                  <a:lnTo>
                    <a:pt x="719" y="617"/>
                  </a:lnTo>
                  <a:lnTo>
                    <a:pt x="715" y="615"/>
                  </a:lnTo>
                  <a:lnTo>
                    <a:pt x="709" y="615"/>
                  </a:lnTo>
                  <a:lnTo>
                    <a:pt x="704" y="609"/>
                  </a:lnTo>
                  <a:lnTo>
                    <a:pt x="697" y="608"/>
                  </a:lnTo>
                  <a:lnTo>
                    <a:pt x="686" y="593"/>
                  </a:lnTo>
                  <a:lnTo>
                    <a:pt x="685" y="589"/>
                  </a:lnTo>
                  <a:lnTo>
                    <a:pt x="688" y="585"/>
                  </a:lnTo>
                  <a:lnTo>
                    <a:pt x="689" y="586"/>
                  </a:lnTo>
                  <a:lnTo>
                    <a:pt x="688" y="590"/>
                  </a:lnTo>
                  <a:lnTo>
                    <a:pt x="689" y="593"/>
                  </a:lnTo>
                  <a:lnTo>
                    <a:pt x="689" y="593"/>
                  </a:lnTo>
                  <a:lnTo>
                    <a:pt x="692" y="594"/>
                  </a:lnTo>
                  <a:lnTo>
                    <a:pt x="694" y="597"/>
                  </a:lnTo>
                  <a:lnTo>
                    <a:pt x="699" y="602"/>
                  </a:lnTo>
                  <a:lnTo>
                    <a:pt x="699" y="602"/>
                  </a:lnTo>
                  <a:lnTo>
                    <a:pt x="704" y="605"/>
                  </a:lnTo>
                  <a:lnTo>
                    <a:pt x="709" y="609"/>
                  </a:lnTo>
                  <a:lnTo>
                    <a:pt x="712" y="608"/>
                  </a:lnTo>
                  <a:lnTo>
                    <a:pt x="724" y="616"/>
                  </a:lnTo>
                  <a:lnTo>
                    <a:pt x="726" y="613"/>
                  </a:lnTo>
                  <a:lnTo>
                    <a:pt x="726" y="613"/>
                  </a:lnTo>
                  <a:lnTo>
                    <a:pt x="728" y="615"/>
                  </a:lnTo>
                  <a:lnTo>
                    <a:pt x="732" y="617"/>
                  </a:lnTo>
                  <a:lnTo>
                    <a:pt x="732" y="619"/>
                  </a:lnTo>
                  <a:lnTo>
                    <a:pt x="734" y="619"/>
                  </a:lnTo>
                  <a:lnTo>
                    <a:pt x="734" y="619"/>
                  </a:lnTo>
                  <a:lnTo>
                    <a:pt x="734" y="627"/>
                  </a:lnTo>
                  <a:lnTo>
                    <a:pt x="735" y="634"/>
                  </a:lnTo>
                  <a:lnTo>
                    <a:pt x="735" y="634"/>
                  </a:lnTo>
                  <a:lnTo>
                    <a:pt x="738" y="635"/>
                  </a:lnTo>
                  <a:lnTo>
                    <a:pt x="741" y="636"/>
                  </a:lnTo>
                  <a:lnTo>
                    <a:pt x="743" y="638"/>
                  </a:lnTo>
                  <a:lnTo>
                    <a:pt x="745" y="639"/>
                  </a:lnTo>
                  <a:lnTo>
                    <a:pt x="746" y="640"/>
                  </a:lnTo>
                  <a:lnTo>
                    <a:pt x="745" y="642"/>
                  </a:lnTo>
                  <a:lnTo>
                    <a:pt x="746" y="643"/>
                  </a:lnTo>
                  <a:lnTo>
                    <a:pt x="747" y="654"/>
                  </a:lnTo>
                  <a:lnTo>
                    <a:pt x="749" y="654"/>
                  </a:lnTo>
                  <a:lnTo>
                    <a:pt x="751" y="648"/>
                  </a:lnTo>
                  <a:lnTo>
                    <a:pt x="750" y="648"/>
                  </a:lnTo>
                  <a:lnTo>
                    <a:pt x="750" y="648"/>
                  </a:lnTo>
                  <a:lnTo>
                    <a:pt x="753" y="647"/>
                  </a:lnTo>
                  <a:lnTo>
                    <a:pt x="758" y="639"/>
                  </a:lnTo>
                  <a:lnTo>
                    <a:pt x="758" y="639"/>
                  </a:lnTo>
                  <a:lnTo>
                    <a:pt x="764" y="638"/>
                  </a:lnTo>
                  <a:lnTo>
                    <a:pt x="766" y="635"/>
                  </a:lnTo>
                  <a:lnTo>
                    <a:pt x="768" y="632"/>
                  </a:lnTo>
                  <a:lnTo>
                    <a:pt x="770" y="630"/>
                  </a:lnTo>
                  <a:lnTo>
                    <a:pt x="773" y="627"/>
                  </a:lnTo>
                  <a:lnTo>
                    <a:pt x="775" y="620"/>
                  </a:lnTo>
                  <a:lnTo>
                    <a:pt x="776" y="621"/>
                  </a:lnTo>
                  <a:lnTo>
                    <a:pt x="777" y="621"/>
                  </a:lnTo>
                  <a:lnTo>
                    <a:pt x="784" y="613"/>
                  </a:lnTo>
                  <a:lnTo>
                    <a:pt x="784" y="612"/>
                  </a:lnTo>
                  <a:lnTo>
                    <a:pt x="784" y="612"/>
                  </a:lnTo>
                  <a:lnTo>
                    <a:pt x="787" y="611"/>
                  </a:lnTo>
                  <a:lnTo>
                    <a:pt x="788" y="608"/>
                  </a:lnTo>
                  <a:lnTo>
                    <a:pt x="791" y="601"/>
                  </a:lnTo>
                  <a:lnTo>
                    <a:pt x="794" y="594"/>
                  </a:lnTo>
                  <a:lnTo>
                    <a:pt x="796" y="592"/>
                  </a:lnTo>
                  <a:lnTo>
                    <a:pt x="799" y="589"/>
                  </a:lnTo>
                  <a:lnTo>
                    <a:pt x="799" y="583"/>
                  </a:lnTo>
                  <a:lnTo>
                    <a:pt x="800" y="583"/>
                  </a:lnTo>
                  <a:lnTo>
                    <a:pt x="800" y="585"/>
                  </a:lnTo>
                  <a:lnTo>
                    <a:pt x="800" y="585"/>
                  </a:lnTo>
                  <a:lnTo>
                    <a:pt x="806" y="579"/>
                  </a:lnTo>
                  <a:lnTo>
                    <a:pt x="811" y="575"/>
                  </a:lnTo>
                  <a:lnTo>
                    <a:pt x="840" y="562"/>
                  </a:lnTo>
                  <a:lnTo>
                    <a:pt x="840" y="562"/>
                  </a:lnTo>
                  <a:lnTo>
                    <a:pt x="842" y="559"/>
                  </a:lnTo>
                  <a:lnTo>
                    <a:pt x="845" y="555"/>
                  </a:lnTo>
                  <a:lnTo>
                    <a:pt x="845" y="555"/>
                  </a:lnTo>
                  <a:lnTo>
                    <a:pt x="846" y="540"/>
                  </a:lnTo>
                  <a:lnTo>
                    <a:pt x="846" y="540"/>
                  </a:lnTo>
                  <a:lnTo>
                    <a:pt x="849" y="529"/>
                  </a:lnTo>
                  <a:lnTo>
                    <a:pt x="850" y="517"/>
                  </a:lnTo>
                  <a:lnTo>
                    <a:pt x="850" y="517"/>
                  </a:lnTo>
                  <a:lnTo>
                    <a:pt x="852" y="514"/>
                  </a:lnTo>
                  <a:lnTo>
                    <a:pt x="852" y="514"/>
                  </a:lnTo>
                  <a:lnTo>
                    <a:pt x="855" y="506"/>
                  </a:lnTo>
                  <a:lnTo>
                    <a:pt x="857" y="497"/>
                  </a:lnTo>
                  <a:lnTo>
                    <a:pt x="857" y="497"/>
                  </a:lnTo>
                  <a:lnTo>
                    <a:pt x="859" y="492"/>
                  </a:lnTo>
                  <a:lnTo>
                    <a:pt x="859" y="487"/>
                  </a:lnTo>
                  <a:lnTo>
                    <a:pt x="857" y="478"/>
                  </a:lnTo>
                  <a:lnTo>
                    <a:pt x="857" y="478"/>
                  </a:lnTo>
                  <a:lnTo>
                    <a:pt x="860" y="471"/>
                  </a:lnTo>
                  <a:lnTo>
                    <a:pt x="860" y="471"/>
                  </a:lnTo>
                  <a:lnTo>
                    <a:pt x="861" y="446"/>
                  </a:lnTo>
                  <a:lnTo>
                    <a:pt x="863" y="436"/>
                  </a:lnTo>
                  <a:lnTo>
                    <a:pt x="865" y="430"/>
                  </a:lnTo>
                  <a:lnTo>
                    <a:pt x="869" y="425"/>
                  </a:lnTo>
                  <a:lnTo>
                    <a:pt x="869" y="425"/>
                  </a:lnTo>
                  <a:lnTo>
                    <a:pt x="879" y="415"/>
                  </a:lnTo>
                  <a:lnTo>
                    <a:pt x="879" y="415"/>
                  </a:lnTo>
                  <a:lnTo>
                    <a:pt x="880" y="412"/>
                  </a:lnTo>
                  <a:lnTo>
                    <a:pt x="882" y="408"/>
                  </a:lnTo>
                  <a:lnTo>
                    <a:pt x="883" y="400"/>
                  </a:lnTo>
                  <a:lnTo>
                    <a:pt x="898" y="366"/>
                  </a:lnTo>
                  <a:lnTo>
                    <a:pt x="898" y="366"/>
                  </a:lnTo>
                  <a:lnTo>
                    <a:pt x="897" y="361"/>
                  </a:lnTo>
                  <a:lnTo>
                    <a:pt x="897" y="353"/>
                  </a:lnTo>
                  <a:lnTo>
                    <a:pt x="898" y="338"/>
                  </a:lnTo>
                  <a:lnTo>
                    <a:pt x="898" y="338"/>
                  </a:lnTo>
                  <a:lnTo>
                    <a:pt x="901" y="330"/>
                  </a:lnTo>
                  <a:lnTo>
                    <a:pt x="905" y="323"/>
                  </a:lnTo>
                  <a:lnTo>
                    <a:pt x="905" y="323"/>
                  </a:lnTo>
                  <a:lnTo>
                    <a:pt x="907" y="319"/>
                  </a:lnTo>
                  <a:lnTo>
                    <a:pt x="910" y="316"/>
                  </a:lnTo>
                  <a:lnTo>
                    <a:pt x="910" y="316"/>
                  </a:lnTo>
                  <a:lnTo>
                    <a:pt x="909" y="309"/>
                  </a:lnTo>
                  <a:lnTo>
                    <a:pt x="907" y="303"/>
                  </a:lnTo>
                  <a:lnTo>
                    <a:pt x="903" y="288"/>
                  </a:lnTo>
                  <a:lnTo>
                    <a:pt x="899" y="274"/>
                  </a:lnTo>
                  <a:lnTo>
                    <a:pt x="899" y="269"/>
                  </a:lnTo>
                  <a:lnTo>
                    <a:pt x="899" y="265"/>
                  </a:lnTo>
                  <a:lnTo>
                    <a:pt x="899" y="26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nvGrpSpPr>
            <p:cNvPr id="107" name="Group 106">
              <a:extLst>
                <a:ext uri="{FF2B5EF4-FFF2-40B4-BE49-F238E27FC236}">
                  <a16:creationId xmlns:a16="http://schemas.microsoft.com/office/drawing/2014/main" id="{27DCC0BB-ECF7-4EEC-AED7-0EBDCE175FAE}"/>
                </a:ext>
              </a:extLst>
            </p:cNvPr>
            <p:cNvGrpSpPr/>
            <p:nvPr/>
          </p:nvGrpSpPr>
          <p:grpSpPr>
            <a:xfrm>
              <a:off x="892175" y="3571944"/>
              <a:ext cx="1457325" cy="1933575"/>
              <a:chOff x="892175" y="3571944"/>
              <a:chExt cx="1457325" cy="1933575"/>
            </a:xfrm>
            <a:grpFill/>
          </p:grpSpPr>
          <p:sp>
            <p:nvSpPr>
              <p:cNvPr id="274" name="Freeform 5">
                <a:extLst>
                  <a:ext uri="{FF2B5EF4-FFF2-40B4-BE49-F238E27FC236}">
                    <a16:creationId xmlns:a16="http://schemas.microsoft.com/office/drawing/2014/main" id="{FB66DE00-EC9A-431B-A8B7-B8C728041A77}"/>
                  </a:ext>
                </a:extLst>
              </p:cNvPr>
              <p:cNvSpPr>
                <a:spLocks/>
              </p:cNvSpPr>
              <p:nvPr/>
            </p:nvSpPr>
            <p:spPr bwMode="auto">
              <a:xfrm>
                <a:off x="1555750" y="3638619"/>
                <a:ext cx="793750" cy="603250"/>
              </a:xfrm>
              <a:custGeom>
                <a:avLst/>
                <a:gdLst>
                  <a:gd name="T0" fmla="*/ 315 w 1000"/>
                  <a:gd name="T1" fmla="*/ 163 h 761"/>
                  <a:gd name="T2" fmla="*/ 325 w 1000"/>
                  <a:gd name="T3" fmla="*/ 152 h 761"/>
                  <a:gd name="T4" fmla="*/ 386 w 1000"/>
                  <a:gd name="T5" fmla="*/ 130 h 761"/>
                  <a:gd name="T6" fmla="*/ 441 w 1000"/>
                  <a:gd name="T7" fmla="*/ 69 h 761"/>
                  <a:gd name="T8" fmla="*/ 534 w 1000"/>
                  <a:gd name="T9" fmla="*/ 57 h 761"/>
                  <a:gd name="T10" fmla="*/ 572 w 1000"/>
                  <a:gd name="T11" fmla="*/ 29 h 761"/>
                  <a:gd name="T12" fmla="*/ 623 w 1000"/>
                  <a:gd name="T13" fmla="*/ 2 h 761"/>
                  <a:gd name="T14" fmla="*/ 688 w 1000"/>
                  <a:gd name="T15" fmla="*/ 16 h 761"/>
                  <a:gd name="T16" fmla="*/ 755 w 1000"/>
                  <a:gd name="T17" fmla="*/ 26 h 761"/>
                  <a:gd name="T18" fmla="*/ 779 w 1000"/>
                  <a:gd name="T19" fmla="*/ 96 h 761"/>
                  <a:gd name="T20" fmla="*/ 802 w 1000"/>
                  <a:gd name="T21" fmla="*/ 147 h 761"/>
                  <a:gd name="T22" fmla="*/ 837 w 1000"/>
                  <a:gd name="T23" fmla="*/ 210 h 761"/>
                  <a:gd name="T24" fmla="*/ 861 w 1000"/>
                  <a:gd name="T25" fmla="*/ 254 h 761"/>
                  <a:gd name="T26" fmla="*/ 896 w 1000"/>
                  <a:gd name="T27" fmla="*/ 290 h 761"/>
                  <a:gd name="T28" fmla="*/ 880 w 1000"/>
                  <a:gd name="T29" fmla="*/ 248 h 761"/>
                  <a:gd name="T30" fmla="*/ 900 w 1000"/>
                  <a:gd name="T31" fmla="*/ 312 h 761"/>
                  <a:gd name="T32" fmla="*/ 825 w 1000"/>
                  <a:gd name="T33" fmla="*/ 377 h 761"/>
                  <a:gd name="T34" fmla="*/ 870 w 1000"/>
                  <a:gd name="T35" fmla="*/ 365 h 761"/>
                  <a:gd name="T36" fmla="*/ 943 w 1000"/>
                  <a:gd name="T37" fmla="*/ 357 h 761"/>
                  <a:gd name="T38" fmla="*/ 983 w 1000"/>
                  <a:gd name="T39" fmla="*/ 423 h 761"/>
                  <a:gd name="T40" fmla="*/ 1000 w 1000"/>
                  <a:gd name="T41" fmla="*/ 486 h 761"/>
                  <a:gd name="T42" fmla="*/ 979 w 1000"/>
                  <a:gd name="T43" fmla="*/ 547 h 761"/>
                  <a:gd name="T44" fmla="*/ 961 w 1000"/>
                  <a:gd name="T45" fmla="*/ 544 h 761"/>
                  <a:gd name="T46" fmla="*/ 960 w 1000"/>
                  <a:gd name="T47" fmla="*/ 503 h 761"/>
                  <a:gd name="T48" fmla="*/ 962 w 1000"/>
                  <a:gd name="T49" fmla="*/ 472 h 761"/>
                  <a:gd name="T50" fmla="*/ 941 w 1000"/>
                  <a:gd name="T51" fmla="*/ 436 h 761"/>
                  <a:gd name="T52" fmla="*/ 896 w 1000"/>
                  <a:gd name="T53" fmla="*/ 442 h 761"/>
                  <a:gd name="T54" fmla="*/ 915 w 1000"/>
                  <a:gd name="T55" fmla="*/ 471 h 761"/>
                  <a:gd name="T56" fmla="*/ 930 w 1000"/>
                  <a:gd name="T57" fmla="*/ 487 h 761"/>
                  <a:gd name="T58" fmla="*/ 924 w 1000"/>
                  <a:gd name="T59" fmla="*/ 528 h 761"/>
                  <a:gd name="T60" fmla="*/ 909 w 1000"/>
                  <a:gd name="T61" fmla="*/ 547 h 761"/>
                  <a:gd name="T62" fmla="*/ 951 w 1000"/>
                  <a:gd name="T63" fmla="*/ 545 h 761"/>
                  <a:gd name="T64" fmla="*/ 966 w 1000"/>
                  <a:gd name="T65" fmla="*/ 583 h 761"/>
                  <a:gd name="T66" fmla="*/ 932 w 1000"/>
                  <a:gd name="T67" fmla="*/ 620 h 761"/>
                  <a:gd name="T68" fmla="*/ 901 w 1000"/>
                  <a:gd name="T69" fmla="*/ 620 h 761"/>
                  <a:gd name="T70" fmla="*/ 859 w 1000"/>
                  <a:gd name="T71" fmla="*/ 611 h 761"/>
                  <a:gd name="T72" fmla="*/ 833 w 1000"/>
                  <a:gd name="T73" fmla="*/ 645 h 761"/>
                  <a:gd name="T74" fmla="*/ 806 w 1000"/>
                  <a:gd name="T75" fmla="*/ 733 h 761"/>
                  <a:gd name="T76" fmla="*/ 763 w 1000"/>
                  <a:gd name="T77" fmla="*/ 739 h 761"/>
                  <a:gd name="T78" fmla="*/ 698 w 1000"/>
                  <a:gd name="T79" fmla="*/ 712 h 761"/>
                  <a:gd name="T80" fmla="*/ 685 w 1000"/>
                  <a:gd name="T81" fmla="*/ 707 h 761"/>
                  <a:gd name="T82" fmla="*/ 607 w 1000"/>
                  <a:gd name="T83" fmla="*/ 742 h 761"/>
                  <a:gd name="T84" fmla="*/ 551 w 1000"/>
                  <a:gd name="T85" fmla="*/ 718 h 761"/>
                  <a:gd name="T86" fmla="*/ 496 w 1000"/>
                  <a:gd name="T87" fmla="*/ 639 h 761"/>
                  <a:gd name="T88" fmla="*/ 467 w 1000"/>
                  <a:gd name="T89" fmla="*/ 560 h 761"/>
                  <a:gd name="T90" fmla="*/ 379 w 1000"/>
                  <a:gd name="T91" fmla="*/ 564 h 761"/>
                  <a:gd name="T92" fmla="*/ 372 w 1000"/>
                  <a:gd name="T93" fmla="*/ 627 h 761"/>
                  <a:gd name="T94" fmla="*/ 341 w 1000"/>
                  <a:gd name="T95" fmla="*/ 672 h 761"/>
                  <a:gd name="T96" fmla="*/ 325 w 1000"/>
                  <a:gd name="T97" fmla="*/ 680 h 761"/>
                  <a:gd name="T98" fmla="*/ 295 w 1000"/>
                  <a:gd name="T99" fmla="*/ 691 h 761"/>
                  <a:gd name="T100" fmla="*/ 265 w 1000"/>
                  <a:gd name="T101" fmla="*/ 685 h 761"/>
                  <a:gd name="T102" fmla="*/ 185 w 1000"/>
                  <a:gd name="T103" fmla="*/ 665 h 761"/>
                  <a:gd name="T104" fmla="*/ 108 w 1000"/>
                  <a:gd name="T105" fmla="*/ 597 h 761"/>
                  <a:gd name="T106" fmla="*/ 64 w 1000"/>
                  <a:gd name="T107" fmla="*/ 558 h 761"/>
                  <a:gd name="T108" fmla="*/ 0 w 1000"/>
                  <a:gd name="T109" fmla="*/ 487 h 761"/>
                  <a:gd name="T110" fmla="*/ 78 w 1000"/>
                  <a:gd name="T111" fmla="*/ 440 h 761"/>
                  <a:gd name="T112" fmla="*/ 175 w 1000"/>
                  <a:gd name="T113" fmla="*/ 400 h 761"/>
                  <a:gd name="T114" fmla="*/ 95 w 1000"/>
                  <a:gd name="T115" fmla="*/ 358 h 761"/>
                  <a:gd name="T116" fmla="*/ 169 w 1000"/>
                  <a:gd name="T117" fmla="*/ 330 h 761"/>
                  <a:gd name="T118" fmla="*/ 254 w 1000"/>
                  <a:gd name="T119" fmla="*/ 266 h 761"/>
                  <a:gd name="T120" fmla="*/ 281 w 1000"/>
                  <a:gd name="T121" fmla="*/ 186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0" h="761">
                    <a:moveTo>
                      <a:pt x="338" y="115"/>
                    </a:moveTo>
                    <a:lnTo>
                      <a:pt x="340" y="122"/>
                    </a:lnTo>
                    <a:lnTo>
                      <a:pt x="338" y="124"/>
                    </a:lnTo>
                    <a:lnTo>
                      <a:pt x="340" y="128"/>
                    </a:lnTo>
                    <a:lnTo>
                      <a:pt x="338" y="128"/>
                    </a:lnTo>
                    <a:lnTo>
                      <a:pt x="337" y="126"/>
                    </a:lnTo>
                    <a:lnTo>
                      <a:pt x="334" y="128"/>
                    </a:lnTo>
                    <a:lnTo>
                      <a:pt x="334" y="128"/>
                    </a:lnTo>
                    <a:lnTo>
                      <a:pt x="334" y="130"/>
                    </a:lnTo>
                    <a:lnTo>
                      <a:pt x="333" y="132"/>
                    </a:lnTo>
                    <a:lnTo>
                      <a:pt x="329" y="134"/>
                    </a:lnTo>
                    <a:lnTo>
                      <a:pt x="329" y="134"/>
                    </a:lnTo>
                    <a:lnTo>
                      <a:pt x="327" y="139"/>
                    </a:lnTo>
                    <a:lnTo>
                      <a:pt x="326" y="140"/>
                    </a:lnTo>
                    <a:lnTo>
                      <a:pt x="325" y="141"/>
                    </a:lnTo>
                    <a:lnTo>
                      <a:pt x="323" y="147"/>
                    </a:lnTo>
                    <a:lnTo>
                      <a:pt x="323" y="147"/>
                    </a:lnTo>
                    <a:lnTo>
                      <a:pt x="321" y="148"/>
                    </a:lnTo>
                    <a:lnTo>
                      <a:pt x="318" y="148"/>
                    </a:lnTo>
                    <a:lnTo>
                      <a:pt x="318" y="149"/>
                    </a:lnTo>
                    <a:lnTo>
                      <a:pt x="315" y="152"/>
                    </a:lnTo>
                    <a:lnTo>
                      <a:pt x="314" y="156"/>
                    </a:lnTo>
                    <a:lnTo>
                      <a:pt x="314" y="156"/>
                    </a:lnTo>
                    <a:lnTo>
                      <a:pt x="315" y="160"/>
                    </a:lnTo>
                    <a:lnTo>
                      <a:pt x="315" y="163"/>
                    </a:lnTo>
                    <a:lnTo>
                      <a:pt x="314" y="164"/>
                    </a:lnTo>
                    <a:lnTo>
                      <a:pt x="311" y="164"/>
                    </a:lnTo>
                    <a:lnTo>
                      <a:pt x="307" y="166"/>
                    </a:lnTo>
                    <a:lnTo>
                      <a:pt x="304" y="168"/>
                    </a:lnTo>
                    <a:lnTo>
                      <a:pt x="302" y="172"/>
                    </a:lnTo>
                    <a:lnTo>
                      <a:pt x="299" y="179"/>
                    </a:lnTo>
                    <a:lnTo>
                      <a:pt x="299" y="179"/>
                    </a:lnTo>
                    <a:lnTo>
                      <a:pt x="295" y="182"/>
                    </a:lnTo>
                    <a:lnTo>
                      <a:pt x="291" y="186"/>
                    </a:lnTo>
                    <a:lnTo>
                      <a:pt x="287" y="190"/>
                    </a:lnTo>
                    <a:lnTo>
                      <a:pt x="284" y="191"/>
                    </a:lnTo>
                    <a:lnTo>
                      <a:pt x="284" y="191"/>
                    </a:lnTo>
                    <a:lnTo>
                      <a:pt x="285" y="194"/>
                    </a:lnTo>
                    <a:lnTo>
                      <a:pt x="285" y="194"/>
                    </a:lnTo>
                    <a:lnTo>
                      <a:pt x="289" y="191"/>
                    </a:lnTo>
                    <a:lnTo>
                      <a:pt x="293" y="187"/>
                    </a:lnTo>
                    <a:lnTo>
                      <a:pt x="302" y="179"/>
                    </a:lnTo>
                    <a:lnTo>
                      <a:pt x="302" y="179"/>
                    </a:lnTo>
                    <a:lnTo>
                      <a:pt x="306" y="170"/>
                    </a:lnTo>
                    <a:lnTo>
                      <a:pt x="306" y="170"/>
                    </a:lnTo>
                    <a:lnTo>
                      <a:pt x="310" y="167"/>
                    </a:lnTo>
                    <a:lnTo>
                      <a:pt x="315" y="164"/>
                    </a:lnTo>
                    <a:lnTo>
                      <a:pt x="316" y="163"/>
                    </a:lnTo>
                    <a:lnTo>
                      <a:pt x="316" y="155"/>
                    </a:lnTo>
                    <a:lnTo>
                      <a:pt x="325" y="152"/>
                    </a:lnTo>
                    <a:lnTo>
                      <a:pt x="326" y="149"/>
                    </a:lnTo>
                    <a:lnTo>
                      <a:pt x="326" y="144"/>
                    </a:lnTo>
                    <a:lnTo>
                      <a:pt x="326" y="144"/>
                    </a:lnTo>
                    <a:lnTo>
                      <a:pt x="327" y="141"/>
                    </a:lnTo>
                    <a:lnTo>
                      <a:pt x="331" y="137"/>
                    </a:lnTo>
                    <a:lnTo>
                      <a:pt x="337" y="132"/>
                    </a:lnTo>
                    <a:lnTo>
                      <a:pt x="337" y="132"/>
                    </a:lnTo>
                    <a:lnTo>
                      <a:pt x="345" y="129"/>
                    </a:lnTo>
                    <a:lnTo>
                      <a:pt x="346" y="130"/>
                    </a:lnTo>
                    <a:lnTo>
                      <a:pt x="348" y="128"/>
                    </a:lnTo>
                    <a:lnTo>
                      <a:pt x="348" y="128"/>
                    </a:lnTo>
                    <a:lnTo>
                      <a:pt x="346" y="125"/>
                    </a:lnTo>
                    <a:lnTo>
                      <a:pt x="346" y="122"/>
                    </a:lnTo>
                    <a:lnTo>
                      <a:pt x="349" y="120"/>
                    </a:lnTo>
                    <a:lnTo>
                      <a:pt x="350" y="120"/>
                    </a:lnTo>
                    <a:lnTo>
                      <a:pt x="354" y="122"/>
                    </a:lnTo>
                    <a:lnTo>
                      <a:pt x="354" y="122"/>
                    </a:lnTo>
                    <a:lnTo>
                      <a:pt x="360" y="120"/>
                    </a:lnTo>
                    <a:lnTo>
                      <a:pt x="365" y="120"/>
                    </a:lnTo>
                    <a:lnTo>
                      <a:pt x="376" y="120"/>
                    </a:lnTo>
                    <a:lnTo>
                      <a:pt x="376" y="120"/>
                    </a:lnTo>
                    <a:lnTo>
                      <a:pt x="378" y="121"/>
                    </a:lnTo>
                    <a:lnTo>
                      <a:pt x="379" y="128"/>
                    </a:lnTo>
                    <a:lnTo>
                      <a:pt x="386" y="130"/>
                    </a:lnTo>
                    <a:lnTo>
                      <a:pt x="386" y="130"/>
                    </a:lnTo>
                    <a:lnTo>
                      <a:pt x="399" y="129"/>
                    </a:lnTo>
                    <a:lnTo>
                      <a:pt x="413" y="126"/>
                    </a:lnTo>
                    <a:lnTo>
                      <a:pt x="414" y="125"/>
                    </a:lnTo>
                    <a:lnTo>
                      <a:pt x="417" y="124"/>
                    </a:lnTo>
                    <a:lnTo>
                      <a:pt x="417" y="124"/>
                    </a:lnTo>
                    <a:lnTo>
                      <a:pt x="417" y="121"/>
                    </a:lnTo>
                    <a:lnTo>
                      <a:pt x="426" y="109"/>
                    </a:lnTo>
                    <a:lnTo>
                      <a:pt x="426" y="109"/>
                    </a:lnTo>
                    <a:lnTo>
                      <a:pt x="425" y="105"/>
                    </a:lnTo>
                    <a:lnTo>
                      <a:pt x="424" y="101"/>
                    </a:lnTo>
                    <a:lnTo>
                      <a:pt x="424" y="95"/>
                    </a:lnTo>
                    <a:lnTo>
                      <a:pt x="426" y="91"/>
                    </a:lnTo>
                    <a:lnTo>
                      <a:pt x="429" y="90"/>
                    </a:lnTo>
                    <a:lnTo>
                      <a:pt x="433" y="91"/>
                    </a:lnTo>
                    <a:lnTo>
                      <a:pt x="436" y="90"/>
                    </a:lnTo>
                    <a:lnTo>
                      <a:pt x="439" y="91"/>
                    </a:lnTo>
                    <a:lnTo>
                      <a:pt x="440" y="91"/>
                    </a:lnTo>
                    <a:lnTo>
                      <a:pt x="440" y="90"/>
                    </a:lnTo>
                    <a:lnTo>
                      <a:pt x="440" y="90"/>
                    </a:lnTo>
                    <a:lnTo>
                      <a:pt x="436" y="90"/>
                    </a:lnTo>
                    <a:lnTo>
                      <a:pt x="433" y="88"/>
                    </a:lnTo>
                    <a:lnTo>
                      <a:pt x="434" y="87"/>
                    </a:lnTo>
                    <a:lnTo>
                      <a:pt x="434" y="87"/>
                    </a:lnTo>
                    <a:lnTo>
                      <a:pt x="439" y="77"/>
                    </a:lnTo>
                    <a:lnTo>
                      <a:pt x="441" y="69"/>
                    </a:lnTo>
                    <a:lnTo>
                      <a:pt x="441" y="69"/>
                    </a:lnTo>
                    <a:lnTo>
                      <a:pt x="445" y="54"/>
                    </a:lnTo>
                    <a:lnTo>
                      <a:pt x="445" y="45"/>
                    </a:lnTo>
                    <a:lnTo>
                      <a:pt x="444" y="38"/>
                    </a:lnTo>
                    <a:lnTo>
                      <a:pt x="445" y="37"/>
                    </a:lnTo>
                    <a:lnTo>
                      <a:pt x="451" y="38"/>
                    </a:lnTo>
                    <a:lnTo>
                      <a:pt x="451" y="38"/>
                    </a:lnTo>
                    <a:lnTo>
                      <a:pt x="460" y="46"/>
                    </a:lnTo>
                    <a:lnTo>
                      <a:pt x="470" y="50"/>
                    </a:lnTo>
                    <a:lnTo>
                      <a:pt x="479" y="53"/>
                    </a:lnTo>
                    <a:lnTo>
                      <a:pt x="493" y="53"/>
                    </a:lnTo>
                    <a:lnTo>
                      <a:pt x="493" y="53"/>
                    </a:lnTo>
                    <a:lnTo>
                      <a:pt x="502" y="52"/>
                    </a:lnTo>
                    <a:lnTo>
                      <a:pt x="502" y="52"/>
                    </a:lnTo>
                    <a:lnTo>
                      <a:pt x="508" y="52"/>
                    </a:lnTo>
                    <a:lnTo>
                      <a:pt x="513" y="52"/>
                    </a:lnTo>
                    <a:lnTo>
                      <a:pt x="519" y="57"/>
                    </a:lnTo>
                    <a:lnTo>
                      <a:pt x="521" y="58"/>
                    </a:lnTo>
                    <a:lnTo>
                      <a:pt x="525" y="56"/>
                    </a:lnTo>
                    <a:lnTo>
                      <a:pt x="525" y="56"/>
                    </a:lnTo>
                    <a:lnTo>
                      <a:pt x="529" y="57"/>
                    </a:lnTo>
                    <a:lnTo>
                      <a:pt x="534" y="60"/>
                    </a:lnTo>
                    <a:lnTo>
                      <a:pt x="538" y="61"/>
                    </a:lnTo>
                    <a:lnTo>
                      <a:pt x="538" y="61"/>
                    </a:lnTo>
                    <a:lnTo>
                      <a:pt x="534" y="57"/>
                    </a:lnTo>
                    <a:lnTo>
                      <a:pt x="527" y="56"/>
                    </a:lnTo>
                    <a:lnTo>
                      <a:pt x="521" y="54"/>
                    </a:lnTo>
                    <a:lnTo>
                      <a:pt x="516" y="54"/>
                    </a:lnTo>
                    <a:lnTo>
                      <a:pt x="516" y="53"/>
                    </a:lnTo>
                    <a:lnTo>
                      <a:pt x="516" y="53"/>
                    </a:lnTo>
                    <a:lnTo>
                      <a:pt x="519" y="53"/>
                    </a:lnTo>
                    <a:lnTo>
                      <a:pt x="523" y="52"/>
                    </a:lnTo>
                    <a:lnTo>
                      <a:pt x="531" y="49"/>
                    </a:lnTo>
                    <a:lnTo>
                      <a:pt x="529" y="45"/>
                    </a:lnTo>
                    <a:lnTo>
                      <a:pt x="532" y="42"/>
                    </a:lnTo>
                    <a:lnTo>
                      <a:pt x="532" y="40"/>
                    </a:lnTo>
                    <a:lnTo>
                      <a:pt x="535" y="40"/>
                    </a:lnTo>
                    <a:lnTo>
                      <a:pt x="536" y="37"/>
                    </a:lnTo>
                    <a:lnTo>
                      <a:pt x="538" y="38"/>
                    </a:lnTo>
                    <a:lnTo>
                      <a:pt x="538" y="38"/>
                    </a:lnTo>
                    <a:lnTo>
                      <a:pt x="542" y="35"/>
                    </a:lnTo>
                    <a:lnTo>
                      <a:pt x="546" y="34"/>
                    </a:lnTo>
                    <a:lnTo>
                      <a:pt x="553" y="33"/>
                    </a:lnTo>
                    <a:lnTo>
                      <a:pt x="555" y="31"/>
                    </a:lnTo>
                    <a:lnTo>
                      <a:pt x="555" y="30"/>
                    </a:lnTo>
                    <a:lnTo>
                      <a:pt x="553" y="27"/>
                    </a:lnTo>
                    <a:lnTo>
                      <a:pt x="553" y="26"/>
                    </a:lnTo>
                    <a:lnTo>
                      <a:pt x="559" y="30"/>
                    </a:lnTo>
                    <a:lnTo>
                      <a:pt x="566" y="27"/>
                    </a:lnTo>
                    <a:lnTo>
                      <a:pt x="572" y="29"/>
                    </a:lnTo>
                    <a:lnTo>
                      <a:pt x="581" y="27"/>
                    </a:lnTo>
                    <a:lnTo>
                      <a:pt x="581" y="27"/>
                    </a:lnTo>
                    <a:lnTo>
                      <a:pt x="584" y="25"/>
                    </a:lnTo>
                    <a:lnTo>
                      <a:pt x="586" y="23"/>
                    </a:lnTo>
                    <a:lnTo>
                      <a:pt x="593" y="21"/>
                    </a:lnTo>
                    <a:lnTo>
                      <a:pt x="593" y="23"/>
                    </a:lnTo>
                    <a:lnTo>
                      <a:pt x="596" y="22"/>
                    </a:lnTo>
                    <a:lnTo>
                      <a:pt x="595" y="21"/>
                    </a:lnTo>
                    <a:lnTo>
                      <a:pt x="596" y="21"/>
                    </a:lnTo>
                    <a:lnTo>
                      <a:pt x="597" y="22"/>
                    </a:lnTo>
                    <a:lnTo>
                      <a:pt x="597" y="22"/>
                    </a:lnTo>
                    <a:lnTo>
                      <a:pt x="600" y="18"/>
                    </a:lnTo>
                    <a:lnTo>
                      <a:pt x="601" y="15"/>
                    </a:lnTo>
                    <a:lnTo>
                      <a:pt x="600" y="15"/>
                    </a:lnTo>
                    <a:lnTo>
                      <a:pt x="600" y="12"/>
                    </a:lnTo>
                    <a:lnTo>
                      <a:pt x="604" y="11"/>
                    </a:lnTo>
                    <a:lnTo>
                      <a:pt x="605" y="11"/>
                    </a:lnTo>
                    <a:lnTo>
                      <a:pt x="605" y="8"/>
                    </a:lnTo>
                    <a:lnTo>
                      <a:pt x="608" y="8"/>
                    </a:lnTo>
                    <a:lnTo>
                      <a:pt x="611" y="4"/>
                    </a:lnTo>
                    <a:lnTo>
                      <a:pt x="612" y="4"/>
                    </a:lnTo>
                    <a:lnTo>
                      <a:pt x="618" y="0"/>
                    </a:lnTo>
                    <a:lnTo>
                      <a:pt x="618" y="0"/>
                    </a:lnTo>
                    <a:lnTo>
                      <a:pt x="620" y="0"/>
                    </a:lnTo>
                    <a:lnTo>
                      <a:pt x="623" y="2"/>
                    </a:lnTo>
                    <a:lnTo>
                      <a:pt x="626" y="4"/>
                    </a:lnTo>
                    <a:lnTo>
                      <a:pt x="626" y="7"/>
                    </a:lnTo>
                    <a:lnTo>
                      <a:pt x="626" y="7"/>
                    </a:lnTo>
                    <a:lnTo>
                      <a:pt x="630" y="8"/>
                    </a:lnTo>
                    <a:lnTo>
                      <a:pt x="634" y="10"/>
                    </a:lnTo>
                    <a:lnTo>
                      <a:pt x="635" y="8"/>
                    </a:lnTo>
                    <a:lnTo>
                      <a:pt x="638" y="10"/>
                    </a:lnTo>
                    <a:lnTo>
                      <a:pt x="642" y="10"/>
                    </a:lnTo>
                    <a:lnTo>
                      <a:pt x="643" y="12"/>
                    </a:lnTo>
                    <a:lnTo>
                      <a:pt x="648" y="12"/>
                    </a:lnTo>
                    <a:lnTo>
                      <a:pt x="653" y="10"/>
                    </a:lnTo>
                    <a:lnTo>
                      <a:pt x="654" y="7"/>
                    </a:lnTo>
                    <a:lnTo>
                      <a:pt x="657" y="7"/>
                    </a:lnTo>
                    <a:lnTo>
                      <a:pt x="658" y="6"/>
                    </a:lnTo>
                    <a:lnTo>
                      <a:pt x="660" y="4"/>
                    </a:lnTo>
                    <a:lnTo>
                      <a:pt x="664" y="8"/>
                    </a:lnTo>
                    <a:lnTo>
                      <a:pt x="667" y="7"/>
                    </a:lnTo>
                    <a:lnTo>
                      <a:pt x="668" y="8"/>
                    </a:lnTo>
                    <a:lnTo>
                      <a:pt x="671" y="8"/>
                    </a:lnTo>
                    <a:lnTo>
                      <a:pt x="673" y="7"/>
                    </a:lnTo>
                    <a:lnTo>
                      <a:pt x="673" y="10"/>
                    </a:lnTo>
                    <a:lnTo>
                      <a:pt x="681" y="15"/>
                    </a:lnTo>
                    <a:lnTo>
                      <a:pt x="685" y="14"/>
                    </a:lnTo>
                    <a:lnTo>
                      <a:pt x="687" y="15"/>
                    </a:lnTo>
                    <a:lnTo>
                      <a:pt x="688" y="16"/>
                    </a:lnTo>
                    <a:lnTo>
                      <a:pt x="688" y="16"/>
                    </a:lnTo>
                    <a:lnTo>
                      <a:pt x="694" y="19"/>
                    </a:lnTo>
                    <a:lnTo>
                      <a:pt x="698" y="25"/>
                    </a:lnTo>
                    <a:lnTo>
                      <a:pt x="704" y="26"/>
                    </a:lnTo>
                    <a:lnTo>
                      <a:pt x="707" y="30"/>
                    </a:lnTo>
                    <a:lnTo>
                      <a:pt x="707" y="30"/>
                    </a:lnTo>
                    <a:lnTo>
                      <a:pt x="710" y="30"/>
                    </a:lnTo>
                    <a:lnTo>
                      <a:pt x="714" y="29"/>
                    </a:lnTo>
                    <a:lnTo>
                      <a:pt x="717" y="27"/>
                    </a:lnTo>
                    <a:lnTo>
                      <a:pt x="719" y="26"/>
                    </a:lnTo>
                    <a:lnTo>
                      <a:pt x="719" y="26"/>
                    </a:lnTo>
                    <a:lnTo>
                      <a:pt x="725" y="25"/>
                    </a:lnTo>
                    <a:lnTo>
                      <a:pt x="729" y="23"/>
                    </a:lnTo>
                    <a:lnTo>
                      <a:pt x="729" y="23"/>
                    </a:lnTo>
                    <a:lnTo>
                      <a:pt x="733" y="18"/>
                    </a:lnTo>
                    <a:lnTo>
                      <a:pt x="736" y="16"/>
                    </a:lnTo>
                    <a:lnTo>
                      <a:pt x="738" y="15"/>
                    </a:lnTo>
                    <a:lnTo>
                      <a:pt x="738" y="15"/>
                    </a:lnTo>
                    <a:lnTo>
                      <a:pt x="741" y="16"/>
                    </a:lnTo>
                    <a:lnTo>
                      <a:pt x="744" y="18"/>
                    </a:lnTo>
                    <a:lnTo>
                      <a:pt x="747" y="21"/>
                    </a:lnTo>
                    <a:lnTo>
                      <a:pt x="749" y="25"/>
                    </a:lnTo>
                    <a:lnTo>
                      <a:pt x="752" y="27"/>
                    </a:lnTo>
                    <a:lnTo>
                      <a:pt x="755" y="26"/>
                    </a:lnTo>
                    <a:lnTo>
                      <a:pt x="755" y="26"/>
                    </a:lnTo>
                    <a:lnTo>
                      <a:pt x="760" y="30"/>
                    </a:lnTo>
                    <a:lnTo>
                      <a:pt x="763" y="31"/>
                    </a:lnTo>
                    <a:lnTo>
                      <a:pt x="764" y="33"/>
                    </a:lnTo>
                    <a:lnTo>
                      <a:pt x="768" y="34"/>
                    </a:lnTo>
                    <a:lnTo>
                      <a:pt x="771" y="33"/>
                    </a:lnTo>
                    <a:lnTo>
                      <a:pt x="770" y="38"/>
                    </a:lnTo>
                    <a:lnTo>
                      <a:pt x="772" y="40"/>
                    </a:lnTo>
                    <a:lnTo>
                      <a:pt x="772" y="42"/>
                    </a:lnTo>
                    <a:lnTo>
                      <a:pt x="774" y="44"/>
                    </a:lnTo>
                    <a:lnTo>
                      <a:pt x="774" y="44"/>
                    </a:lnTo>
                    <a:lnTo>
                      <a:pt x="775" y="46"/>
                    </a:lnTo>
                    <a:lnTo>
                      <a:pt x="776" y="49"/>
                    </a:lnTo>
                    <a:lnTo>
                      <a:pt x="778" y="50"/>
                    </a:lnTo>
                    <a:lnTo>
                      <a:pt x="780" y="52"/>
                    </a:lnTo>
                    <a:lnTo>
                      <a:pt x="780" y="52"/>
                    </a:lnTo>
                    <a:lnTo>
                      <a:pt x="783" y="56"/>
                    </a:lnTo>
                    <a:lnTo>
                      <a:pt x="783" y="61"/>
                    </a:lnTo>
                    <a:lnTo>
                      <a:pt x="783" y="71"/>
                    </a:lnTo>
                    <a:lnTo>
                      <a:pt x="778" y="75"/>
                    </a:lnTo>
                    <a:lnTo>
                      <a:pt x="778" y="79"/>
                    </a:lnTo>
                    <a:lnTo>
                      <a:pt x="779" y="79"/>
                    </a:lnTo>
                    <a:lnTo>
                      <a:pt x="780" y="82"/>
                    </a:lnTo>
                    <a:lnTo>
                      <a:pt x="780" y="82"/>
                    </a:lnTo>
                    <a:lnTo>
                      <a:pt x="780" y="90"/>
                    </a:lnTo>
                    <a:lnTo>
                      <a:pt x="779" y="96"/>
                    </a:lnTo>
                    <a:lnTo>
                      <a:pt x="779" y="96"/>
                    </a:lnTo>
                    <a:lnTo>
                      <a:pt x="775" y="103"/>
                    </a:lnTo>
                    <a:lnTo>
                      <a:pt x="775" y="103"/>
                    </a:lnTo>
                    <a:lnTo>
                      <a:pt x="774" y="109"/>
                    </a:lnTo>
                    <a:lnTo>
                      <a:pt x="774" y="115"/>
                    </a:lnTo>
                    <a:lnTo>
                      <a:pt x="772" y="118"/>
                    </a:lnTo>
                    <a:lnTo>
                      <a:pt x="772" y="118"/>
                    </a:lnTo>
                    <a:lnTo>
                      <a:pt x="772" y="120"/>
                    </a:lnTo>
                    <a:lnTo>
                      <a:pt x="775" y="121"/>
                    </a:lnTo>
                    <a:lnTo>
                      <a:pt x="778" y="124"/>
                    </a:lnTo>
                    <a:lnTo>
                      <a:pt x="778" y="124"/>
                    </a:lnTo>
                    <a:lnTo>
                      <a:pt x="783" y="122"/>
                    </a:lnTo>
                    <a:lnTo>
                      <a:pt x="787" y="121"/>
                    </a:lnTo>
                    <a:lnTo>
                      <a:pt x="789" y="122"/>
                    </a:lnTo>
                    <a:lnTo>
                      <a:pt x="793" y="121"/>
                    </a:lnTo>
                    <a:lnTo>
                      <a:pt x="793" y="121"/>
                    </a:lnTo>
                    <a:lnTo>
                      <a:pt x="799" y="122"/>
                    </a:lnTo>
                    <a:lnTo>
                      <a:pt x="804" y="124"/>
                    </a:lnTo>
                    <a:lnTo>
                      <a:pt x="806" y="126"/>
                    </a:lnTo>
                    <a:lnTo>
                      <a:pt x="806" y="126"/>
                    </a:lnTo>
                    <a:lnTo>
                      <a:pt x="806" y="130"/>
                    </a:lnTo>
                    <a:lnTo>
                      <a:pt x="805" y="134"/>
                    </a:lnTo>
                    <a:lnTo>
                      <a:pt x="804" y="140"/>
                    </a:lnTo>
                    <a:lnTo>
                      <a:pt x="804" y="144"/>
                    </a:lnTo>
                    <a:lnTo>
                      <a:pt x="802" y="147"/>
                    </a:lnTo>
                    <a:lnTo>
                      <a:pt x="802" y="153"/>
                    </a:lnTo>
                    <a:lnTo>
                      <a:pt x="799" y="158"/>
                    </a:lnTo>
                    <a:lnTo>
                      <a:pt x="798" y="162"/>
                    </a:lnTo>
                    <a:lnTo>
                      <a:pt x="797" y="163"/>
                    </a:lnTo>
                    <a:lnTo>
                      <a:pt x="797" y="167"/>
                    </a:lnTo>
                    <a:lnTo>
                      <a:pt x="797" y="167"/>
                    </a:lnTo>
                    <a:lnTo>
                      <a:pt x="801" y="170"/>
                    </a:lnTo>
                    <a:lnTo>
                      <a:pt x="805" y="168"/>
                    </a:lnTo>
                    <a:lnTo>
                      <a:pt x="808" y="171"/>
                    </a:lnTo>
                    <a:lnTo>
                      <a:pt x="809" y="175"/>
                    </a:lnTo>
                    <a:lnTo>
                      <a:pt x="810" y="177"/>
                    </a:lnTo>
                    <a:lnTo>
                      <a:pt x="810" y="177"/>
                    </a:lnTo>
                    <a:lnTo>
                      <a:pt x="813" y="175"/>
                    </a:lnTo>
                    <a:lnTo>
                      <a:pt x="813" y="175"/>
                    </a:lnTo>
                    <a:lnTo>
                      <a:pt x="820" y="178"/>
                    </a:lnTo>
                    <a:lnTo>
                      <a:pt x="823" y="181"/>
                    </a:lnTo>
                    <a:lnTo>
                      <a:pt x="829" y="190"/>
                    </a:lnTo>
                    <a:lnTo>
                      <a:pt x="829" y="190"/>
                    </a:lnTo>
                    <a:lnTo>
                      <a:pt x="832" y="196"/>
                    </a:lnTo>
                    <a:lnTo>
                      <a:pt x="833" y="200"/>
                    </a:lnTo>
                    <a:lnTo>
                      <a:pt x="833" y="200"/>
                    </a:lnTo>
                    <a:lnTo>
                      <a:pt x="835" y="205"/>
                    </a:lnTo>
                    <a:lnTo>
                      <a:pt x="835" y="205"/>
                    </a:lnTo>
                    <a:lnTo>
                      <a:pt x="836" y="208"/>
                    </a:lnTo>
                    <a:lnTo>
                      <a:pt x="837" y="210"/>
                    </a:lnTo>
                    <a:lnTo>
                      <a:pt x="837" y="212"/>
                    </a:lnTo>
                    <a:lnTo>
                      <a:pt x="837" y="212"/>
                    </a:lnTo>
                    <a:lnTo>
                      <a:pt x="840" y="216"/>
                    </a:lnTo>
                    <a:lnTo>
                      <a:pt x="846" y="220"/>
                    </a:lnTo>
                    <a:lnTo>
                      <a:pt x="850" y="219"/>
                    </a:lnTo>
                    <a:lnTo>
                      <a:pt x="851" y="219"/>
                    </a:lnTo>
                    <a:lnTo>
                      <a:pt x="852" y="223"/>
                    </a:lnTo>
                    <a:lnTo>
                      <a:pt x="851" y="224"/>
                    </a:lnTo>
                    <a:lnTo>
                      <a:pt x="851" y="224"/>
                    </a:lnTo>
                    <a:lnTo>
                      <a:pt x="852" y="228"/>
                    </a:lnTo>
                    <a:lnTo>
                      <a:pt x="855" y="232"/>
                    </a:lnTo>
                    <a:lnTo>
                      <a:pt x="858" y="233"/>
                    </a:lnTo>
                    <a:lnTo>
                      <a:pt x="858" y="233"/>
                    </a:lnTo>
                    <a:lnTo>
                      <a:pt x="863" y="239"/>
                    </a:lnTo>
                    <a:lnTo>
                      <a:pt x="863" y="239"/>
                    </a:lnTo>
                    <a:lnTo>
                      <a:pt x="865" y="244"/>
                    </a:lnTo>
                    <a:lnTo>
                      <a:pt x="869" y="250"/>
                    </a:lnTo>
                    <a:lnTo>
                      <a:pt x="869" y="251"/>
                    </a:lnTo>
                    <a:lnTo>
                      <a:pt x="866" y="252"/>
                    </a:lnTo>
                    <a:lnTo>
                      <a:pt x="867" y="255"/>
                    </a:lnTo>
                    <a:lnTo>
                      <a:pt x="867" y="257"/>
                    </a:lnTo>
                    <a:lnTo>
                      <a:pt x="866" y="254"/>
                    </a:lnTo>
                    <a:lnTo>
                      <a:pt x="866" y="252"/>
                    </a:lnTo>
                    <a:lnTo>
                      <a:pt x="861" y="251"/>
                    </a:lnTo>
                    <a:lnTo>
                      <a:pt x="861" y="254"/>
                    </a:lnTo>
                    <a:lnTo>
                      <a:pt x="863" y="257"/>
                    </a:lnTo>
                    <a:lnTo>
                      <a:pt x="863" y="257"/>
                    </a:lnTo>
                    <a:lnTo>
                      <a:pt x="862" y="262"/>
                    </a:lnTo>
                    <a:lnTo>
                      <a:pt x="863" y="262"/>
                    </a:lnTo>
                    <a:lnTo>
                      <a:pt x="865" y="266"/>
                    </a:lnTo>
                    <a:lnTo>
                      <a:pt x="874" y="270"/>
                    </a:lnTo>
                    <a:lnTo>
                      <a:pt x="875" y="269"/>
                    </a:lnTo>
                    <a:lnTo>
                      <a:pt x="878" y="271"/>
                    </a:lnTo>
                    <a:lnTo>
                      <a:pt x="880" y="270"/>
                    </a:lnTo>
                    <a:lnTo>
                      <a:pt x="882" y="270"/>
                    </a:lnTo>
                    <a:lnTo>
                      <a:pt x="884" y="270"/>
                    </a:lnTo>
                    <a:lnTo>
                      <a:pt x="884" y="270"/>
                    </a:lnTo>
                    <a:lnTo>
                      <a:pt x="888" y="274"/>
                    </a:lnTo>
                    <a:lnTo>
                      <a:pt x="886" y="276"/>
                    </a:lnTo>
                    <a:lnTo>
                      <a:pt x="885" y="273"/>
                    </a:lnTo>
                    <a:lnTo>
                      <a:pt x="882" y="273"/>
                    </a:lnTo>
                    <a:lnTo>
                      <a:pt x="882" y="273"/>
                    </a:lnTo>
                    <a:lnTo>
                      <a:pt x="886" y="277"/>
                    </a:lnTo>
                    <a:lnTo>
                      <a:pt x="886" y="277"/>
                    </a:lnTo>
                    <a:lnTo>
                      <a:pt x="888" y="281"/>
                    </a:lnTo>
                    <a:lnTo>
                      <a:pt x="890" y="282"/>
                    </a:lnTo>
                    <a:lnTo>
                      <a:pt x="889" y="285"/>
                    </a:lnTo>
                    <a:lnTo>
                      <a:pt x="890" y="286"/>
                    </a:lnTo>
                    <a:lnTo>
                      <a:pt x="894" y="296"/>
                    </a:lnTo>
                    <a:lnTo>
                      <a:pt x="896" y="290"/>
                    </a:lnTo>
                    <a:lnTo>
                      <a:pt x="894" y="289"/>
                    </a:lnTo>
                    <a:lnTo>
                      <a:pt x="896" y="288"/>
                    </a:lnTo>
                    <a:lnTo>
                      <a:pt x="896" y="286"/>
                    </a:lnTo>
                    <a:lnTo>
                      <a:pt x="894" y="285"/>
                    </a:lnTo>
                    <a:lnTo>
                      <a:pt x="896" y="282"/>
                    </a:lnTo>
                    <a:lnTo>
                      <a:pt x="896" y="282"/>
                    </a:lnTo>
                    <a:lnTo>
                      <a:pt x="892" y="278"/>
                    </a:lnTo>
                    <a:lnTo>
                      <a:pt x="890" y="273"/>
                    </a:lnTo>
                    <a:lnTo>
                      <a:pt x="889" y="271"/>
                    </a:lnTo>
                    <a:lnTo>
                      <a:pt x="886" y="270"/>
                    </a:lnTo>
                    <a:lnTo>
                      <a:pt x="888" y="269"/>
                    </a:lnTo>
                    <a:lnTo>
                      <a:pt x="885" y="267"/>
                    </a:lnTo>
                    <a:lnTo>
                      <a:pt x="885" y="265"/>
                    </a:lnTo>
                    <a:lnTo>
                      <a:pt x="885" y="265"/>
                    </a:lnTo>
                    <a:lnTo>
                      <a:pt x="884" y="263"/>
                    </a:lnTo>
                    <a:lnTo>
                      <a:pt x="882" y="263"/>
                    </a:lnTo>
                    <a:lnTo>
                      <a:pt x="878" y="261"/>
                    </a:lnTo>
                    <a:lnTo>
                      <a:pt x="878" y="261"/>
                    </a:lnTo>
                    <a:lnTo>
                      <a:pt x="875" y="257"/>
                    </a:lnTo>
                    <a:lnTo>
                      <a:pt x="871" y="254"/>
                    </a:lnTo>
                    <a:lnTo>
                      <a:pt x="870" y="250"/>
                    </a:lnTo>
                    <a:lnTo>
                      <a:pt x="873" y="250"/>
                    </a:lnTo>
                    <a:lnTo>
                      <a:pt x="874" y="244"/>
                    </a:lnTo>
                    <a:lnTo>
                      <a:pt x="877" y="248"/>
                    </a:lnTo>
                    <a:lnTo>
                      <a:pt x="880" y="248"/>
                    </a:lnTo>
                    <a:lnTo>
                      <a:pt x="881" y="247"/>
                    </a:lnTo>
                    <a:lnTo>
                      <a:pt x="880" y="244"/>
                    </a:lnTo>
                    <a:lnTo>
                      <a:pt x="881" y="244"/>
                    </a:lnTo>
                    <a:lnTo>
                      <a:pt x="881" y="244"/>
                    </a:lnTo>
                    <a:lnTo>
                      <a:pt x="888" y="247"/>
                    </a:lnTo>
                    <a:lnTo>
                      <a:pt x="892" y="251"/>
                    </a:lnTo>
                    <a:lnTo>
                      <a:pt x="894" y="251"/>
                    </a:lnTo>
                    <a:lnTo>
                      <a:pt x="894" y="251"/>
                    </a:lnTo>
                    <a:lnTo>
                      <a:pt x="901" y="262"/>
                    </a:lnTo>
                    <a:lnTo>
                      <a:pt x="907" y="274"/>
                    </a:lnTo>
                    <a:lnTo>
                      <a:pt x="907" y="274"/>
                    </a:lnTo>
                    <a:lnTo>
                      <a:pt x="907" y="280"/>
                    </a:lnTo>
                    <a:lnTo>
                      <a:pt x="907" y="284"/>
                    </a:lnTo>
                    <a:lnTo>
                      <a:pt x="905" y="286"/>
                    </a:lnTo>
                    <a:lnTo>
                      <a:pt x="907" y="290"/>
                    </a:lnTo>
                    <a:lnTo>
                      <a:pt x="907" y="290"/>
                    </a:lnTo>
                    <a:lnTo>
                      <a:pt x="905" y="293"/>
                    </a:lnTo>
                    <a:lnTo>
                      <a:pt x="905" y="297"/>
                    </a:lnTo>
                    <a:lnTo>
                      <a:pt x="908" y="300"/>
                    </a:lnTo>
                    <a:lnTo>
                      <a:pt x="905" y="303"/>
                    </a:lnTo>
                    <a:lnTo>
                      <a:pt x="905" y="304"/>
                    </a:lnTo>
                    <a:lnTo>
                      <a:pt x="903" y="305"/>
                    </a:lnTo>
                    <a:lnTo>
                      <a:pt x="903" y="308"/>
                    </a:lnTo>
                    <a:lnTo>
                      <a:pt x="901" y="309"/>
                    </a:lnTo>
                    <a:lnTo>
                      <a:pt x="900" y="312"/>
                    </a:lnTo>
                    <a:lnTo>
                      <a:pt x="900" y="312"/>
                    </a:lnTo>
                    <a:lnTo>
                      <a:pt x="899" y="314"/>
                    </a:lnTo>
                    <a:lnTo>
                      <a:pt x="897" y="314"/>
                    </a:lnTo>
                    <a:lnTo>
                      <a:pt x="894" y="318"/>
                    </a:lnTo>
                    <a:lnTo>
                      <a:pt x="892" y="319"/>
                    </a:lnTo>
                    <a:lnTo>
                      <a:pt x="892" y="319"/>
                    </a:lnTo>
                    <a:lnTo>
                      <a:pt x="889" y="323"/>
                    </a:lnTo>
                    <a:lnTo>
                      <a:pt x="886" y="324"/>
                    </a:lnTo>
                    <a:lnTo>
                      <a:pt x="882" y="327"/>
                    </a:lnTo>
                    <a:lnTo>
                      <a:pt x="878" y="327"/>
                    </a:lnTo>
                    <a:lnTo>
                      <a:pt x="873" y="328"/>
                    </a:lnTo>
                    <a:lnTo>
                      <a:pt x="873" y="328"/>
                    </a:lnTo>
                    <a:lnTo>
                      <a:pt x="862" y="334"/>
                    </a:lnTo>
                    <a:lnTo>
                      <a:pt x="852" y="338"/>
                    </a:lnTo>
                    <a:lnTo>
                      <a:pt x="852" y="338"/>
                    </a:lnTo>
                    <a:lnTo>
                      <a:pt x="851" y="341"/>
                    </a:lnTo>
                    <a:lnTo>
                      <a:pt x="850" y="342"/>
                    </a:lnTo>
                    <a:lnTo>
                      <a:pt x="848" y="342"/>
                    </a:lnTo>
                    <a:lnTo>
                      <a:pt x="848" y="342"/>
                    </a:lnTo>
                    <a:lnTo>
                      <a:pt x="842" y="350"/>
                    </a:lnTo>
                    <a:lnTo>
                      <a:pt x="832" y="358"/>
                    </a:lnTo>
                    <a:lnTo>
                      <a:pt x="832" y="358"/>
                    </a:lnTo>
                    <a:lnTo>
                      <a:pt x="832" y="364"/>
                    </a:lnTo>
                    <a:lnTo>
                      <a:pt x="831" y="369"/>
                    </a:lnTo>
                    <a:lnTo>
                      <a:pt x="825" y="377"/>
                    </a:lnTo>
                    <a:lnTo>
                      <a:pt x="825" y="377"/>
                    </a:lnTo>
                    <a:lnTo>
                      <a:pt x="824" y="385"/>
                    </a:lnTo>
                    <a:lnTo>
                      <a:pt x="823" y="392"/>
                    </a:lnTo>
                    <a:lnTo>
                      <a:pt x="820" y="399"/>
                    </a:lnTo>
                    <a:lnTo>
                      <a:pt x="821" y="406"/>
                    </a:lnTo>
                    <a:lnTo>
                      <a:pt x="821" y="406"/>
                    </a:lnTo>
                    <a:lnTo>
                      <a:pt x="823" y="403"/>
                    </a:lnTo>
                    <a:lnTo>
                      <a:pt x="825" y="402"/>
                    </a:lnTo>
                    <a:lnTo>
                      <a:pt x="825" y="402"/>
                    </a:lnTo>
                    <a:lnTo>
                      <a:pt x="827" y="399"/>
                    </a:lnTo>
                    <a:lnTo>
                      <a:pt x="828" y="396"/>
                    </a:lnTo>
                    <a:lnTo>
                      <a:pt x="832" y="392"/>
                    </a:lnTo>
                    <a:lnTo>
                      <a:pt x="835" y="394"/>
                    </a:lnTo>
                    <a:lnTo>
                      <a:pt x="843" y="384"/>
                    </a:lnTo>
                    <a:lnTo>
                      <a:pt x="847" y="383"/>
                    </a:lnTo>
                    <a:lnTo>
                      <a:pt x="847" y="383"/>
                    </a:lnTo>
                    <a:lnTo>
                      <a:pt x="848" y="380"/>
                    </a:lnTo>
                    <a:lnTo>
                      <a:pt x="851" y="379"/>
                    </a:lnTo>
                    <a:lnTo>
                      <a:pt x="856" y="376"/>
                    </a:lnTo>
                    <a:lnTo>
                      <a:pt x="856" y="376"/>
                    </a:lnTo>
                    <a:lnTo>
                      <a:pt x="859" y="372"/>
                    </a:lnTo>
                    <a:lnTo>
                      <a:pt x="862" y="369"/>
                    </a:lnTo>
                    <a:lnTo>
                      <a:pt x="866" y="366"/>
                    </a:lnTo>
                    <a:lnTo>
                      <a:pt x="866" y="366"/>
                    </a:lnTo>
                    <a:lnTo>
                      <a:pt x="870" y="365"/>
                    </a:lnTo>
                    <a:lnTo>
                      <a:pt x="874" y="362"/>
                    </a:lnTo>
                    <a:lnTo>
                      <a:pt x="875" y="362"/>
                    </a:lnTo>
                    <a:lnTo>
                      <a:pt x="889" y="356"/>
                    </a:lnTo>
                    <a:lnTo>
                      <a:pt x="889" y="358"/>
                    </a:lnTo>
                    <a:lnTo>
                      <a:pt x="892" y="358"/>
                    </a:lnTo>
                    <a:lnTo>
                      <a:pt x="896" y="362"/>
                    </a:lnTo>
                    <a:lnTo>
                      <a:pt x="896" y="362"/>
                    </a:lnTo>
                    <a:lnTo>
                      <a:pt x="897" y="362"/>
                    </a:lnTo>
                    <a:lnTo>
                      <a:pt x="900" y="361"/>
                    </a:lnTo>
                    <a:lnTo>
                      <a:pt x="904" y="361"/>
                    </a:lnTo>
                    <a:lnTo>
                      <a:pt x="907" y="364"/>
                    </a:lnTo>
                    <a:lnTo>
                      <a:pt x="908" y="361"/>
                    </a:lnTo>
                    <a:lnTo>
                      <a:pt x="913" y="365"/>
                    </a:lnTo>
                    <a:lnTo>
                      <a:pt x="913" y="365"/>
                    </a:lnTo>
                    <a:lnTo>
                      <a:pt x="916" y="362"/>
                    </a:lnTo>
                    <a:lnTo>
                      <a:pt x="920" y="360"/>
                    </a:lnTo>
                    <a:lnTo>
                      <a:pt x="920" y="362"/>
                    </a:lnTo>
                    <a:lnTo>
                      <a:pt x="923" y="362"/>
                    </a:lnTo>
                    <a:lnTo>
                      <a:pt x="927" y="361"/>
                    </a:lnTo>
                    <a:lnTo>
                      <a:pt x="926" y="354"/>
                    </a:lnTo>
                    <a:lnTo>
                      <a:pt x="932" y="354"/>
                    </a:lnTo>
                    <a:lnTo>
                      <a:pt x="932" y="356"/>
                    </a:lnTo>
                    <a:lnTo>
                      <a:pt x="936" y="357"/>
                    </a:lnTo>
                    <a:lnTo>
                      <a:pt x="941" y="356"/>
                    </a:lnTo>
                    <a:lnTo>
                      <a:pt x="943" y="357"/>
                    </a:lnTo>
                    <a:lnTo>
                      <a:pt x="946" y="356"/>
                    </a:lnTo>
                    <a:lnTo>
                      <a:pt x="949" y="358"/>
                    </a:lnTo>
                    <a:lnTo>
                      <a:pt x="949" y="358"/>
                    </a:lnTo>
                    <a:lnTo>
                      <a:pt x="951" y="364"/>
                    </a:lnTo>
                    <a:lnTo>
                      <a:pt x="957" y="369"/>
                    </a:lnTo>
                    <a:lnTo>
                      <a:pt x="961" y="369"/>
                    </a:lnTo>
                    <a:lnTo>
                      <a:pt x="961" y="376"/>
                    </a:lnTo>
                    <a:lnTo>
                      <a:pt x="964" y="376"/>
                    </a:lnTo>
                    <a:lnTo>
                      <a:pt x="965" y="377"/>
                    </a:lnTo>
                    <a:lnTo>
                      <a:pt x="965" y="381"/>
                    </a:lnTo>
                    <a:lnTo>
                      <a:pt x="964" y="383"/>
                    </a:lnTo>
                    <a:lnTo>
                      <a:pt x="965" y="385"/>
                    </a:lnTo>
                    <a:lnTo>
                      <a:pt x="964" y="389"/>
                    </a:lnTo>
                    <a:lnTo>
                      <a:pt x="965" y="391"/>
                    </a:lnTo>
                    <a:lnTo>
                      <a:pt x="964" y="394"/>
                    </a:lnTo>
                    <a:lnTo>
                      <a:pt x="966" y="395"/>
                    </a:lnTo>
                    <a:lnTo>
                      <a:pt x="969" y="406"/>
                    </a:lnTo>
                    <a:lnTo>
                      <a:pt x="969" y="406"/>
                    </a:lnTo>
                    <a:lnTo>
                      <a:pt x="973" y="408"/>
                    </a:lnTo>
                    <a:lnTo>
                      <a:pt x="974" y="411"/>
                    </a:lnTo>
                    <a:lnTo>
                      <a:pt x="976" y="414"/>
                    </a:lnTo>
                    <a:lnTo>
                      <a:pt x="977" y="417"/>
                    </a:lnTo>
                    <a:lnTo>
                      <a:pt x="980" y="418"/>
                    </a:lnTo>
                    <a:lnTo>
                      <a:pt x="980" y="418"/>
                    </a:lnTo>
                    <a:lnTo>
                      <a:pt x="983" y="423"/>
                    </a:lnTo>
                    <a:lnTo>
                      <a:pt x="984" y="426"/>
                    </a:lnTo>
                    <a:lnTo>
                      <a:pt x="985" y="427"/>
                    </a:lnTo>
                    <a:lnTo>
                      <a:pt x="985" y="427"/>
                    </a:lnTo>
                    <a:lnTo>
                      <a:pt x="983" y="432"/>
                    </a:lnTo>
                    <a:lnTo>
                      <a:pt x="981" y="436"/>
                    </a:lnTo>
                    <a:lnTo>
                      <a:pt x="983" y="438"/>
                    </a:lnTo>
                    <a:lnTo>
                      <a:pt x="983" y="438"/>
                    </a:lnTo>
                    <a:lnTo>
                      <a:pt x="983" y="442"/>
                    </a:lnTo>
                    <a:lnTo>
                      <a:pt x="984" y="446"/>
                    </a:lnTo>
                    <a:lnTo>
                      <a:pt x="987" y="448"/>
                    </a:lnTo>
                    <a:lnTo>
                      <a:pt x="987" y="456"/>
                    </a:lnTo>
                    <a:lnTo>
                      <a:pt x="988" y="457"/>
                    </a:lnTo>
                    <a:lnTo>
                      <a:pt x="988" y="457"/>
                    </a:lnTo>
                    <a:lnTo>
                      <a:pt x="988" y="463"/>
                    </a:lnTo>
                    <a:lnTo>
                      <a:pt x="991" y="468"/>
                    </a:lnTo>
                    <a:lnTo>
                      <a:pt x="991" y="468"/>
                    </a:lnTo>
                    <a:lnTo>
                      <a:pt x="995" y="471"/>
                    </a:lnTo>
                    <a:lnTo>
                      <a:pt x="998" y="472"/>
                    </a:lnTo>
                    <a:lnTo>
                      <a:pt x="1000" y="472"/>
                    </a:lnTo>
                    <a:lnTo>
                      <a:pt x="1000" y="474"/>
                    </a:lnTo>
                    <a:lnTo>
                      <a:pt x="1000" y="474"/>
                    </a:lnTo>
                    <a:lnTo>
                      <a:pt x="999" y="478"/>
                    </a:lnTo>
                    <a:lnTo>
                      <a:pt x="998" y="482"/>
                    </a:lnTo>
                    <a:lnTo>
                      <a:pt x="999" y="483"/>
                    </a:lnTo>
                    <a:lnTo>
                      <a:pt x="1000" y="486"/>
                    </a:lnTo>
                    <a:lnTo>
                      <a:pt x="998" y="489"/>
                    </a:lnTo>
                    <a:lnTo>
                      <a:pt x="999" y="493"/>
                    </a:lnTo>
                    <a:lnTo>
                      <a:pt x="995" y="495"/>
                    </a:lnTo>
                    <a:lnTo>
                      <a:pt x="993" y="503"/>
                    </a:lnTo>
                    <a:lnTo>
                      <a:pt x="993" y="503"/>
                    </a:lnTo>
                    <a:lnTo>
                      <a:pt x="991" y="503"/>
                    </a:lnTo>
                    <a:lnTo>
                      <a:pt x="988" y="505"/>
                    </a:lnTo>
                    <a:lnTo>
                      <a:pt x="985" y="506"/>
                    </a:lnTo>
                    <a:lnTo>
                      <a:pt x="984" y="509"/>
                    </a:lnTo>
                    <a:lnTo>
                      <a:pt x="984" y="512"/>
                    </a:lnTo>
                    <a:lnTo>
                      <a:pt x="987" y="513"/>
                    </a:lnTo>
                    <a:lnTo>
                      <a:pt x="987" y="516"/>
                    </a:lnTo>
                    <a:lnTo>
                      <a:pt x="989" y="518"/>
                    </a:lnTo>
                    <a:lnTo>
                      <a:pt x="989" y="529"/>
                    </a:lnTo>
                    <a:lnTo>
                      <a:pt x="992" y="532"/>
                    </a:lnTo>
                    <a:lnTo>
                      <a:pt x="992" y="532"/>
                    </a:lnTo>
                    <a:lnTo>
                      <a:pt x="991" y="533"/>
                    </a:lnTo>
                    <a:lnTo>
                      <a:pt x="992" y="536"/>
                    </a:lnTo>
                    <a:lnTo>
                      <a:pt x="988" y="539"/>
                    </a:lnTo>
                    <a:lnTo>
                      <a:pt x="985" y="537"/>
                    </a:lnTo>
                    <a:lnTo>
                      <a:pt x="985" y="537"/>
                    </a:lnTo>
                    <a:lnTo>
                      <a:pt x="983" y="539"/>
                    </a:lnTo>
                    <a:lnTo>
                      <a:pt x="980" y="541"/>
                    </a:lnTo>
                    <a:lnTo>
                      <a:pt x="981" y="545"/>
                    </a:lnTo>
                    <a:lnTo>
                      <a:pt x="979" y="547"/>
                    </a:lnTo>
                    <a:lnTo>
                      <a:pt x="979" y="550"/>
                    </a:lnTo>
                    <a:lnTo>
                      <a:pt x="983" y="551"/>
                    </a:lnTo>
                    <a:lnTo>
                      <a:pt x="984" y="554"/>
                    </a:lnTo>
                    <a:lnTo>
                      <a:pt x="983" y="555"/>
                    </a:lnTo>
                    <a:lnTo>
                      <a:pt x="980" y="554"/>
                    </a:lnTo>
                    <a:lnTo>
                      <a:pt x="980" y="555"/>
                    </a:lnTo>
                    <a:lnTo>
                      <a:pt x="980" y="558"/>
                    </a:lnTo>
                    <a:lnTo>
                      <a:pt x="977" y="558"/>
                    </a:lnTo>
                    <a:lnTo>
                      <a:pt x="977" y="562"/>
                    </a:lnTo>
                    <a:lnTo>
                      <a:pt x="979" y="564"/>
                    </a:lnTo>
                    <a:lnTo>
                      <a:pt x="977" y="564"/>
                    </a:lnTo>
                    <a:lnTo>
                      <a:pt x="977" y="569"/>
                    </a:lnTo>
                    <a:lnTo>
                      <a:pt x="974" y="570"/>
                    </a:lnTo>
                    <a:lnTo>
                      <a:pt x="973" y="569"/>
                    </a:lnTo>
                    <a:lnTo>
                      <a:pt x="972" y="562"/>
                    </a:lnTo>
                    <a:lnTo>
                      <a:pt x="968" y="564"/>
                    </a:lnTo>
                    <a:lnTo>
                      <a:pt x="966" y="563"/>
                    </a:lnTo>
                    <a:lnTo>
                      <a:pt x="966" y="563"/>
                    </a:lnTo>
                    <a:lnTo>
                      <a:pt x="966" y="558"/>
                    </a:lnTo>
                    <a:lnTo>
                      <a:pt x="966" y="552"/>
                    </a:lnTo>
                    <a:lnTo>
                      <a:pt x="964" y="550"/>
                    </a:lnTo>
                    <a:lnTo>
                      <a:pt x="962" y="550"/>
                    </a:lnTo>
                    <a:lnTo>
                      <a:pt x="961" y="548"/>
                    </a:lnTo>
                    <a:lnTo>
                      <a:pt x="961" y="548"/>
                    </a:lnTo>
                    <a:lnTo>
                      <a:pt x="961" y="544"/>
                    </a:lnTo>
                    <a:lnTo>
                      <a:pt x="958" y="540"/>
                    </a:lnTo>
                    <a:lnTo>
                      <a:pt x="953" y="533"/>
                    </a:lnTo>
                    <a:lnTo>
                      <a:pt x="947" y="532"/>
                    </a:lnTo>
                    <a:lnTo>
                      <a:pt x="950" y="531"/>
                    </a:lnTo>
                    <a:lnTo>
                      <a:pt x="949" y="529"/>
                    </a:lnTo>
                    <a:lnTo>
                      <a:pt x="947" y="528"/>
                    </a:lnTo>
                    <a:lnTo>
                      <a:pt x="947" y="528"/>
                    </a:lnTo>
                    <a:lnTo>
                      <a:pt x="949" y="524"/>
                    </a:lnTo>
                    <a:lnTo>
                      <a:pt x="947" y="520"/>
                    </a:lnTo>
                    <a:lnTo>
                      <a:pt x="950" y="516"/>
                    </a:lnTo>
                    <a:lnTo>
                      <a:pt x="947" y="513"/>
                    </a:lnTo>
                    <a:lnTo>
                      <a:pt x="951" y="513"/>
                    </a:lnTo>
                    <a:lnTo>
                      <a:pt x="953" y="512"/>
                    </a:lnTo>
                    <a:lnTo>
                      <a:pt x="953" y="509"/>
                    </a:lnTo>
                    <a:lnTo>
                      <a:pt x="954" y="509"/>
                    </a:lnTo>
                    <a:lnTo>
                      <a:pt x="957" y="509"/>
                    </a:lnTo>
                    <a:lnTo>
                      <a:pt x="957" y="506"/>
                    </a:lnTo>
                    <a:lnTo>
                      <a:pt x="960" y="506"/>
                    </a:lnTo>
                    <a:lnTo>
                      <a:pt x="961" y="509"/>
                    </a:lnTo>
                    <a:lnTo>
                      <a:pt x="960" y="510"/>
                    </a:lnTo>
                    <a:lnTo>
                      <a:pt x="961" y="512"/>
                    </a:lnTo>
                    <a:lnTo>
                      <a:pt x="964" y="508"/>
                    </a:lnTo>
                    <a:lnTo>
                      <a:pt x="962" y="506"/>
                    </a:lnTo>
                    <a:lnTo>
                      <a:pt x="960" y="505"/>
                    </a:lnTo>
                    <a:lnTo>
                      <a:pt x="960" y="503"/>
                    </a:lnTo>
                    <a:lnTo>
                      <a:pt x="961" y="503"/>
                    </a:lnTo>
                    <a:lnTo>
                      <a:pt x="962" y="505"/>
                    </a:lnTo>
                    <a:lnTo>
                      <a:pt x="964" y="503"/>
                    </a:lnTo>
                    <a:lnTo>
                      <a:pt x="964" y="503"/>
                    </a:lnTo>
                    <a:lnTo>
                      <a:pt x="964" y="501"/>
                    </a:lnTo>
                    <a:lnTo>
                      <a:pt x="964" y="498"/>
                    </a:lnTo>
                    <a:lnTo>
                      <a:pt x="966" y="494"/>
                    </a:lnTo>
                    <a:lnTo>
                      <a:pt x="965" y="493"/>
                    </a:lnTo>
                    <a:lnTo>
                      <a:pt x="964" y="494"/>
                    </a:lnTo>
                    <a:lnTo>
                      <a:pt x="962" y="493"/>
                    </a:lnTo>
                    <a:lnTo>
                      <a:pt x="964" y="490"/>
                    </a:lnTo>
                    <a:lnTo>
                      <a:pt x="961" y="490"/>
                    </a:lnTo>
                    <a:lnTo>
                      <a:pt x="960" y="491"/>
                    </a:lnTo>
                    <a:lnTo>
                      <a:pt x="955" y="491"/>
                    </a:lnTo>
                    <a:lnTo>
                      <a:pt x="958" y="490"/>
                    </a:lnTo>
                    <a:lnTo>
                      <a:pt x="964" y="484"/>
                    </a:lnTo>
                    <a:lnTo>
                      <a:pt x="962" y="484"/>
                    </a:lnTo>
                    <a:lnTo>
                      <a:pt x="961" y="483"/>
                    </a:lnTo>
                    <a:lnTo>
                      <a:pt x="962" y="482"/>
                    </a:lnTo>
                    <a:lnTo>
                      <a:pt x="961" y="478"/>
                    </a:lnTo>
                    <a:lnTo>
                      <a:pt x="965" y="475"/>
                    </a:lnTo>
                    <a:lnTo>
                      <a:pt x="964" y="475"/>
                    </a:lnTo>
                    <a:lnTo>
                      <a:pt x="961" y="475"/>
                    </a:lnTo>
                    <a:lnTo>
                      <a:pt x="961" y="474"/>
                    </a:lnTo>
                    <a:lnTo>
                      <a:pt x="962" y="472"/>
                    </a:lnTo>
                    <a:lnTo>
                      <a:pt x="962" y="468"/>
                    </a:lnTo>
                    <a:lnTo>
                      <a:pt x="960" y="467"/>
                    </a:lnTo>
                    <a:lnTo>
                      <a:pt x="960" y="465"/>
                    </a:lnTo>
                    <a:lnTo>
                      <a:pt x="960" y="463"/>
                    </a:lnTo>
                    <a:lnTo>
                      <a:pt x="957" y="461"/>
                    </a:lnTo>
                    <a:lnTo>
                      <a:pt x="958" y="459"/>
                    </a:lnTo>
                    <a:lnTo>
                      <a:pt x="957" y="457"/>
                    </a:lnTo>
                    <a:lnTo>
                      <a:pt x="957" y="456"/>
                    </a:lnTo>
                    <a:lnTo>
                      <a:pt x="958" y="456"/>
                    </a:lnTo>
                    <a:lnTo>
                      <a:pt x="958" y="453"/>
                    </a:lnTo>
                    <a:lnTo>
                      <a:pt x="955" y="452"/>
                    </a:lnTo>
                    <a:lnTo>
                      <a:pt x="955" y="445"/>
                    </a:lnTo>
                    <a:lnTo>
                      <a:pt x="951" y="444"/>
                    </a:lnTo>
                    <a:lnTo>
                      <a:pt x="947" y="446"/>
                    </a:lnTo>
                    <a:lnTo>
                      <a:pt x="949" y="449"/>
                    </a:lnTo>
                    <a:lnTo>
                      <a:pt x="947" y="451"/>
                    </a:lnTo>
                    <a:lnTo>
                      <a:pt x="945" y="451"/>
                    </a:lnTo>
                    <a:lnTo>
                      <a:pt x="946" y="449"/>
                    </a:lnTo>
                    <a:lnTo>
                      <a:pt x="946" y="449"/>
                    </a:lnTo>
                    <a:lnTo>
                      <a:pt x="946" y="446"/>
                    </a:lnTo>
                    <a:lnTo>
                      <a:pt x="946" y="444"/>
                    </a:lnTo>
                    <a:lnTo>
                      <a:pt x="943" y="440"/>
                    </a:lnTo>
                    <a:lnTo>
                      <a:pt x="942" y="440"/>
                    </a:lnTo>
                    <a:lnTo>
                      <a:pt x="941" y="436"/>
                    </a:lnTo>
                    <a:lnTo>
                      <a:pt x="941" y="436"/>
                    </a:lnTo>
                    <a:lnTo>
                      <a:pt x="939" y="434"/>
                    </a:lnTo>
                    <a:lnTo>
                      <a:pt x="936" y="433"/>
                    </a:lnTo>
                    <a:lnTo>
                      <a:pt x="936" y="432"/>
                    </a:lnTo>
                    <a:lnTo>
                      <a:pt x="934" y="427"/>
                    </a:lnTo>
                    <a:lnTo>
                      <a:pt x="932" y="429"/>
                    </a:lnTo>
                    <a:lnTo>
                      <a:pt x="926" y="426"/>
                    </a:lnTo>
                    <a:lnTo>
                      <a:pt x="924" y="425"/>
                    </a:lnTo>
                    <a:lnTo>
                      <a:pt x="919" y="422"/>
                    </a:lnTo>
                    <a:lnTo>
                      <a:pt x="919" y="421"/>
                    </a:lnTo>
                    <a:lnTo>
                      <a:pt x="919" y="421"/>
                    </a:lnTo>
                    <a:lnTo>
                      <a:pt x="915" y="417"/>
                    </a:lnTo>
                    <a:lnTo>
                      <a:pt x="912" y="415"/>
                    </a:lnTo>
                    <a:lnTo>
                      <a:pt x="911" y="414"/>
                    </a:lnTo>
                    <a:lnTo>
                      <a:pt x="909" y="414"/>
                    </a:lnTo>
                    <a:lnTo>
                      <a:pt x="904" y="422"/>
                    </a:lnTo>
                    <a:lnTo>
                      <a:pt x="905" y="426"/>
                    </a:lnTo>
                    <a:lnTo>
                      <a:pt x="904" y="429"/>
                    </a:lnTo>
                    <a:lnTo>
                      <a:pt x="905" y="432"/>
                    </a:lnTo>
                    <a:lnTo>
                      <a:pt x="904" y="433"/>
                    </a:lnTo>
                    <a:lnTo>
                      <a:pt x="904" y="437"/>
                    </a:lnTo>
                    <a:lnTo>
                      <a:pt x="904" y="437"/>
                    </a:lnTo>
                    <a:lnTo>
                      <a:pt x="901" y="438"/>
                    </a:lnTo>
                    <a:lnTo>
                      <a:pt x="899" y="440"/>
                    </a:lnTo>
                    <a:lnTo>
                      <a:pt x="896" y="441"/>
                    </a:lnTo>
                    <a:lnTo>
                      <a:pt x="896" y="442"/>
                    </a:lnTo>
                    <a:lnTo>
                      <a:pt x="897" y="442"/>
                    </a:lnTo>
                    <a:lnTo>
                      <a:pt x="900" y="442"/>
                    </a:lnTo>
                    <a:lnTo>
                      <a:pt x="900" y="442"/>
                    </a:lnTo>
                    <a:lnTo>
                      <a:pt x="904" y="445"/>
                    </a:lnTo>
                    <a:lnTo>
                      <a:pt x="907" y="446"/>
                    </a:lnTo>
                    <a:lnTo>
                      <a:pt x="908" y="448"/>
                    </a:lnTo>
                    <a:lnTo>
                      <a:pt x="909" y="449"/>
                    </a:lnTo>
                    <a:lnTo>
                      <a:pt x="909" y="452"/>
                    </a:lnTo>
                    <a:lnTo>
                      <a:pt x="911" y="452"/>
                    </a:lnTo>
                    <a:lnTo>
                      <a:pt x="913" y="452"/>
                    </a:lnTo>
                    <a:lnTo>
                      <a:pt x="918" y="453"/>
                    </a:lnTo>
                    <a:lnTo>
                      <a:pt x="920" y="453"/>
                    </a:lnTo>
                    <a:lnTo>
                      <a:pt x="922" y="457"/>
                    </a:lnTo>
                    <a:lnTo>
                      <a:pt x="920" y="457"/>
                    </a:lnTo>
                    <a:lnTo>
                      <a:pt x="919" y="456"/>
                    </a:lnTo>
                    <a:lnTo>
                      <a:pt x="916" y="457"/>
                    </a:lnTo>
                    <a:lnTo>
                      <a:pt x="916" y="459"/>
                    </a:lnTo>
                    <a:lnTo>
                      <a:pt x="915" y="459"/>
                    </a:lnTo>
                    <a:lnTo>
                      <a:pt x="912" y="460"/>
                    </a:lnTo>
                    <a:lnTo>
                      <a:pt x="912" y="461"/>
                    </a:lnTo>
                    <a:lnTo>
                      <a:pt x="912" y="464"/>
                    </a:lnTo>
                    <a:lnTo>
                      <a:pt x="911" y="467"/>
                    </a:lnTo>
                    <a:lnTo>
                      <a:pt x="913" y="468"/>
                    </a:lnTo>
                    <a:lnTo>
                      <a:pt x="913" y="470"/>
                    </a:lnTo>
                    <a:lnTo>
                      <a:pt x="915" y="471"/>
                    </a:lnTo>
                    <a:lnTo>
                      <a:pt x="918" y="468"/>
                    </a:lnTo>
                    <a:lnTo>
                      <a:pt x="918" y="467"/>
                    </a:lnTo>
                    <a:lnTo>
                      <a:pt x="920" y="467"/>
                    </a:lnTo>
                    <a:lnTo>
                      <a:pt x="920" y="470"/>
                    </a:lnTo>
                    <a:lnTo>
                      <a:pt x="922" y="471"/>
                    </a:lnTo>
                    <a:lnTo>
                      <a:pt x="920" y="475"/>
                    </a:lnTo>
                    <a:lnTo>
                      <a:pt x="923" y="476"/>
                    </a:lnTo>
                    <a:lnTo>
                      <a:pt x="920" y="482"/>
                    </a:lnTo>
                    <a:lnTo>
                      <a:pt x="923" y="482"/>
                    </a:lnTo>
                    <a:lnTo>
                      <a:pt x="923" y="482"/>
                    </a:lnTo>
                    <a:lnTo>
                      <a:pt x="922" y="484"/>
                    </a:lnTo>
                    <a:lnTo>
                      <a:pt x="919" y="486"/>
                    </a:lnTo>
                    <a:lnTo>
                      <a:pt x="920" y="487"/>
                    </a:lnTo>
                    <a:lnTo>
                      <a:pt x="923" y="486"/>
                    </a:lnTo>
                    <a:lnTo>
                      <a:pt x="926" y="490"/>
                    </a:lnTo>
                    <a:lnTo>
                      <a:pt x="923" y="491"/>
                    </a:lnTo>
                    <a:lnTo>
                      <a:pt x="926" y="493"/>
                    </a:lnTo>
                    <a:lnTo>
                      <a:pt x="922" y="494"/>
                    </a:lnTo>
                    <a:lnTo>
                      <a:pt x="922" y="494"/>
                    </a:lnTo>
                    <a:lnTo>
                      <a:pt x="926" y="495"/>
                    </a:lnTo>
                    <a:lnTo>
                      <a:pt x="927" y="495"/>
                    </a:lnTo>
                    <a:lnTo>
                      <a:pt x="927" y="493"/>
                    </a:lnTo>
                    <a:lnTo>
                      <a:pt x="928" y="491"/>
                    </a:lnTo>
                    <a:lnTo>
                      <a:pt x="928" y="491"/>
                    </a:lnTo>
                    <a:lnTo>
                      <a:pt x="930" y="487"/>
                    </a:lnTo>
                    <a:lnTo>
                      <a:pt x="931" y="489"/>
                    </a:lnTo>
                    <a:lnTo>
                      <a:pt x="931" y="489"/>
                    </a:lnTo>
                    <a:lnTo>
                      <a:pt x="930" y="494"/>
                    </a:lnTo>
                    <a:lnTo>
                      <a:pt x="927" y="498"/>
                    </a:lnTo>
                    <a:lnTo>
                      <a:pt x="926" y="499"/>
                    </a:lnTo>
                    <a:lnTo>
                      <a:pt x="926" y="501"/>
                    </a:lnTo>
                    <a:lnTo>
                      <a:pt x="924" y="501"/>
                    </a:lnTo>
                    <a:lnTo>
                      <a:pt x="926" y="503"/>
                    </a:lnTo>
                    <a:lnTo>
                      <a:pt x="927" y="502"/>
                    </a:lnTo>
                    <a:lnTo>
                      <a:pt x="928" y="503"/>
                    </a:lnTo>
                    <a:lnTo>
                      <a:pt x="930" y="508"/>
                    </a:lnTo>
                    <a:lnTo>
                      <a:pt x="928" y="509"/>
                    </a:lnTo>
                    <a:lnTo>
                      <a:pt x="927" y="509"/>
                    </a:lnTo>
                    <a:lnTo>
                      <a:pt x="928" y="506"/>
                    </a:lnTo>
                    <a:lnTo>
                      <a:pt x="924" y="509"/>
                    </a:lnTo>
                    <a:lnTo>
                      <a:pt x="926" y="510"/>
                    </a:lnTo>
                    <a:lnTo>
                      <a:pt x="926" y="510"/>
                    </a:lnTo>
                    <a:lnTo>
                      <a:pt x="924" y="513"/>
                    </a:lnTo>
                    <a:lnTo>
                      <a:pt x="923" y="514"/>
                    </a:lnTo>
                    <a:lnTo>
                      <a:pt x="923" y="516"/>
                    </a:lnTo>
                    <a:lnTo>
                      <a:pt x="924" y="517"/>
                    </a:lnTo>
                    <a:lnTo>
                      <a:pt x="922" y="518"/>
                    </a:lnTo>
                    <a:lnTo>
                      <a:pt x="922" y="520"/>
                    </a:lnTo>
                    <a:lnTo>
                      <a:pt x="924" y="520"/>
                    </a:lnTo>
                    <a:lnTo>
                      <a:pt x="924" y="528"/>
                    </a:lnTo>
                    <a:lnTo>
                      <a:pt x="924" y="528"/>
                    </a:lnTo>
                    <a:lnTo>
                      <a:pt x="922" y="531"/>
                    </a:lnTo>
                    <a:lnTo>
                      <a:pt x="922" y="533"/>
                    </a:lnTo>
                    <a:lnTo>
                      <a:pt x="919" y="536"/>
                    </a:lnTo>
                    <a:lnTo>
                      <a:pt x="920" y="537"/>
                    </a:lnTo>
                    <a:lnTo>
                      <a:pt x="918" y="539"/>
                    </a:lnTo>
                    <a:lnTo>
                      <a:pt x="916" y="537"/>
                    </a:lnTo>
                    <a:lnTo>
                      <a:pt x="913" y="541"/>
                    </a:lnTo>
                    <a:lnTo>
                      <a:pt x="911" y="541"/>
                    </a:lnTo>
                    <a:lnTo>
                      <a:pt x="911" y="543"/>
                    </a:lnTo>
                    <a:lnTo>
                      <a:pt x="911" y="543"/>
                    </a:lnTo>
                    <a:lnTo>
                      <a:pt x="909" y="544"/>
                    </a:lnTo>
                    <a:lnTo>
                      <a:pt x="908" y="547"/>
                    </a:lnTo>
                    <a:lnTo>
                      <a:pt x="908" y="550"/>
                    </a:lnTo>
                    <a:lnTo>
                      <a:pt x="907" y="552"/>
                    </a:lnTo>
                    <a:lnTo>
                      <a:pt x="907" y="554"/>
                    </a:lnTo>
                    <a:lnTo>
                      <a:pt x="903" y="556"/>
                    </a:lnTo>
                    <a:lnTo>
                      <a:pt x="903" y="559"/>
                    </a:lnTo>
                    <a:lnTo>
                      <a:pt x="903" y="559"/>
                    </a:lnTo>
                    <a:lnTo>
                      <a:pt x="905" y="556"/>
                    </a:lnTo>
                    <a:lnTo>
                      <a:pt x="908" y="554"/>
                    </a:lnTo>
                    <a:lnTo>
                      <a:pt x="908" y="552"/>
                    </a:lnTo>
                    <a:lnTo>
                      <a:pt x="911" y="551"/>
                    </a:lnTo>
                    <a:lnTo>
                      <a:pt x="909" y="550"/>
                    </a:lnTo>
                    <a:lnTo>
                      <a:pt x="909" y="547"/>
                    </a:lnTo>
                    <a:lnTo>
                      <a:pt x="909" y="547"/>
                    </a:lnTo>
                    <a:lnTo>
                      <a:pt x="912" y="547"/>
                    </a:lnTo>
                    <a:lnTo>
                      <a:pt x="915" y="548"/>
                    </a:lnTo>
                    <a:lnTo>
                      <a:pt x="915" y="551"/>
                    </a:lnTo>
                    <a:lnTo>
                      <a:pt x="916" y="551"/>
                    </a:lnTo>
                    <a:lnTo>
                      <a:pt x="918" y="548"/>
                    </a:lnTo>
                    <a:lnTo>
                      <a:pt x="919" y="548"/>
                    </a:lnTo>
                    <a:lnTo>
                      <a:pt x="920" y="550"/>
                    </a:lnTo>
                    <a:lnTo>
                      <a:pt x="923" y="550"/>
                    </a:lnTo>
                    <a:lnTo>
                      <a:pt x="923" y="548"/>
                    </a:lnTo>
                    <a:lnTo>
                      <a:pt x="923" y="545"/>
                    </a:lnTo>
                    <a:lnTo>
                      <a:pt x="926" y="544"/>
                    </a:lnTo>
                    <a:lnTo>
                      <a:pt x="927" y="545"/>
                    </a:lnTo>
                    <a:lnTo>
                      <a:pt x="934" y="540"/>
                    </a:lnTo>
                    <a:lnTo>
                      <a:pt x="936" y="541"/>
                    </a:lnTo>
                    <a:lnTo>
                      <a:pt x="939" y="541"/>
                    </a:lnTo>
                    <a:lnTo>
                      <a:pt x="941" y="540"/>
                    </a:lnTo>
                    <a:lnTo>
                      <a:pt x="941" y="539"/>
                    </a:lnTo>
                    <a:lnTo>
                      <a:pt x="943" y="537"/>
                    </a:lnTo>
                    <a:lnTo>
                      <a:pt x="946" y="539"/>
                    </a:lnTo>
                    <a:lnTo>
                      <a:pt x="949" y="537"/>
                    </a:lnTo>
                    <a:lnTo>
                      <a:pt x="950" y="539"/>
                    </a:lnTo>
                    <a:lnTo>
                      <a:pt x="951" y="540"/>
                    </a:lnTo>
                    <a:lnTo>
                      <a:pt x="947" y="544"/>
                    </a:lnTo>
                    <a:lnTo>
                      <a:pt x="951" y="545"/>
                    </a:lnTo>
                    <a:lnTo>
                      <a:pt x="951" y="550"/>
                    </a:lnTo>
                    <a:lnTo>
                      <a:pt x="953" y="550"/>
                    </a:lnTo>
                    <a:lnTo>
                      <a:pt x="954" y="547"/>
                    </a:lnTo>
                    <a:lnTo>
                      <a:pt x="953" y="545"/>
                    </a:lnTo>
                    <a:lnTo>
                      <a:pt x="953" y="541"/>
                    </a:lnTo>
                    <a:lnTo>
                      <a:pt x="955" y="541"/>
                    </a:lnTo>
                    <a:lnTo>
                      <a:pt x="955" y="541"/>
                    </a:lnTo>
                    <a:lnTo>
                      <a:pt x="958" y="547"/>
                    </a:lnTo>
                    <a:lnTo>
                      <a:pt x="960" y="551"/>
                    </a:lnTo>
                    <a:lnTo>
                      <a:pt x="958" y="554"/>
                    </a:lnTo>
                    <a:lnTo>
                      <a:pt x="958" y="555"/>
                    </a:lnTo>
                    <a:lnTo>
                      <a:pt x="960" y="556"/>
                    </a:lnTo>
                    <a:lnTo>
                      <a:pt x="960" y="559"/>
                    </a:lnTo>
                    <a:lnTo>
                      <a:pt x="958" y="562"/>
                    </a:lnTo>
                    <a:lnTo>
                      <a:pt x="961" y="563"/>
                    </a:lnTo>
                    <a:lnTo>
                      <a:pt x="962" y="567"/>
                    </a:lnTo>
                    <a:lnTo>
                      <a:pt x="960" y="569"/>
                    </a:lnTo>
                    <a:lnTo>
                      <a:pt x="960" y="570"/>
                    </a:lnTo>
                    <a:lnTo>
                      <a:pt x="961" y="571"/>
                    </a:lnTo>
                    <a:lnTo>
                      <a:pt x="961" y="578"/>
                    </a:lnTo>
                    <a:lnTo>
                      <a:pt x="961" y="578"/>
                    </a:lnTo>
                    <a:lnTo>
                      <a:pt x="965" y="578"/>
                    </a:lnTo>
                    <a:lnTo>
                      <a:pt x="968" y="581"/>
                    </a:lnTo>
                    <a:lnTo>
                      <a:pt x="968" y="582"/>
                    </a:lnTo>
                    <a:lnTo>
                      <a:pt x="966" y="583"/>
                    </a:lnTo>
                    <a:lnTo>
                      <a:pt x="964" y="582"/>
                    </a:lnTo>
                    <a:lnTo>
                      <a:pt x="962" y="582"/>
                    </a:lnTo>
                    <a:lnTo>
                      <a:pt x="962" y="582"/>
                    </a:lnTo>
                    <a:lnTo>
                      <a:pt x="961" y="583"/>
                    </a:lnTo>
                    <a:lnTo>
                      <a:pt x="960" y="585"/>
                    </a:lnTo>
                    <a:lnTo>
                      <a:pt x="958" y="586"/>
                    </a:lnTo>
                    <a:lnTo>
                      <a:pt x="957" y="588"/>
                    </a:lnTo>
                    <a:lnTo>
                      <a:pt x="954" y="597"/>
                    </a:lnTo>
                    <a:lnTo>
                      <a:pt x="954" y="597"/>
                    </a:lnTo>
                    <a:lnTo>
                      <a:pt x="951" y="601"/>
                    </a:lnTo>
                    <a:lnTo>
                      <a:pt x="950" y="604"/>
                    </a:lnTo>
                    <a:lnTo>
                      <a:pt x="949" y="605"/>
                    </a:lnTo>
                    <a:lnTo>
                      <a:pt x="946" y="608"/>
                    </a:lnTo>
                    <a:lnTo>
                      <a:pt x="942" y="613"/>
                    </a:lnTo>
                    <a:lnTo>
                      <a:pt x="941" y="613"/>
                    </a:lnTo>
                    <a:lnTo>
                      <a:pt x="938" y="611"/>
                    </a:lnTo>
                    <a:lnTo>
                      <a:pt x="936" y="612"/>
                    </a:lnTo>
                    <a:lnTo>
                      <a:pt x="936" y="613"/>
                    </a:lnTo>
                    <a:lnTo>
                      <a:pt x="939" y="615"/>
                    </a:lnTo>
                    <a:lnTo>
                      <a:pt x="939" y="615"/>
                    </a:lnTo>
                    <a:lnTo>
                      <a:pt x="938" y="617"/>
                    </a:lnTo>
                    <a:lnTo>
                      <a:pt x="936" y="621"/>
                    </a:lnTo>
                    <a:lnTo>
                      <a:pt x="934" y="623"/>
                    </a:lnTo>
                    <a:lnTo>
                      <a:pt x="932" y="621"/>
                    </a:lnTo>
                    <a:lnTo>
                      <a:pt x="932" y="620"/>
                    </a:lnTo>
                    <a:lnTo>
                      <a:pt x="932" y="619"/>
                    </a:lnTo>
                    <a:lnTo>
                      <a:pt x="931" y="617"/>
                    </a:lnTo>
                    <a:lnTo>
                      <a:pt x="928" y="619"/>
                    </a:lnTo>
                    <a:lnTo>
                      <a:pt x="928" y="615"/>
                    </a:lnTo>
                    <a:lnTo>
                      <a:pt x="927" y="613"/>
                    </a:lnTo>
                    <a:lnTo>
                      <a:pt x="923" y="616"/>
                    </a:lnTo>
                    <a:lnTo>
                      <a:pt x="926" y="619"/>
                    </a:lnTo>
                    <a:lnTo>
                      <a:pt x="926" y="619"/>
                    </a:lnTo>
                    <a:lnTo>
                      <a:pt x="926" y="623"/>
                    </a:lnTo>
                    <a:lnTo>
                      <a:pt x="927" y="626"/>
                    </a:lnTo>
                    <a:lnTo>
                      <a:pt x="924" y="627"/>
                    </a:lnTo>
                    <a:lnTo>
                      <a:pt x="924" y="627"/>
                    </a:lnTo>
                    <a:lnTo>
                      <a:pt x="922" y="631"/>
                    </a:lnTo>
                    <a:lnTo>
                      <a:pt x="918" y="635"/>
                    </a:lnTo>
                    <a:lnTo>
                      <a:pt x="916" y="634"/>
                    </a:lnTo>
                    <a:lnTo>
                      <a:pt x="916" y="630"/>
                    </a:lnTo>
                    <a:lnTo>
                      <a:pt x="913" y="630"/>
                    </a:lnTo>
                    <a:lnTo>
                      <a:pt x="913" y="630"/>
                    </a:lnTo>
                    <a:lnTo>
                      <a:pt x="912" y="627"/>
                    </a:lnTo>
                    <a:lnTo>
                      <a:pt x="911" y="624"/>
                    </a:lnTo>
                    <a:lnTo>
                      <a:pt x="912" y="623"/>
                    </a:lnTo>
                    <a:lnTo>
                      <a:pt x="912" y="623"/>
                    </a:lnTo>
                    <a:lnTo>
                      <a:pt x="907" y="620"/>
                    </a:lnTo>
                    <a:lnTo>
                      <a:pt x="904" y="620"/>
                    </a:lnTo>
                    <a:lnTo>
                      <a:pt x="901" y="620"/>
                    </a:lnTo>
                    <a:lnTo>
                      <a:pt x="900" y="620"/>
                    </a:lnTo>
                    <a:lnTo>
                      <a:pt x="900" y="620"/>
                    </a:lnTo>
                    <a:lnTo>
                      <a:pt x="897" y="620"/>
                    </a:lnTo>
                    <a:lnTo>
                      <a:pt x="894" y="620"/>
                    </a:lnTo>
                    <a:lnTo>
                      <a:pt x="893" y="619"/>
                    </a:lnTo>
                    <a:lnTo>
                      <a:pt x="893" y="619"/>
                    </a:lnTo>
                    <a:lnTo>
                      <a:pt x="889" y="619"/>
                    </a:lnTo>
                    <a:lnTo>
                      <a:pt x="884" y="620"/>
                    </a:lnTo>
                    <a:lnTo>
                      <a:pt x="884" y="621"/>
                    </a:lnTo>
                    <a:lnTo>
                      <a:pt x="884" y="621"/>
                    </a:lnTo>
                    <a:lnTo>
                      <a:pt x="880" y="623"/>
                    </a:lnTo>
                    <a:lnTo>
                      <a:pt x="875" y="624"/>
                    </a:lnTo>
                    <a:lnTo>
                      <a:pt x="871" y="623"/>
                    </a:lnTo>
                    <a:lnTo>
                      <a:pt x="871" y="623"/>
                    </a:lnTo>
                    <a:lnTo>
                      <a:pt x="865" y="624"/>
                    </a:lnTo>
                    <a:lnTo>
                      <a:pt x="862" y="624"/>
                    </a:lnTo>
                    <a:lnTo>
                      <a:pt x="858" y="624"/>
                    </a:lnTo>
                    <a:lnTo>
                      <a:pt x="858" y="624"/>
                    </a:lnTo>
                    <a:lnTo>
                      <a:pt x="856" y="620"/>
                    </a:lnTo>
                    <a:lnTo>
                      <a:pt x="854" y="616"/>
                    </a:lnTo>
                    <a:lnTo>
                      <a:pt x="858" y="617"/>
                    </a:lnTo>
                    <a:lnTo>
                      <a:pt x="859" y="616"/>
                    </a:lnTo>
                    <a:lnTo>
                      <a:pt x="861" y="615"/>
                    </a:lnTo>
                    <a:lnTo>
                      <a:pt x="861" y="615"/>
                    </a:lnTo>
                    <a:lnTo>
                      <a:pt x="859" y="611"/>
                    </a:lnTo>
                    <a:lnTo>
                      <a:pt x="859" y="607"/>
                    </a:lnTo>
                    <a:lnTo>
                      <a:pt x="859" y="607"/>
                    </a:lnTo>
                    <a:lnTo>
                      <a:pt x="861" y="604"/>
                    </a:lnTo>
                    <a:lnTo>
                      <a:pt x="861" y="600"/>
                    </a:lnTo>
                    <a:lnTo>
                      <a:pt x="859" y="600"/>
                    </a:lnTo>
                    <a:lnTo>
                      <a:pt x="859" y="600"/>
                    </a:lnTo>
                    <a:lnTo>
                      <a:pt x="856" y="605"/>
                    </a:lnTo>
                    <a:lnTo>
                      <a:pt x="855" y="609"/>
                    </a:lnTo>
                    <a:lnTo>
                      <a:pt x="855" y="609"/>
                    </a:lnTo>
                    <a:lnTo>
                      <a:pt x="852" y="612"/>
                    </a:lnTo>
                    <a:lnTo>
                      <a:pt x="852" y="613"/>
                    </a:lnTo>
                    <a:lnTo>
                      <a:pt x="851" y="616"/>
                    </a:lnTo>
                    <a:lnTo>
                      <a:pt x="846" y="620"/>
                    </a:lnTo>
                    <a:lnTo>
                      <a:pt x="846" y="624"/>
                    </a:lnTo>
                    <a:lnTo>
                      <a:pt x="848" y="620"/>
                    </a:lnTo>
                    <a:lnTo>
                      <a:pt x="848" y="620"/>
                    </a:lnTo>
                    <a:lnTo>
                      <a:pt x="851" y="620"/>
                    </a:lnTo>
                    <a:lnTo>
                      <a:pt x="851" y="620"/>
                    </a:lnTo>
                    <a:lnTo>
                      <a:pt x="854" y="619"/>
                    </a:lnTo>
                    <a:lnTo>
                      <a:pt x="854" y="619"/>
                    </a:lnTo>
                    <a:lnTo>
                      <a:pt x="855" y="623"/>
                    </a:lnTo>
                    <a:lnTo>
                      <a:pt x="855" y="627"/>
                    </a:lnTo>
                    <a:lnTo>
                      <a:pt x="855" y="627"/>
                    </a:lnTo>
                    <a:lnTo>
                      <a:pt x="844" y="635"/>
                    </a:lnTo>
                    <a:lnTo>
                      <a:pt x="833" y="645"/>
                    </a:lnTo>
                    <a:lnTo>
                      <a:pt x="833" y="650"/>
                    </a:lnTo>
                    <a:lnTo>
                      <a:pt x="833" y="650"/>
                    </a:lnTo>
                    <a:lnTo>
                      <a:pt x="837" y="657"/>
                    </a:lnTo>
                    <a:lnTo>
                      <a:pt x="840" y="664"/>
                    </a:lnTo>
                    <a:lnTo>
                      <a:pt x="840" y="672"/>
                    </a:lnTo>
                    <a:lnTo>
                      <a:pt x="839" y="678"/>
                    </a:lnTo>
                    <a:lnTo>
                      <a:pt x="839" y="678"/>
                    </a:lnTo>
                    <a:lnTo>
                      <a:pt x="833" y="691"/>
                    </a:lnTo>
                    <a:lnTo>
                      <a:pt x="833" y="691"/>
                    </a:lnTo>
                    <a:lnTo>
                      <a:pt x="833" y="693"/>
                    </a:lnTo>
                    <a:lnTo>
                      <a:pt x="835" y="696"/>
                    </a:lnTo>
                    <a:lnTo>
                      <a:pt x="835" y="699"/>
                    </a:lnTo>
                    <a:lnTo>
                      <a:pt x="832" y="701"/>
                    </a:lnTo>
                    <a:lnTo>
                      <a:pt x="832" y="701"/>
                    </a:lnTo>
                    <a:lnTo>
                      <a:pt x="833" y="704"/>
                    </a:lnTo>
                    <a:lnTo>
                      <a:pt x="832" y="707"/>
                    </a:lnTo>
                    <a:lnTo>
                      <a:pt x="829" y="712"/>
                    </a:lnTo>
                    <a:lnTo>
                      <a:pt x="827" y="714"/>
                    </a:lnTo>
                    <a:lnTo>
                      <a:pt x="825" y="716"/>
                    </a:lnTo>
                    <a:lnTo>
                      <a:pt x="825" y="716"/>
                    </a:lnTo>
                    <a:lnTo>
                      <a:pt x="821" y="718"/>
                    </a:lnTo>
                    <a:lnTo>
                      <a:pt x="817" y="722"/>
                    </a:lnTo>
                    <a:lnTo>
                      <a:pt x="809" y="729"/>
                    </a:lnTo>
                    <a:lnTo>
                      <a:pt x="809" y="731"/>
                    </a:lnTo>
                    <a:lnTo>
                      <a:pt x="806" y="733"/>
                    </a:lnTo>
                    <a:lnTo>
                      <a:pt x="806" y="737"/>
                    </a:lnTo>
                    <a:lnTo>
                      <a:pt x="806" y="737"/>
                    </a:lnTo>
                    <a:lnTo>
                      <a:pt x="799" y="738"/>
                    </a:lnTo>
                    <a:lnTo>
                      <a:pt x="794" y="741"/>
                    </a:lnTo>
                    <a:lnTo>
                      <a:pt x="790" y="745"/>
                    </a:lnTo>
                    <a:lnTo>
                      <a:pt x="786" y="750"/>
                    </a:lnTo>
                    <a:lnTo>
                      <a:pt x="786" y="750"/>
                    </a:lnTo>
                    <a:lnTo>
                      <a:pt x="782" y="753"/>
                    </a:lnTo>
                    <a:lnTo>
                      <a:pt x="778" y="756"/>
                    </a:lnTo>
                    <a:lnTo>
                      <a:pt x="771" y="761"/>
                    </a:lnTo>
                    <a:lnTo>
                      <a:pt x="770" y="761"/>
                    </a:lnTo>
                    <a:lnTo>
                      <a:pt x="770" y="757"/>
                    </a:lnTo>
                    <a:lnTo>
                      <a:pt x="768" y="756"/>
                    </a:lnTo>
                    <a:lnTo>
                      <a:pt x="764" y="757"/>
                    </a:lnTo>
                    <a:lnTo>
                      <a:pt x="763" y="756"/>
                    </a:lnTo>
                    <a:lnTo>
                      <a:pt x="760" y="752"/>
                    </a:lnTo>
                    <a:lnTo>
                      <a:pt x="760" y="752"/>
                    </a:lnTo>
                    <a:lnTo>
                      <a:pt x="757" y="752"/>
                    </a:lnTo>
                    <a:lnTo>
                      <a:pt x="755" y="749"/>
                    </a:lnTo>
                    <a:lnTo>
                      <a:pt x="757" y="748"/>
                    </a:lnTo>
                    <a:lnTo>
                      <a:pt x="757" y="744"/>
                    </a:lnTo>
                    <a:lnTo>
                      <a:pt x="764" y="746"/>
                    </a:lnTo>
                    <a:lnTo>
                      <a:pt x="766" y="745"/>
                    </a:lnTo>
                    <a:lnTo>
                      <a:pt x="763" y="744"/>
                    </a:lnTo>
                    <a:lnTo>
                      <a:pt x="763" y="739"/>
                    </a:lnTo>
                    <a:lnTo>
                      <a:pt x="760" y="738"/>
                    </a:lnTo>
                    <a:lnTo>
                      <a:pt x="757" y="737"/>
                    </a:lnTo>
                    <a:lnTo>
                      <a:pt x="755" y="737"/>
                    </a:lnTo>
                    <a:lnTo>
                      <a:pt x="755" y="737"/>
                    </a:lnTo>
                    <a:lnTo>
                      <a:pt x="752" y="735"/>
                    </a:lnTo>
                    <a:lnTo>
                      <a:pt x="749" y="733"/>
                    </a:lnTo>
                    <a:lnTo>
                      <a:pt x="745" y="734"/>
                    </a:lnTo>
                    <a:lnTo>
                      <a:pt x="742" y="737"/>
                    </a:lnTo>
                    <a:lnTo>
                      <a:pt x="742" y="737"/>
                    </a:lnTo>
                    <a:lnTo>
                      <a:pt x="738" y="735"/>
                    </a:lnTo>
                    <a:lnTo>
                      <a:pt x="736" y="734"/>
                    </a:lnTo>
                    <a:lnTo>
                      <a:pt x="732" y="733"/>
                    </a:lnTo>
                    <a:lnTo>
                      <a:pt x="730" y="729"/>
                    </a:lnTo>
                    <a:lnTo>
                      <a:pt x="726" y="729"/>
                    </a:lnTo>
                    <a:lnTo>
                      <a:pt x="726" y="729"/>
                    </a:lnTo>
                    <a:lnTo>
                      <a:pt x="725" y="722"/>
                    </a:lnTo>
                    <a:lnTo>
                      <a:pt x="723" y="718"/>
                    </a:lnTo>
                    <a:lnTo>
                      <a:pt x="722" y="715"/>
                    </a:lnTo>
                    <a:lnTo>
                      <a:pt x="715" y="714"/>
                    </a:lnTo>
                    <a:lnTo>
                      <a:pt x="714" y="712"/>
                    </a:lnTo>
                    <a:lnTo>
                      <a:pt x="714" y="712"/>
                    </a:lnTo>
                    <a:lnTo>
                      <a:pt x="707" y="712"/>
                    </a:lnTo>
                    <a:lnTo>
                      <a:pt x="702" y="715"/>
                    </a:lnTo>
                    <a:lnTo>
                      <a:pt x="700" y="714"/>
                    </a:lnTo>
                    <a:lnTo>
                      <a:pt x="698" y="712"/>
                    </a:lnTo>
                    <a:lnTo>
                      <a:pt x="691" y="706"/>
                    </a:lnTo>
                    <a:lnTo>
                      <a:pt x="691" y="706"/>
                    </a:lnTo>
                    <a:lnTo>
                      <a:pt x="688" y="704"/>
                    </a:lnTo>
                    <a:lnTo>
                      <a:pt x="687" y="703"/>
                    </a:lnTo>
                    <a:lnTo>
                      <a:pt x="683" y="696"/>
                    </a:lnTo>
                    <a:lnTo>
                      <a:pt x="680" y="689"/>
                    </a:lnTo>
                    <a:lnTo>
                      <a:pt x="677" y="682"/>
                    </a:lnTo>
                    <a:lnTo>
                      <a:pt x="675" y="681"/>
                    </a:lnTo>
                    <a:lnTo>
                      <a:pt x="669" y="672"/>
                    </a:lnTo>
                    <a:lnTo>
                      <a:pt x="669" y="674"/>
                    </a:lnTo>
                    <a:lnTo>
                      <a:pt x="673" y="682"/>
                    </a:lnTo>
                    <a:lnTo>
                      <a:pt x="676" y="684"/>
                    </a:lnTo>
                    <a:lnTo>
                      <a:pt x="676" y="684"/>
                    </a:lnTo>
                    <a:lnTo>
                      <a:pt x="680" y="695"/>
                    </a:lnTo>
                    <a:lnTo>
                      <a:pt x="683" y="701"/>
                    </a:lnTo>
                    <a:lnTo>
                      <a:pt x="687" y="706"/>
                    </a:lnTo>
                    <a:lnTo>
                      <a:pt x="687" y="706"/>
                    </a:lnTo>
                    <a:lnTo>
                      <a:pt x="691" y="707"/>
                    </a:lnTo>
                    <a:lnTo>
                      <a:pt x="691" y="707"/>
                    </a:lnTo>
                    <a:lnTo>
                      <a:pt x="695" y="711"/>
                    </a:lnTo>
                    <a:lnTo>
                      <a:pt x="698" y="714"/>
                    </a:lnTo>
                    <a:lnTo>
                      <a:pt x="698" y="716"/>
                    </a:lnTo>
                    <a:lnTo>
                      <a:pt x="691" y="710"/>
                    </a:lnTo>
                    <a:lnTo>
                      <a:pt x="690" y="710"/>
                    </a:lnTo>
                    <a:lnTo>
                      <a:pt x="685" y="707"/>
                    </a:lnTo>
                    <a:lnTo>
                      <a:pt x="680" y="710"/>
                    </a:lnTo>
                    <a:lnTo>
                      <a:pt x="679" y="716"/>
                    </a:lnTo>
                    <a:lnTo>
                      <a:pt x="673" y="718"/>
                    </a:lnTo>
                    <a:lnTo>
                      <a:pt x="669" y="718"/>
                    </a:lnTo>
                    <a:lnTo>
                      <a:pt x="669" y="712"/>
                    </a:lnTo>
                    <a:lnTo>
                      <a:pt x="668" y="708"/>
                    </a:lnTo>
                    <a:lnTo>
                      <a:pt x="665" y="707"/>
                    </a:lnTo>
                    <a:lnTo>
                      <a:pt x="662" y="707"/>
                    </a:lnTo>
                    <a:lnTo>
                      <a:pt x="658" y="707"/>
                    </a:lnTo>
                    <a:lnTo>
                      <a:pt x="660" y="726"/>
                    </a:lnTo>
                    <a:lnTo>
                      <a:pt x="660" y="730"/>
                    </a:lnTo>
                    <a:lnTo>
                      <a:pt x="656" y="733"/>
                    </a:lnTo>
                    <a:lnTo>
                      <a:pt x="653" y="734"/>
                    </a:lnTo>
                    <a:lnTo>
                      <a:pt x="652" y="734"/>
                    </a:lnTo>
                    <a:lnTo>
                      <a:pt x="648" y="737"/>
                    </a:lnTo>
                    <a:lnTo>
                      <a:pt x="635" y="738"/>
                    </a:lnTo>
                    <a:lnTo>
                      <a:pt x="633" y="739"/>
                    </a:lnTo>
                    <a:lnTo>
                      <a:pt x="630" y="741"/>
                    </a:lnTo>
                    <a:lnTo>
                      <a:pt x="629" y="739"/>
                    </a:lnTo>
                    <a:lnTo>
                      <a:pt x="627" y="733"/>
                    </a:lnTo>
                    <a:lnTo>
                      <a:pt x="624" y="731"/>
                    </a:lnTo>
                    <a:lnTo>
                      <a:pt x="620" y="731"/>
                    </a:lnTo>
                    <a:lnTo>
                      <a:pt x="618" y="734"/>
                    </a:lnTo>
                    <a:lnTo>
                      <a:pt x="611" y="738"/>
                    </a:lnTo>
                    <a:lnTo>
                      <a:pt x="607" y="742"/>
                    </a:lnTo>
                    <a:lnTo>
                      <a:pt x="601" y="741"/>
                    </a:lnTo>
                    <a:lnTo>
                      <a:pt x="600" y="741"/>
                    </a:lnTo>
                    <a:lnTo>
                      <a:pt x="597" y="742"/>
                    </a:lnTo>
                    <a:lnTo>
                      <a:pt x="593" y="744"/>
                    </a:lnTo>
                    <a:lnTo>
                      <a:pt x="592" y="744"/>
                    </a:lnTo>
                    <a:lnTo>
                      <a:pt x="588" y="745"/>
                    </a:lnTo>
                    <a:lnTo>
                      <a:pt x="585" y="745"/>
                    </a:lnTo>
                    <a:lnTo>
                      <a:pt x="582" y="744"/>
                    </a:lnTo>
                    <a:lnTo>
                      <a:pt x="578" y="744"/>
                    </a:lnTo>
                    <a:lnTo>
                      <a:pt x="576" y="744"/>
                    </a:lnTo>
                    <a:lnTo>
                      <a:pt x="574" y="746"/>
                    </a:lnTo>
                    <a:lnTo>
                      <a:pt x="574" y="748"/>
                    </a:lnTo>
                    <a:lnTo>
                      <a:pt x="572" y="748"/>
                    </a:lnTo>
                    <a:lnTo>
                      <a:pt x="572" y="749"/>
                    </a:lnTo>
                    <a:lnTo>
                      <a:pt x="567" y="750"/>
                    </a:lnTo>
                    <a:lnTo>
                      <a:pt x="566" y="750"/>
                    </a:lnTo>
                    <a:lnTo>
                      <a:pt x="563" y="750"/>
                    </a:lnTo>
                    <a:lnTo>
                      <a:pt x="559" y="746"/>
                    </a:lnTo>
                    <a:lnTo>
                      <a:pt x="557" y="741"/>
                    </a:lnTo>
                    <a:lnTo>
                      <a:pt x="550" y="734"/>
                    </a:lnTo>
                    <a:lnTo>
                      <a:pt x="550" y="731"/>
                    </a:lnTo>
                    <a:lnTo>
                      <a:pt x="550" y="731"/>
                    </a:lnTo>
                    <a:lnTo>
                      <a:pt x="553" y="723"/>
                    </a:lnTo>
                    <a:lnTo>
                      <a:pt x="551" y="720"/>
                    </a:lnTo>
                    <a:lnTo>
                      <a:pt x="551" y="718"/>
                    </a:lnTo>
                    <a:lnTo>
                      <a:pt x="553" y="719"/>
                    </a:lnTo>
                    <a:lnTo>
                      <a:pt x="554" y="718"/>
                    </a:lnTo>
                    <a:lnTo>
                      <a:pt x="555" y="716"/>
                    </a:lnTo>
                    <a:lnTo>
                      <a:pt x="554" y="711"/>
                    </a:lnTo>
                    <a:lnTo>
                      <a:pt x="553" y="708"/>
                    </a:lnTo>
                    <a:lnTo>
                      <a:pt x="551" y="703"/>
                    </a:lnTo>
                    <a:lnTo>
                      <a:pt x="555" y="697"/>
                    </a:lnTo>
                    <a:lnTo>
                      <a:pt x="558" y="695"/>
                    </a:lnTo>
                    <a:lnTo>
                      <a:pt x="559" y="689"/>
                    </a:lnTo>
                    <a:lnTo>
                      <a:pt x="561" y="687"/>
                    </a:lnTo>
                    <a:lnTo>
                      <a:pt x="562" y="678"/>
                    </a:lnTo>
                    <a:lnTo>
                      <a:pt x="561" y="673"/>
                    </a:lnTo>
                    <a:lnTo>
                      <a:pt x="550" y="658"/>
                    </a:lnTo>
                    <a:lnTo>
                      <a:pt x="544" y="657"/>
                    </a:lnTo>
                    <a:lnTo>
                      <a:pt x="539" y="653"/>
                    </a:lnTo>
                    <a:lnTo>
                      <a:pt x="535" y="654"/>
                    </a:lnTo>
                    <a:lnTo>
                      <a:pt x="532" y="659"/>
                    </a:lnTo>
                    <a:lnTo>
                      <a:pt x="528" y="662"/>
                    </a:lnTo>
                    <a:lnTo>
                      <a:pt x="523" y="664"/>
                    </a:lnTo>
                    <a:lnTo>
                      <a:pt x="517" y="655"/>
                    </a:lnTo>
                    <a:lnTo>
                      <a:pt x="510" y="654"/>
                    </a:lnTo>
                    <a:lnTo>
                      <a:pt x="501" y="645"/>
                    </a:lnTo>
                    <a:lnTo>
                      <a:pt x="500" y="640"/>
                    </a:lnTo>
                    <a:lnTo>
                      <a:pt x="498" y="639"/>
                    </a:lnTo>
                    <a:lnTo>
                      <a:pt x="496" y="639"/>
                    </a:lnTo>
                    <a:lnTo>
                      <a:pt x="496" y="632"/>
                    </a:lnTo>
                    <a:lnTo>
                      <a:pt x="494" y="630"/>
                    </a:lnTo>
                    <a:lnTo>
                      <a:pt x="491" y="626"/>
                    </a:lnTo>
                    <a:lnTo>
                      <a:pt x="489" y="620"/>
                    </a:lnTo>
                    <a:lnTo>
                      <a:pt x="491" y="615"/>
                    </a:lnTo>
                    <a:lnTo>
                      <a:pt x="490" y="613"/>
                    </a:lnTo>
                    <a:lnTo>
                      <a:pt x="482" y="612"/>
                    </a:lnTo>
                    <a:lnTo>
                      <a:pt x="479" y="611"/>
                    </a:lnTo>
                    <a:lnTo>
                      <a:pt x="475" y="607"/>
                    </a:lnTo>
                    <a:lnTo>
                      <a:pt x="475" y="607"/>
                    </a:lnTo>
                    <a:lnTo>
                      <a:pt x="472" y="604"/>
                    </a:lnTo>
                    <a:lnTo>
                      <a:pt x="474" y="600"/>
                    </a:lnTo>
                    <a:lnTo>
                      <a:pt x="477" y="600"/>
                    </a:lnTo>
                    <a:lnTo>
                      <a:pt x="479" y="598"/>
                    </a:lnTo>
                    <a:lnTo>
                      <a:pt x="481" y="598"/>
                    </a:lnTo>
                    <a:lnTo>
                      <a:pt x="482" y="596"/>
                    </a:lnTo>
                    <a:lnTo>
                      <a:pt x="479" y="583"/>
                    </a:lnTo>
                    <a:lnTo>
                      <a:pt x="477" y="581"/>
                    </a:lnTo>
                    <a:lnTo>
                      <a:pt x="477" y="575"/>
                    </a:lnTo>
                    <a:lnTo>
                      <a:pt x="477" y="573"/>
                    </a:lnTo>
                    <a:lnTo>
                      <a:pt x="474" y="569"/>
                    </a:lnTo>
                    <a:lnTo>
                      <a:pt x="472" y="560"/>
                    </a:lnTo>
                    <a:lnTo>
                      <a:pt x="471" y="559"/>
                    </a:lnTo>
                    <a:lnTo>
                      <a:pt x="468" y="559"/>
                    </a:lnTo>
                    <a:lnTo>
                      <a:pt x="467" y="560"/>
                    </a:lnTo>
                    <a:lnTo>
                      <a:pt x="463" y="560"/>
                    </a:lnTo>
                    <a:lnTo>
                      <a:pt x="463" y="555"/>
                    </a:lnTo>
                    <a:lnTo>
                      <a:pt x="460" y="545"/>
                    </a:lnTo>
                    <a:lnTo>
                      <a:pt x="453" y="543"/>
                    </a:lnTo>
                    <a:lnTo>
                      <a:pt x="448" y="536"/>
                    </a:lnTo>
                    <a:lnTo>
                      <a:pt x="444" y="535"/>
                    </a:lnTo>
                    <a:lnTo>
                      <a:pt x="443" y="531"/>
                    </a:lnTo>
                    <a:lnTo>
                      <a:pt x="440" y="528"/>
                    </a:lnTo>
                    <a:lnTo>
                      <a:pt x="439" y="525"/>
                    </a:lnTo>
                    <a:lnTo>
                      <a:pt x="436" y="525"/>
                    </a:lnTo>
                    <a:lnTo>
                      <a:pt x="433" y="525"/>
                    </a:lnTo>
                    <a:lnTo>
                      <a:pt x="430" y="524"/>
                    </a:lnTo>
                    <a:lnTo>
                      <a:pt x="424" y="521"/>
                    </a:lnTo>
                    <a:lnTo>
                      <a:pt x="420" y="517"/>
                    </a:lnTo>
                    <a:lnTo>
                      <a:pt x="417" y="517"/>
                    </a:lnTo>
                    <a:lnTo>
                      <a:pt x="410" y="521"/>
                    </a:lnTo>
                    <a:lnTo>
                      <a:pt x="402" y="540"/>
                    </a:lnTo>
                    <a:lnTo>
                      <a:pt x="395" y="545"/>
                    </a:lnTo>
                    <a:lnTo>
                      <a:pt x="395" y="548"/>
                    </a:lnTo>
                    <a:lnTo>
                      <a:pt x="391" y="551"/>
                    </a:lnTo>
                    <a:lnTo>
                      <a:pt x="392" y="554"/>
                    </a:lnTo>
                    <a:lnTo>
                      <a:pt x="390" y="558"/>
                    </a:lnTo>
                    <a:lnTo>
                      <a:pt x="384" y="562"/>
                    </a:lnTo>
                    <a:lnTo>
                      <a:pt x="383" y="563"/>
                    </a:lnTo>
                    <a:lnTo>
                      <a:pt x="379" y="564"/>
                    </a:lnTo>
                    <a:lnTo>
                      <a:pt x="376" y="569"/>
                    </a:lnTo>
                    <a:lnTo>
                      <a:pt x="375" y="569"/>
                    </a:lnTo>
                    <a:lnTo>
                      <a:pt x="372" y="570"/>
                    </a:lnTo>
                    <a:lnTo>
                      <a:pt x="368" y="570"/>
                    </a:lnTo>
                    <a:lnTo>
                      <a:pt x="364" y="567"/>
                    </a:lnTo>
                    <a:lnTo>
                      <a:pt x="361" y="569"/>
                    </a:lnTo>
                    <a:lnTo>
                      <a:pt x="364" y="570"/>
                    </a:lnTo>
                    <a:lnTo>
                      <a:pt x="365" y="582"/>
                    </a:lnTo>
                    <a:lnTo>
                      <a:pt x="364" y="585"/>
                    </a:lnTo>
                    <a:lnTo>
                      <a:pt x="360" y="586"/>
                    </a:lnTo>
                    <a:lnTo>
                      <a:pt x="357" y="588"/>
                    </a:lnTo>
                    <a:lnTo>
                      <a:pt x="354" y="589"/>
                    </a:lnTo>
                    <a:lnTo>
                      <a:pt x="356" y="594"/>
                    </a:lnTo>
                    <a:lnTo>
                      <a:pt x="363" y="598"/>
                    </a:lnTo>
                    <a:lnTo>
                      <a:pt x="364" y="600"/>
                    </a:lnTo>
                    <a:lnTo>
                      <a:pt x="363" y="602"/>
                    </a:lnTo>
                    <a:lnTo>
                      <a:pt x="363" y="604"/>
                    </a:lnTo>
                    <a:lnTo>
                      <a:pt x="365" y="607"/>
                    </a:lnTo>
                    <a:lnTo>
                      <a:pt x="371" y="607"/>
                    </a:lnTo>
                    <a:lnTo>
                      <a:pt x="372" y="608"/>
                    </a:lnTo>
                    <a:lnTo>
                      <a:pt x="376" y="617"/>
                    </a:lnTo>
                    <a:lnTo>
                      <a:pt x="378" y="619"/>
                    </a:lnTo>
                    <a:lnTo>
                      <a:pt x="376" y="621"/>
                    </a:lnTo>
                    <a:lnTo>
                      <a:pt x="373" y="624"/>
                    </a:lnTo>
                    <a:lnTo>
                      <a:pt x="372" y="627"/>
                    </a:lnTo>
                    <a:lnTo>
                      <a:pt x="376" y="628"/>
                    </a:lnTo>
                    <a:lnTo>
                      <a:pt x="375" y="632"/>
                    </a:lnTo>
                    <a:lnTo>
                      <a:pt x="376" y="636"/>
                    </a:lnTo>
                    <a:lnTo>
                      <a:pt x="371" y="642"/>
                    </a:lnTo>
                    <a:lnTo>
                      <a:pt x="364" y="640"/>
                    </a:lnTo>
                    <a:lnTo>
                      <a:pt x="363" y="639"/>
                    </a:lnTo>
                    <a:lnTo>
                      <a:pt x="363" y="638"/>
                    </a:lnTo>
                    <a:lnTo>
                      <a:pt x="357" y="642"/>
                    </a:lnTo>
                    <a:lnTo>
                      <a:pt x="353" y="645"/>
                    </a:lnTo>
                    <a:lnTo>
                      <a:pt x="350" y="645"/>
                    </a:lnTo>
                    <a:lnTo>
                      <a:pt x="349" y="646"/>
                    </a:lnTo>
                    <a:lnTo>
                      <a:pt x="345" y="650"/>
                    </a:lnTo>
                    <a:lnTo>
                      <a:pt x="341" y="649"/>
                    </a:lnTo>
                    <a:lnTo>
                      <a:pt x="338" y="650"/>
                    </a:lnTo>
                    <a:lnTo>
                      <a:pt x="340" y="651"/>
                    </a:lnTo>
                    <a:lnTo>
                      <a:pt x="344" y="651"/>
                    </a:lnTo>
                    <a:lnTo>
                      <a:pt x="344" y="654"/>
                    </a:lnTo>
                    <a:lnTo>
                      <a:pt x="344" y="655"/>
                    </a:lnTo>
                    <a:lnTo>
                      <a:pt x="338" y="657"/>
                    </a:lnTo>
                    <a:lnTo>
                      <a:pt x="337" y="659"/>
                    </a:lnTo>
                    <a:lnTo>
                      <a:pt x="335" y="666"/>
                    </a:lnTo>
                    <a:lnTo>
                      <a:pt x="337" y="666"/>
                    </a:lnTo>
                    <a:lnTo>
                      <a:pt x="340" y="669"/>
                    </a:lnTo>
                    <a:lnTo>
                      <a:pt x="340" y="670"/>
                    </a:lnTo>
                    <a:lnTo>
                      <a:pt x="341" y="672"/>
                    </a:lnTo>
                    <a:lnTo>
                      <a:pt x="338" y="673"/>
                    </a:lnTo>
                    <a:lnTo>
                      <a:pt x="337" y="677"/>
                    </a:lnTo>
                    <a:lnTo>
                      <a:pt x="337" y="681"/>
                    </a:lnTo>
                    <a:lnTo>
                      <a:pt x="335" y="684"/>
                    </a:lnTo>
                    <a:lnTo>
                      <a:pt x="335" y="685"/>
                    </a:lnTo>
                    <a:lnTo>
                      <a:pt x="334" y="687"/>
                    </a:lnTo>
                    <a:lnTo>
                      <a:pt x="334" y="691"/>
                    </a:lnTo>
                    <a:lnTo>
                      <a:pt x="329" y="697"/>
                    </a:lnTo>
                    <a:lnTo>
                      <a:pt x="329" y="699"/>
                    </a:lnTo>
                    <a:lnTo>
                      <a:pt x="325" y="701"/>
                    </a:lnTo>
                    <a:lnTo>
                      <a:pt x="321" y="701"/>
                    </a:lnTo>
                    <a:lnTo>
                      <a:pt x="319" y="701"/>
                    </a:lnTo>
                    <a:lnTo>
                      <a:pt x="318" y="699"/>
                    </a:lnTo>
                    <a:lnTo>
                      <a:pt x="316" y="696"/>
                    </a:lnTo>
                    <a:lnTo>
                      <a:pt x="318" y="695"/>
                    </a:lnTo>
                    <a:lnTo>
                      <a:pt x="322" y="695"/>
                    </a:lnTo>
                    <a:lnTo>
                      <a:pt x="323" y="695"/>
                    </a:lnTo>
                    <a:lnTo>
                      <a:pt x="325" y="695"/>
                    </a:lnTo>
                    <a:lnTo>
                      <a:pt x="326" y="693"/>
                    </a:lnTo>
                    <a:lnTo>
                      <a:pt x="326" y="691"/>
                    </a:lnTo>
                    <a:lnTo>
                      <a:pt x="321" y="687"/>
                    </a:lnTo>
                    <a:lnTo>
                      <a:pt x="326" y="682"/>
                    </a:lnTo>
                    <a:lnTo>
                      <a:pt x="325" y="681"/>
                    </a:lnTo>
                    <a:lnTo>
                      <a:pt x="325" y="680"/>
                    </a:lnTo>
                    <a:lnTo>
                      <a:pt x="325" y="680"/>
                    </a:lnTo>
                    <a:lnTo>
                      <a:pt x="326" y="676"/>
                    </a:lnTo>
                    <a:lnTo>
                      <a:pt x="327" y="674"/>
                    </a:lnTo>
                    <a:lnTo>
                      <a:pt x="327" y="673"/>
                    </a:lnTo>
                    <a:lnTo>
                      <a:pt x="318" y="673"/>
                    </a:lnTo>
                    <a:lnTo>
                      <a:pt x="308" y="687"/>
                    </a:lnTo>
                    <a:lnTo>
                      <a:pt x="310" y="691"/>
                    </a:lnTo>
                    <a:lnTo>
                      <a:pt x="310" y="691"/>
                    </a:lnTo>
                    <a:lnTo>
                      <a:pt x="311" y="692"/>
                    </a:lnTo>
                    <a:lnTo>
                      <a:pt x="312" y="693"/>
                    </a:lnTo>
                    <a:lnTo>
                      <a:pt x="314" y="696"/>
                    </a:lnTo>
                    <a:lnTo>
                      <a:pt x="314" y="699"/>
                    </a:lnTo>
                    <a:lnTo>
                      <a:pt x="314" y="700"/>
                    </a:lnTo>
                    <a:lnTo>
                      <a:pt x="312" y="701"/>
                    </a:lnTo>
                    <a:lnTo>
                      <a:pt x="307" y="703"/>
                    </a:lnTo>
                    <a:lnTo>
                      <a:pt x="306" y="703"/>
                    </a:lnTo>
                    <a:lnTo>
                      <a:pt x="303" y="701"/>
                    </a:lnTo>
                    <a:lnTo>
                      <a:pt x="302" y="699"/>
                    </a:lnTo>
                    <a:lnTo>
                      <a:pt x="295" y="696"/>
                    </a:lnTo>
                    <a:lnTo>
                      <a:pt x="295" y="696"/>
                    </a:lnTo>
                    <a:lnTo>
                      <a:pt x="291" y="699"/>
                    </a:lnTo>
                    <a:lnTo>
                      <a:pt x="291" y="700"/>
                    </a:lnTo>
                    <a:lnTo>
                      <a:pt x="287" y="700"/>
                    </a:lnTo>
                    <a:lnTo>
                      <a:pt x="287" y="699"/>
                    </a:lnTo>
                    <a:lnTo>
                      <a:pt x="288" y="693"/>
                    </a:lnTo>
                    <a:lnTo>
                      <a:pt x="295" y="691"/>
                    </a:lnTo>
                    <a:lnTo>
                      <a:pt x="293" y="691"/>
                    </a:lnTo>
                    <a:lnTo>
                      <a:pt x="293" y="689"/>
                    </a:lnTo>
                    <a:lnTo>
                      <a:pt x="292" y="688"/>
                    </a:lnTo>
                    <a:lnTo>
                      <a:pt x="289" y="688"/>
                    </a:lnTo>
                    <a:lnTo>
                      <a:pt x="288" y="688"/>
                    </a:lnTo>
                    <a:lnTo>
                      <a:pt x="284" y="689"/>
                    </a:lnTo>
                    <a:lnTo>
                      <a:pt x="281" y="689"/>
                    </a:lnTo>
                    <a:lnTo>
                      <a:pt x="280" y="691"/>
                    </a:lnTo>
                    <a:lnTo>
                      <a:pt x="280" y="692"/>
                    </a:lnTo>
                    <a:lnTo>
                      <a:pt x="277" y="692"/>
                    </a:lnTo>
                    <a:lnTo>
                      <a:pt x="276" y="691"/>
                    </a:lnTo>
                    <a:lnTo>
                      <a:pt x="276" y="687"/>
                    </a:lnTo>
                    <a:lnTo>
                      <a:pt x="276" y="687"/>
                    </a:lnTo>
                    <a:lnTo>
                      <a:pt x="278" y="685"/>
                    </a:lnTo>
                    <a:lnTo>
                      <a:pt x="281" y="681"/>
                    </a:lnTo>
                    <a:lnTo>
                      <a:pt x="280" y="681"/>
                    </a:lnTo>
                    <a:lnTo>
                      <a:pt x="277" y="681"/>
                    </a:lnTo>
                    <a:lnTo>
                      <a:pt x="273" y="682"/>
                    </a:lnTo>
                    <a:lnTo>
                      <a:pt x="270" y="682"/>
                    </a:lnTo>
                    <a:lnTo>
                      <a:pt x="269" y="684"/>
                    </a:lnTo>
                    <a:lnTo>
                      <a:pt x="269" y="684"/>
                    </a:lnTo>
                    <a:lnTo>
                      <a:pt x="266" y="685"/>
                    </a:lnTo>
                    <a:lnTo>
                      <a:pt x="266" y="685"/>
                    </a:lnTo>
                    <a:lnTo>
                      <a:pt x="265" y="685"/>
                    </a:lnTo>
                    <a:lnTo>
                      <a:pt x="265" y="685"/>
                    </a:lnTo>
                    <a:lnTo>
                      <a:pt x="264" y="687"/>
                    </a:lnTo>
                    <a:lnTo>
                      <a:pt x="261" y="691"/>
                    </a:lnTo>
                    <a:lnTo>
                      <a:pt x="258" y="695"/>
                    </a:lnTo>
                    <a:lnTo>
                      <a:pt x="257" y="697"/>
                    </a:lnTo>
                    <a:lnTo>
                      <a:pt x="257" y="699"/>
                    </a:lnTo>
                    <a:lnTo>
                      <a:pt x="253" y="700"/>
                    </a:lnTo>
                    <a:lnTo>
                      <a:pt x="250" y="700"/>
                    </a:lnTo>
                    <a:lnTo>
                      <a:pt x="240" y="696"/>
                    </a:lnTo>
                    <a:lnTo>
                      <a:pt x="236" y="693"/>
                    </a:lnTo>
                    <a:lnTo>
                      <a:pt x="235" y="693"/>
                    </a:lnTo>
                    <a:lnTo>
                      <a:pt x="234" y="693"/>
                    </a:lnTo>
                    <a:lnTo>
                      <a:pt x="232" y="695"/>
                    </a:lnTo>
                    <a:lnTo>
                      <a:pt x="230" y="699"/>
                    </a:lnTo>
                    <a:lnTo>
                      <a:pt x="224" y="696"/>
                    </a:lnTo>
                    <a:lnTo>
                      <a:pt x="223" y="696"/>
                    </a:lnTo>
                    <a:lnTo>
                      <a:pt x="223" y="695"/>
                    </a:lnTo>
                    <a:lnTo>
                      <a:pt x="219" y="689"/>
                    </a:lnTo>
                    <a:lnTo>
                      <a:pt x="212" y="689"/>
                    </a:lnTo>
                    <a:lnTo>
                      <a:pt x="208" y="687"/>
                    </a:lnTo>
                    <a:lnTo>
                      <a:pt x="202" y="680"/>
                    </a:lnTo>
                    <a:lnTo>
                      <a:pt x="201" y="673"/>
                    </a:lnTo>
                    <a:lnTo>
                      <a:pt x="194" y="668"/>
                    </a:lnTo>
                    <a:lnTo>
                      <a:pt x="190" y="662"/>
                    </a:lnTo>
                    <a:lnTo>
                      <a:pt x="188" y="662"/>
                    </a:lnTo>
                    <a:lnTo>
                      <a:pt x="185" y="665"/>
                    </a:lnTo>
                    <a:lnTo>
                      <a:pt x="183" y="664"/>
                    </a:lnTo>
                    <a:lnTo>
                      <a:pt x="179" y="650"/>
                    </a:lnTo>
                    <a:lnTo>
                      <a:pt x="179" y="650"/>
                    </a:lnTo>
                    <a:lnTo>
                      <a:pt x="179" y="650"/>
                    </a:lnTo>
                    <a:lnTo>
                      <a:pt x="181" y="649"/>
                    </a:lnTo>
                    <a:lnTo>
                      <a:pt x="179" y="649"/>
                    </a:lnTo>
                    <a:lnTo>
                      <a:pt x="178" y="649"/>
                    </a:lnTo>
                    <a:lnTo>
                      <a:pt x="177" y="650"/>
                    </a:lnTo>
                    <a:lnTo>
                      <a:pt x="174" y="650"/>
                    </a:lnTo>
                    <a:lnTo>
                      <a:pt x="163" y="651"/>
                    </a:lnTo>
                    <a:lnTo>
                      <a:pt x="160" y="650"/>
                    </a:lnTo>
                    <a:lnTo>
                      <a:pt x="154" y="647"/>
                    </a:lnTo>
                    <a:lnTo>
                      <a:pt x="148" y="647"/>
                    </a:lnTo>
                    <a:lnTo>
                      <a:pt x="137" y="649"/>
                    </a:lnTo>
                    <a:lnTo>
                      <a:pt x="135" y="650"/>
                    </a:lnTo>
                    <a:lnTo>
                      <a:pt x="133" y="651"/>
                    </a:lnTo>
                    <a:lnTo>
                      <a:pt x="124" y="647"/>
                    </a:lnTo>
                    <a:lnTo>
                      <a:pt x="118" y="645"/>
                    </a:lnTo>
                    <a:lnTo>
                      <a:pt x="116" y="640"/>
                    </a:lnTo>
                    <a:lnTo>
                      <a:pt x="116" y="631"/>
                    </a:lnTo>
                    <a:lnTo>
                      <a:pt x="116" y="628"/>
                    </a:lnTo>
                    <a:lnTo>
                      <a:pt x="113" y="615"/>
                    </a:lnTo>
                    <a:lnTo>
                      <a:pt x="110" y="609"/>
                    </a:lnTo>
                    <a:lnTo>
                      <a:pt x="112" y="598"/>
                    </a:lnTo>
                    <a:lnTo>
                      <a:pt x="108" y="597"/>
                    </a:lnTo>
                    <a:lnTo>
                      <a:pt x="108" y="594"/>
                    </a:lnTo>
                    <a:lnTo>
                      <a:pt x="105" y="590"/>
                    </a:lnTo>
                    <a:lnTo>
                      <a:pt x="103" y="590"/>
                    </a:lnTo>
                    <a:lnTo>
                      <a:pt x="102" y="592"/>
                    </a:lnTo>
                    <a:lnTo>
                      <a:pt x="98" y="594"/>
                    </a:lnTo>
                    <a:lnTo>
                      <a:pt x="97" y="594"/>
                    </a:lnTo>
                    <a:lnTo>
                      <a:pt x="95" y="593"/>
                    </a:lnTo>
                    <a:lnTo>
                      <a:pt x="94" y="592"/>
                    </a:lnTo>
                    <a:lnTo>
                      <a:pt x="94" y="590"/>
                    </a:lnTo>
                    <a:lnTo>
                      <a:pt x="90" y="589"/>
                    </a:lnTo>
                    <a:lnTo>
                      <a:pt x="90" y="589"/>
                    </a:lnTo>
                    <a:lnTo>
                      <a:pt x="86" y="589"/>
                    </a:lnTo>
                    <a:lnTo>
                      <a:pt x="80" y="586"/>
                    </a:lnTo>
                    <a:lnTo>
                      <a:pt x="79" y="583"/>
                    </a:lnTo>
                    <a:lnTo>
                      <a:pt x="78" y="581"/>
                    </a:lnTo>
                    <a:lnTo>
                      <a:pt x="78" y="579"/>
                    </a:lnTo>
                    <a:lnTo>
                      <a:pt x="76" y="575"/>
                    </a:lnTo>
                    <a:lnTo>
                      <a:pt x="76" y="574"/>
                    </a:lnTo>
                    <a:lnTo>
                      <a:pt x="75" y="573"/>
                    </a:lnTo>
                    <a:lnTo>
                      <a:pt x="72" y="570"/>
                    </a:lnTo>
                    <a:lnTo>
                      <a:pt x="68" y="563"/>
                    </a:lnTo>
                    <a:lnTo>
                      <a:pt x="67" y="563"/>
                    </a:lnTo>
                    <a:lnTo>
                      <a:pt x="65" y="563"/>
                    </a:lnTo>
                    <a:lnTo>
                      <a:pt x="64" y="562"/>
                    </a:lnTo>
                    <a:lnTo>
                      <a:pt x="64" y="558"/>
                    </a:lnTo>
                    <a:lnTo>
                      <a:pt x="65" y="555"/>
                    </a:lnTo>
                    <a:lnTo>
                      <a:pt x="65" y="555"/>
                    </a:lnTo>
                    <a:lnTo>
                      <a:pt x="65" y="555"/>
                    </a:lnTo>
                    <a:lnTo>
                      <a:pt x="65" y="554"/>
                    </a:lnTo>
                    <a:lnTo>
                      <a:pt x="63" y="552"/>
                    </a:lnTo>
                    <a:lnTo>
                      <a:pt x="60" y="554"/>
                    </a:lnTo>
                    <a:lnTo>
                      <a:pt x="51" y="552"/>
                    </a:lnTo>
                    <a:lnTo>
                      <a:pt x="41" y="544"/>
                    </a:lnTo>
                    <a:lnTo>
                      <a:pt x="40" y="539"/>
                    </a:lnTo>
                    <a:lnTo>
                      <a:pt x="29" y="524"/>
                    </a:lnTo>
                    <a:lnTo>
                      <a:pt x="29" y="524"/>
                    </a:lnTo>
                    <a:lnTo>
                      <a:pt x="26" y="521"/>
                    </a:lnTo>
                    <a:lnTo>
                      <a:pt x="23" y="517"/>
                    </a:lnTo>
                    <a:lnTo>
                      <a:pt x="18" y="513"/>
                    </a:lnTo>
                    <a:lnTo>
                      <a:pt x="13" y="508"/>
                    </a:lnTo>
                    <a:lnTo>
                      <a:pt x="8" y="506"/>
                    </a:lnTo>
                    <a:lnTo>
                      <a:pt x="7" y="503"/>
                    </a:lnTo>
                    <a:lnTo>
                      <a:pt x="8" y="499"/>
                    </a:lnTo>
                    <a:lnTo>
                      <a:pt x="8" y="499"/>
                    </a:lnTo>
                    <a:lnTo>
                      <a:pt x="11" y="497"/>
                    </a:lnTo>
                    <a:lnTo>
                      <a:pt x="13" y="495"/>
                    </a:lnTo>
                    <a:lnTo>
                      <a:pt x="8" y="493"/>
                    </a:lnTo>
                    <a:lnTo>
                      <a:pt x="4" y="491"/>
                    </a:lnTo>
                    <a:lnTo>
                      <a:pt x="2" y="489"/>
                    </a:lnTo>
                    <a:lnTo>
                      <a:pt x="0" y="487"/>
                    </a:lnTo>
                    <a:lnTo>
                      <a:pt x="2" y="486"/>
                    </a:lnTo>
                    <a:lnTo>
                      <a:pt x="18" y="486"/>
                    </a:lnTo>
                    <a:lnTo>
                      <a:pt x="25" y="482"/>
                    </a:lnTo>
                    <a:lnTo>
                      <a:pt x="25" y="482"/>
                    </a:lnTo>
                    <a:lnTo>
                      <a:pt x="29" y="482"/>
                    </a:lnTo>
                    <a:lnTo>
                      <a:pt x="30" y="480"/>
                    </a:lnTo>
                    <a:lnTo>
                      <a:pt x="30" y="479"/>
                    </a:lnTo>
                    <a:lnTo>
                      <a:pt x="29" y="478"/>
                    </a:lnTo>
                    <a:lnTo>
                      <a:pt x="30" y="476"/>
                    </a:lnTo>
                    <a:lnTo>
                      <a:pt x="30" y="475"/>
                    </a:lnTo>
                    <a:lnTo>
                      <a:pt x="48" y="475"/>
                    </a:lnTo>
                    <a:lnTo>
                      <a:pt x="49" y="467"/>
                    </a:lnTo>
                    <a:lnTo>
                      <a:pt x="48" y="463"/>
                    </a:lnTo>
                    <a:lnTo>
                      <a:pt x="57" y="449"/>
                    </a:lnTo>
                    <a:lnTo>
                      <a:pt x="60" y="445"/>
                    </a:lnTo>
                    <a:lnTo>
                      <a:pt x="59" y="442"/>
                    </a:lnTo>
                    <a:lnTo>
                      <a:pt x="63" y="440"/>
                    </a:lnTo>
                    <a:lnTo>
                      <a:pt x="65" y="440"/>
                    </a:lnTo>
                    <a:lnTo>
                      <a:pt x="65" y="440"/>
                    </a:lnTo>
                    <a:lnTo>
                      <a:pt x="67" y="440"/>
                    </a:lnTo>
                    <a:lnTo>
                      <a:pt x="71" y="441"/>
                    </a:lnTo>
                    <a:lnTo>
                      <a:pt x="72" y="440"/>
                    </a:lnTo>
                    <a:lnTo>
                      <a:pt x="72" y="440"/>
                    </a:lnTo>
                    <a:lnTo>
                      <a:pt x="75" y="440"/>
                    </a:lnTo>
                    <a:lnTo>
                      <a:pt x="78" y="440"/>
                    </a:lnTo>
                    <a:lnTo>
                      <a:pt x="79" y="442"/>
                    </a:lnTo>
                    <a:lnTo>
                      <a:pt x="87" y="446"/>
                    </a:lnTo>
                    <a:lnTo>
                      <a:pt x="108" y="445"/>
                    </a:lnTo>
                    <a:lnTo>
                      <a:pt x="116" y="445"/>
                    </a:lnTo>
                    <a:lnTo>
                      <a:pt x="117" y="446"/>
                    </a:lnTo>
                    <a:lnTo>
                      <a:pt x="118" y="446"/>
                    </a:lnTo>
                    <a:lnTo>
                      <a:pt x="121" y="445"/>
                    </a:lnTo>
                    <a:lnTo>
                      <a:pt x="125" y="442"/>
                    </a:lnTo>
                    <a:lnTo>
                      <a:pt x="128" y="440"/>
                    </a:lnTo>
                    <a:lnTo>
                      <a:pt x="127" y="437"/>
                    </a:lnTo>
                    <a:lnTo>
                      <a:pt x="125" y="436"/>
                    </a:lnTo>
                    <a:lnTo>
                      <a:pt x="128" y="432"/>
                    </a:lnTo>
                    <a:lnTo>
                      <a:pt x="133" y="426"/>
                    </a:lnTo>
                    <a:lnTo>
                      <a:pt x="135" y="425"/>
                    </a:lnTo>
                    <a:lnTo>
                      <a:pt x="137" y="422"/>
                    </a:lnTo>
                    <a:lnTo>
                      <a:pt x="137" y="418"/>
                    </a:lnTo>
                    <a:lnTo>
                      <a:pt x="140" y="417"/>
                    </a:lnTo>
                    <a:lnTo>
                      <a:pt x="143" y="417"/>
                    </a:lnTo>
                    <a:lnTo>
                      <a:pt x="150" y="415"/>
                    </a:lnTo>
                    <a:lnTo>
                      <a:pt x="152" y="413"/>
                    </a:lnTo>
                    <a:lnTo>
                      <a:pt x="152" y="408"/>
                    </a:lnTo>
                    <a:lnTo>
                      <a:pt x="154" y="406"/>
                    </a:lnTo>
                    <a:lnTo>
                      <a:pt x="166" y="403"/>
                    </a:lnTo>
                    <a:lnTo>
                      <a:pt x="170" y="400"/>
                    </a:lnTo>
                    <a:lnTo>
                      <a:pt x="175" y="400"/>
                    </a:lnTo>
                    <a:lnTo>
                      <a:pt x="177" y="396"/>
                    </a:lnTo>
                    <a:lnTo>
                      <a:pt x="173" y="392"/>
                    </a:lnTo>
                    <a:lnTo>
                      <a:pt x="173" y="388"/>
                    </a:lnTo>
                    <a:lnTo>
                      <a:pt x="171" y="387"/>
                    </a:lnTo>
                    <a:lnTo>
                      <a:pt x="164" y="389"/>
                    </a:lnTo>
                    <a:lnTo>
                      <a:pt x="159" y="394"/>
                    </a:lnTo>
                    <a:lnTo>
                      <a:pt x="152" y="392"/>
                    </a:lnTo>
                    <a:lnTo>
                      <a:pt x="148" y="392"/>
                    </a:lnTo>
                    <a:lnTo>
                      <a:pt x="143" y="385"/>
                    </a:lnTo>
                    <a:lnTo>
                      <a:pt x="139" y="385"/>
                    </a:lnTo>
                    <a:lnTo>
                      <a:pt x="133" y="380"/>
                    </a:lnTo>
                    <a:lnTo>
                      <a:pt x="131" y="383"/>
                    </a:lnTo>
                    <a:lnTo>
                      <a:pt x="127" y="385"/>
                    </a:lnTo>
                    <a:lnTo>
                      <a:pt x="122" y="384"/>
                    </a:lnTo>
                    <a:lnTo>
                      <a:pt x="121" y="385"/>
                    </a:lnTo>
                    <a:lnTo>
                      <a:pt x="120" y="387"/>
                    </a:lnTo>
                    <a:lnTo>
                      <a:pt x="118" y="384"/>
                    </a:lnTo>
                    <a:lnTo>
                      <a:pt x="117" y="380"/>
                    </a:lnTo>
                    <a:lnTo>
                      <a:pt x="117" y="380"/>
                    </a:lnTo>
                    <a:lnTo>
                      <a:pt x="114" y="373"/>
                    </a:lnTo>
                    <a:lnTo>
                      <a:pt x="112" y="370"/>
                    </a:lnTo>
                    <a:lnTo>
                      <a:pt x="102" y="369"/>
                    </a:lnTo>
                    <a:lnTo>
                      <a:pt x="99" y="366"/>
                    </a:lnTo>
                    <a:lnTo>
                      <a:pt x="97" y="362"/>
                    </a:lnTo>
                    <a:lnTo>
                      <a:pt x="95" y="358"/>
                    </a:lnTo>
                    <a:lnTo>
                      <a:pt x="98" y="356"/>
                    </a:lnTo>
                    <a:lnTo>
                      <a:pt x="99" y="353"/>
                    </a:lnTo>
                    <a:lnTo>
                      <a:pt x="99" y="350"/>
                    </a:lnTo>
                    <a:lnTo>
                      <a:pt x="98" y="347"/>
                    </a:lnTo>
                    <a:lnTo>
                      <a:pt x="95" y="347"/>
                    </a:lnTo>
                    <a:lnTo>
                      <a:pt x="95" y="343"/>
                    </a:lnTo>
                    <a:lnTo>
                      <a:pt x="102" y="343"/>
                    </a:lnTo>
                    <a:lnTo>
                      <a:pt x="105" y="341"/>
                    </a:lnTo>
                    <a:lnTo>
                      <a:pt x="108" y="342"/>
                    </a:lnTo>
                    <a:lnTo>
                      <a:pt x="110" y="339"/>
                    </a:lnTo>
                    <a:lnTo>
                      <a:pt x="116" y="330"/>
                    </a:lnTo>
                    <a:lnTo>
                      <a:pt x="118" y="326"/>
                    </a:lnTo>
                    <a:lnTo>
                      <a:pt x="128" y="322"/>
                    </a:lnTo>
                    <a:lnTo>
                      <a:pt x="132" y="322"/>
                    </a:lnTo>
                    <a:lnTo>
                      <a:pt x="132" y="323"/>
                    </a:lnTo>
                    <a:lnTo>
                      <a:pt x="132" y="324"/>
                    </a:lnTo>
                    <a:lnTo>
                      <a:pt x="136" y="331"/>
                    </a:lnTo>
                    <a:lnTo>
                      <a:pt x="144" y="333"/>
                    </a:lnTo>
                    <a:lnTo>
                      <a:pt x="147" y="339"/>
                    </a:lnTo>
                    <a:lnTo>
                      <a:pt x="151" y="341"/>
                    </a:lnTo>
                    <a:lnTo>
                      <a:pt x="158" y="341"/>
                    </a:lnTo>
                    <a:lnTo>
                      <a:pt x="158" y="339"/>
                    </a:lnTo>
                    <a:lnTo>
                      <a:pt x="160" y="337"/>
                    </a:lnTo>
                    <a:lnTo>
                      <a:pt x="163" y="333"/>
                    </a:lnTo>
                    <a:lnTo>
                      <a:pt x="169" y="330"/>
                    </a:lnTo>
                    <a:lnTo>
                      <a:pt x="179" y="326"/>
                    </a:lnTo>
                    <a:lnTo>
                      <a:pt x="189" y="318"/>
                    </a:lnTo>
                    <a:lnTo>
                      <a:pt x="197" y="312"/>
                    </a:lnTo>
                    <a:lnTo>
                      <a:pt x="201" y="315"/>
                    </a:lnTo>
                    <a:lnTo>
                      <a:pt x="213" y="316"/>
                    </a:lnTo>
                    <a:lnTo>
                      <a:pt x="217" y="312"/>
                    </a:lnTo>
                    <a:lnTo>
                      <a:pt x="221" y="314"/>
                    </a:lnTo>
                    <a:lnTo>
                      <a:pt x="223" y="316"/>
                    </a:lnTo>
                    <a:lnTo>
                      <a:pt x="226" y="316"/>
                    </a:lnTo>
                    <a:lnTo>
                      <a:pt x="227" y="316"/>
                    </a:lnTo>
                    <a:lnTo>
                      <a:pt x="228" y="318"/>
                    </a:lnTo>
                    <a:lnTo>
                      <a:pt x="231" y="318"/>
                    </a:lnTo>
                    <a:lnTo>
                      <a:pt x="232" y="316"/>
                    </a:lnTo>
                    <a:lnTo>
                      <a:pt x="232" y="314"/>
                    </a:lnTo>
                    <a:lnTo>
                      <a:pt x="230" y="307"/>
                    </a:lnTo>
                    <a:lnTo>
                      <a:pt x="231" y="303"/>
                    </a:lnTo>
                    <a:lnTo>
                      <a:pt x="230" y="292"/>
                    </a:lnTo>
                    <a:lnTo>
                      <a:pt x="230" y="288"/>
                    </a:lnTo>
                    <a:lnTo>
                      <a:pt x="230" y="286"/>
                    </a:lnTo>
                    <a:lnTo>
                      <a:pt x="232" y="281"/>
                    </a:lnTo>
                    <a:lnTo>
                      <a:pt x="238" y="276"/>
                    </a:lnTo>
                    <a:lnTo>
                      <a:pt x="246" y="271"/>
                    </a:lnTo>
                    <a:lnTo>
                      <a:pt x="247" y="270"/>
                    </a:lnTo>
                    <a:lnTo>
                      <a:pt x="247" y="270"/>
                    </a:lnTo>
                    <a:lnTo>
                      <a:pt x="254" y="266"/>
                    </a:lnTo>
                    <a:lnTo>
                      <a:pt x="255" y="265"/>
                    </a:lnTo>
                    <a:lnTo>
                      <a:pt x="255" y="263"/>
                    </a:lnTo>
                    <a:lnTo>
                      <a:pt x="255" y="262"/>
                    </a:lnTo>
                    <a:lnTo>
                      <a:pt x="255" y="262"/>
                    </a:lnTo>
                    <a:lnTo>
                      <a:pt x="257" y="261"/>
                    </a:lnTo>
                    <a:lnTo>
                      <a:pt x="258" y="258"/>
                    </a:lnTo>
                    <a:lnTo>
                      <a:pt x="259" y="257"/>
                    </a:lnTo>
                    <a:lnTo>
                      <a:pt x="259" y="252"/>
                    </a:lnTo>
                    <a:lnTo>
                      <a:pt x="259" y="251"/>
                    </a:lnTo>
                    <a:lnTo>
                      <a:pt x="261" y="250"/>
                    </a:lnTo>
                    <a:lnTo>
                      <a:pt x="264" y="244"/>
                    </a:lnTo>
                    <a:lnTo>
                      <a:pt x="264" y="240"/>
                    </a:lnTo>
                    <a:lnTo>
                      <a:pt x="268" y="236"/>
                    </a:lnTo>
                    <a:lnTo>
                      <a:pt x="268" y="228"/>
                    </a:lnTo>
                    <a:lnTo>
                      <a:pt x="265" y="224"/>
                    </a:lnTo>
                    <a:lnTo>
                      <a:pt x="265" y="221"/>
                    </a:lnTo>
                    <a:lnTo>
                      <a:pt x="268" y="209"/>
                    </a:lnTo>
                    <a:lnTo>
                      <a:pt x="265" y="201"/>
                    </a:lnTo>
                    <a:lnTo>
                      <a:pt x="265" y="197"/>
                    </a:lnTo>
                    <a:lnTo>
                      <a:pt x="266" y="196"/>
                    </a:lnTo>
                    <a:lnTo>
                      <a:pt x="270" y="193"/>
                    </a:lnTo>
                    <a:lnTo>
                      <a:pt x="277" y="190"/>
                    </a:lnTo>
                    <a:lnTo>
                      <a:pt x="284" y="191"/>
                    </a:lnTo>
                    <a:lnTo>
                      <a:pt x="284" y="190"/>
                    </a:lnTo>
                    <a:lnTo>
                      <a:pt x="281" y="186"/>
                    </a:lnTo>
                    <a:lnTo>
                      <a:pt x="283" y="182"/>
                    </a:lnTo>
                    <a:lnTo>
                      <a:pt x="281" y="179"/>
                    </a:lnTo>
                    <a:lnTo>
                      <a:pt x="283" y="177"/>
                    </a:lnTo>
                    <a:lnTo>
                      <a:pt x="281" y="166"/>
                    </a:lnTo>
                    <a:lnTo>
                      <a:pt x="285" y="160"/>
                    </a:lnTo>
                    <a:lnTo>
                      <a:pt x="287" y="158"/>
                    </a:lnTo>
                    <a:lnTo>
                      <a:pt x="284" y="153"/>
                    </a:lnTo>
                    <a:lnTo>
                      <a:pt x="288" y="144"/>
                    </a:lnTo>
                    <a:lnTo>
                      <a:pt x="292" y="141"/>
                    </a:lnTo>
                    <a:lnTo>
                      <a:pt x="297" y="134"/>
                    </a:lnTo>
                    <a:lnTo>
                      <a:pt x="300" y="130"/>
                    </a:lnTo>
                    <a:lnTo>
                      <a:pt x="306" y="126"/>
                    </a:lnTo>
                    <a:lnTo>
                      <a:pt x="307" y="125"/>
                    </a:lnTo>
                    <a:lnTo>
                      <a:pt x="310" y="124"/>
                    </a:lnTo>
                    <a:lnTo>
                      <a:pt x="315" y="128"/>
                    </a:lnTo>
                    <a:lnTo>
                      <a:pt x="318" y="125"/>
                    </a:lnTo>
                    <a:lnTo>
                      <a:pt x="321" y="124"/>
                    </a:lnTo>
                    <a:lnTo>
                      <a:pt x="329" y="125"/>
                    </a:lnTo>
                    <a:lnTo>
                      <a:pt x="330" y="124"/>
                    </a:lnTo>
                    <a:lnTo>
                      <a:pt x="333" y="118"/>
                    </a:lnTo>
                    <a:lnTo>
                      <a:pt x="333" y="115"/>
                    </a:lnTo>
                    <a:lnTo>
                      <a:pt x="338" y="11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5" name="Freeform 369">
                <a:extLst>
                  <a:ext uri="{FF2B5EF4-FFF2-40B4-BE49-F238E27FC236}">
                    <a16:creationId xmlns:a16="http://schemas.microsoft.com/office/drawing/2014/main" id="{7FC7C3D7-5C92-4AFB-9C9C-A8EF1E35AE12}"/>
                  </a:ext>
                </a:extLst>
              </p:cNvPr>
              <p:cNvSpPr>
                <a:spLocks/>
              </p:cNvSpPr>
              <p:nvPr/>
            </p:nvSpPr>
            <p:spPr bwMode="auto">
              <a:xfrm>
                <a:off x="892175" y="3571944"/>
                <a:ext cx="1293813" cy="1933575"/>
              </a:xfrm>
              <a:custGeom>
                <a:avLst/>
                <a:gdLst>
                  <a:gd name="T0" fmla="*/ 1145 w 1629"/>
                  <a:gd name="T1" fmla="*/ 37 h 2437"/>
                  <a:gd name="T2" fmla="*/ 1094 w 1629"/>
                  <a:gd name="T3" fmla="*/ 209 h 2437"/>
                  <a:gd name="T4" fmla="*/ 1023 w 1629"/>
                  <a:gd name="T5" fmla="*/ 71 h 2437"/>
                  <a:gd name="T6" fmla="*/ 986 w 1629"/>
                  <a:gd name="T7" fmla="*/ 125 h 2437"/>
                  <a:gd name="T8" fmla="*/ 906 w 1629"/>
                  <a:gd name="T9" fmla="*/ 133 h 2437"/>
                  <a:gd name="T10" fmla="*/ 786 w 1629"/>
                  <a:gd name="T11" fmla="*/ 211 h 2437"/>
                  <a:gd name="T12" fmla="*/ 778 w 1629"/>
                  <a:gd name="T13" fmla="*/ 314 h 2437"/>
                  <a:gd name="T14" fmla="*/ 700 w 1629"/>
                  <a:gd name="T15" fmla="*/ 372 h 2437"/>
                  <a:gd name="T16" fmla="*/ 679 w 1629"/>
                  <a:gd name="T17" fmla="*/ 472 h 2437"/>
                  <a:gd name="T18" fmla="*/ 824 w 1629"/>
                  <a:gd name="T19" fmla="*/ 468 h 2437"/>
                  <a:gd name="T20" fmla="*/ 744 w 1629"/>
                  <a:gd name="T21" fmla="*/ 576 h 2437"/>
                  <a:gd name="T22" fmla="*/ 716 w 1629"/>
                  <a:gd name="T23" fmla="*/ 681 h 2437"/>
                  <a:gd name="T24" fmla="*/ 526 w 1629"/>
                  <a:gd name="T25" fmla="*/ 675 h 2437"/>
                  <a:gd name="T26" fmla="*/ 397 w 1629"/>
                  <a:gd name="T27" fmla="*/ 672 h 2437"/>
                  <a:gd name="T28" fmla="*/ 219 w 1629"/>
                  <a:gd name="T29" fmla="*/ 695 h 2437"/>
                  <a:gd name="T30" fmla="*/ 149 w 1629"/>
                  <a:gd name="T31" fmla="*/ 726 h 2437"/>
                  <a:gd name="T32" fmla="*/ 188 w 1629"/>
                  <a:gd name="T33" fmla="*/ 768 h 2437"/>
                  <a:gd name="T34" fmla="*/ 225 w 1629"/>
                  <a:gd name="T35" fmla="*/ 856 h 2437"/>
                  <a:gd name="T36" fmla="*/ 267 w 1629"/>
                  <a:gd name="T37" fmla="*/ 924 h 2437"/>
                  <a:gd name="T38" fmla="*/ 314 w 1629"/>
                  <a:gd name="T39" fmla="*/ 974 h 2437"/>
                  <a:gd name="T40" fmla="*/ 227 w 1629"/>
                  <a:gd name="T41" fmla="*/ 1095 h 2437"/>
                  <a:gd name="T42" fmla="*/ 123 w 1629"/>
                  <a:gd name="T43" fmla="*/ 1149 h 2437"/>
                  <a:gd name="T44" fmla="*/ 119 w 1629"/>
                  <a:gd name="T45" fmla="*/ 1202 h 2437"/>
                  <a:gd name="T46" fmla="*/ 241 w 1629"/>
                  <a:gd name="T47" fmla="*/ 1228 h 2437"/>
                  <a:gd name="T48" fmla="*/ 310 w 1629"/>
                  <a:gd name="T49" fmla="*/ 1246 h 2437"/>
                  <a:gd name="T50" fmla="*/ 328 w 1629"/>
                  <a:gd name="T51" fmla="*/ 1304 h 2437"/>
                  <a:gd name="T52" fmla="*/ 538 w 1629"/>
                  <a:gd name="T53" fmla="*/ 1333 h 2437"/>
                  <a:gd name="T54" fmla="*/ 502 w 1629"/>
                  <a:gd name="T55" fmla="*/ 1379 h 2437"/>
                  <a:gd name="T56" fmla="*/ 379 w 1629"/>
                  <a:gd name="T57" fmla="*/ 1579 h 2437"/>
                  <a:gd name="T58" fmla="*/ 222 w 1629"/>
                  <a:gd name="T59" fmla="*/ 1744 h 2437"/>
                  <a:gd name="T60" fmla="*/ 426 w 1629"/>
                  <a:gd name="T61" fmla="*/ 1731 h 2437"/>
                  <a:gd name="T62" fmla="*/ 579 w 1629"/>
                  <a:gd name="T63" fmla="*/ 1664 h 2437"/>
                  <a:gd name="T64" fmla="*/ 538 w 1629"/>
                  <a:gd name="T65" fmla="*/ 1703 h 2437"/>
                  <a:gd name="T66" fmla="*/ 290 w 1629"/>
                  <a:gd name="T67" fmla="*/ 1767 h 2437"/>
                  <a:gd name="T68" fmla="*/ 265 w 1629"/>
                  <a:gd name="T69" fmla="*/ 1936 h 2437"/>
                  <a:gd name="T70" fmla="*/ 50 w 1629"/>
                  <a:gd name="T71" fmla="*/ 1948 h 2437"/>
                  <a:gd name="T72" fmla="*/ 92 w 1629"/>
                  <a:gd name="T73" fmla="*/ 2015 h 2437"/>
                  <a:gd name="T74" fmla="*/ 210 w 1629"/>
                  <a:gd name="T75" fmla="*/ 2013 h 2437"/>
                  <a:gd name="T76" fmla="*/ 80 w 1629"/>
                  <a:gd name="T77" fmla="*/ 2134 h 2437"/>
                  <a:gd name="T78" fmla="*/ 120 w 1629"/>
                  <a:gd name="T79" fmla="*/ 2243 h 2437"/>
                  <a:gd name="T80" fmla="*/ 332 w 1629"/>
                  <a:gd name="T81" fmla="*/ 2168 h 2437"/>
                  <a:gd name="T82" fmla="*/ 152 w 1629"/>
                  <a:gd name="T83" fmla="*/ 2300 h 2437"/>
                  <a:gd name="T84" fmla="*/ 271 w 1629"/>
                  <a:gd name="T85" fmla="*/ 2298 h 2437"/>
                  <a:gd name="T86" fmla="*/ 240 w 1629"/>
                  <a:gd name="T87" fmla="*/ 2369 h 2437"/>
                  <a:gd name="T88" fmla="*/ 253 w 1629"/>
                  <a:gd name="T89" fmla="*/ 2419 h 2437"/>
                  <a:gd name="T90" fmla="*/ 384 w 1629"/>
                  <a:gd name="T91" fmla="*/ 2395 h 2437"/>
                  <a:gd name="T92" fmla="*/ 473 w 1629"/>
                  <a:gd name="T93" fmla="*/ 2395 h 2437"/>
                  <a:gd name="T94" fmla="*/ 592 w 1629"/>
                  <a:gd name="T95" fmla="*/ 2346 h 2437"/>
                  <a:gd name="T96" fmla="*/ 717 w 1629"/>
                  <a:gd name="T97" fmla="*/ 2281 h 2437"/>
                  <a:gd name="T98" fmla="*/ 774 w 1629"/>
                  <a:gd name="T99" fmla="*/ 2240 h 2437"/>
                  <a:gd name="T100" fmla="*/ 804 w 1629"/>
                  <a:gd name="T101" fmla="*/ 2168 h 2437"/>
                  <a:gd name="T102" fmla="*/ 944 w 1629"/>
                  <a:gd name="T103" fmla="*/ 2165 h 2437"/>
                  <a:gd name="T104" fmla="*/ 1044 w 1629"/>
                  <a:gd name="T105" fmla="*/ 2054 h 2437"/>
                  <a:gd name="T106" fmla="*/ 1230 w 1629"/>
                  <a:gd name="T107" fmla="*/ 2016 h 2437"/>
                  <a:gd name="T108" fmla="*/ 1328 w 1629"/>
                  <a:gd name="T109" fmla="*/ 1958 h 2437"/>
                  <a:gd name="T110" fmla="*/ 1487 w 1629"/>
                  <a:gd name="T111" fmla="*/ 1912 h 2437"/>
                  <a:gd name="T112" fmla="*/ 1579 w 1629"/>
                  <a:gd name="T113" fmla="*/ 1605 h 2437"/>
                  <a:gd name="T114" fmla="*/ 1606 w 1629"/>
                  <a:gd name="T115" fmla="*/ 1251 h 2437"/>
                  <a:gd name="T116" fmla="*/ 1541 w 1629"/>
                  <a:gd name="T117" fmla="*/ 999 h 2437"/>
                  <a:gd name="T118" fmla="*/ 1495 w 1629"/>
                  <a:gd name="T119" fmla="*/ 813 h 2437"/>
                  <a:gd name="T120" fmla="*/ 1198 w 1629"/>
                  <a:gd name="T121" fmla="*/ 685 h 2437"/>
                  <a:gd name="T122" fmla="*/ 1036 w 1629"/>
                  <a:gd name="T123" fmla="*/ 756 h 2437"/>
                  <a:gd name="T124" fmla="*/ 1010 w 1629"/>
                  <a:gd name="T125" fmla="*/ 479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9" h="2437">
                    <a:moveTo>
                      <a:pt x="1173" y="198"/>
                    </a:moveTo>
                    <a:lnTo>
                      <a:pt x="1173" y="198"/>
                    </a:lnTo>
                    <a:lnTo>
                      <a:pt x="1177" y="189"/>
                    </a:lnTo>
                    <a:lnTo>
                      <a:pt x="1184" y="181"/>
                    </a:lnTo>
                    <a:lnTo>
                      <a:pt x="1184" y="181"/>
                    </a:lnTo>
                    <a:lnTo>
                      <a:pt x="1189" y="175"/>
                    </a:lnTo>
                    <a:lnTo>
                      <a:pt x="1189" y="175"/>
                    </a:lnTo>
                    <a:lnTo>
                      <a:pt x="1195" y="165"/>
                    </a:lnTo>
                    <a:lnTo>
                      <a:pt x="1199" y="162"/>
                    </a:lnTo>
                    <a:lnTo>
                      <a:pt x="1199" y="159"/>
                    </a:lnTo>
                    <a:lnTo>
                      <a:pt x="1199" y="159"/>
                    </a:lnTo>
                    <a:lnTo>
                      <a:pt x="1208" y="148"/>
                    </a:lnTo>
                    <a:lnTo>
                      <a:pt x="1208" y="148"/>
                    </a:lnTo>
                    <a:lnTo>
                      <a:pt x="1215" y="144"/>
                    </a:lnTo>
                    <a:lnTo>
                      <a:pt x="1219" y="141"/>
                    </a:lnTo>
                    <a:lnTo>
                      <a:pt x="1223" y="141"/>
                    </a:lnTo>
                    <a:lnTo>
                      <a:pt x="1223" y="141"/>
                    </a:lnTo>
                    <a:lnTo>
                      <a:pt x="1229" y="136"/>
                    </a:lnTo>
                    <a:lnTo>
                      <a:pt x="1237" y="132"/>
                    </a:lnTo>
                    <a:lnTo>
                      <a:pt x="1244" y="128"/>
                    </a:lnTo>
                    <a:lnTo>
                      <a:pt x="1250" y="123"/>
                    </a:lnTo>
                    <a:lnTo>
                      <a:pt x="1252" y="124"/>
                    </a:lnTo>
                    <a:lnTo>
                      <a:pt x="1252" y="124"/>
                    </a:lnTo>
                    <a:lnTo>
                      <a:pt x="1257" y="121"/>
                    </a:lnTo>
                    <a:lnTo>
                      <a:pt x="1264" y="118"/>
                    </a:lnTo>
                    <a:lnTo>
                      <a:pt x="1276" y="112"/>
                    </a:lnTo>
                    <a:lnTo>
                      <a:pt x="1278" y="112"/>
                    </a:lnTo>
                    <a:lnTo>
                      <a:pt x="1278" y="112"/>
                    </a:lnTo>
                    <a:lnTo>
                      <a:pt x="1280" y="110"/>
                    </a:lnTo>
                    <a:lnTo>
                      <a:pt x="1283" y="109"/>
                    </a:lnTo>
                    <a:lnTo>
                      <a:pt x="1283" y="106"/>
                    </a:lnTo>
                    <a:lnTo>
                      <a:pt x="1283" y="106"/>
                    </a:lnTo>
                    <a:lnTo>
                      <a:pt x="1287" y="104"/>
                    </a:lnTo>
                    <a:lnTo>
                      <a:pt x="1293" y="99"/>
                    </a:lnTo>
                    <a:lnTo>
                      <a:pt x="1293" y="95"/>
                    </a:lnTo>
                    <a:lnTo>
                      <a:pt x="1294" y="94"/>
                    </a:lnTo>
                    <a:lnTo>
                      <a:pt x="1290" y="90"/>
                    </a:lnTo>
                    <a:lnTo>
                      <a:pt x="1288" y="87"/>
                    </a:lnTo>
                    <a:lnTo>
                      <a:pt x="1282" y="82"/>
                    </a:lnTo>
                    <a:lnTo>
                      <a:pt x="1279" y="83"/>
                    </a:lnTo>
                    <a:lnTo>
                      <a:pt x="1275" y="80"/>
                    </a:lnTo>
                    <a:lnTo>
                      <a:pt x="1275" y="80"/>
                    </a:lnTo>
                    <a:lnTo>
                      <a:pt x="1269" y="82"/>
                    </a:lnTo>
                    <a:lnTo>
                      <a:pt x="1264" y="80"/>
                    </a:lnTo>
                    <a:lnTo>
                      <a:pt x="1263" y="79"/>
                    </a:lnTo>
                    <a:lnTo>
                      <a:pt x="1263" y="76"/>
                    </a:lnTo>
                    <a:lnTo>
                      <a:pt x="1261" y="74"/>
                    </a:lnTo>
                    <a:lnTo>
                      <a:pt x="1257" y="74"/>
                    </a:lnTo>
                    <a:lnTo>
                      <a:pt x="1256" y="72"/>
                    </a:lnTo>
                    <a:lnTo>
                      <a:pt x="1253" y="72"/>
                    </a:lnTo>
                    <a:lnTo>
                      <a:pt x="1252" y="71"/>
                    </a:lnTo>
                    <a:lnTo>
                      <a:pt x="1250" y="68"/>
                    </a:lnTo>
                    <a:lnTo>
                      <a:pt x="1250" y="68"/>
                    </a:lnTo>
                    <a:lnTo>
                      <a:pt x="1246" y="71"/>
                    </a:lnTo>
                    <a:lnTo>
                      <a:pt x="1241" y="71"/>
                    </a:lnTo>
                    <a:lnTo>
                      <a:pt x="1241" y="71"/>
                    </a:lnTo>
                    <a:lnTo>
                      <a:pt x="1237" y="67"/>
                    </a:lnTo>
                    <a:lnTo>
                      <a:pt x="1233" y="66"/>
                    </a:lnTo>
                    <a:lnTo>
                      <a:pt x="1233" y="63"/>
                    </a:lnTo>
                    <a:lnTo>
                      <a:pt x="1233" y="63"/>
                    </a:lnTo>
                    <a:lnTo>
                      <a:pt x="1229" y="60"/>
                    </a:lnTo>
                    <a:lnTo>
                      <a:pt x="1225" y="60"/>
                    </a:lnTo>
                    <a:lnTo>
                      <a:pt x="1221" y="57"/>
                    </a:lnTo>
                    <a:lnTo>
                      <a:pt x="1221" y="57"/>
                    </a:lnTo>
                    <a:lnTo>
                      <a:pt x="1218" y="59"/>
                    </a:lnTo>
                    <a:lnTo>
                      <a:pt x="1217" y="59"/>
                    </a:lnTo>
                    <a:lnTo>
                      <a:pt x="1211" y="56"/>
                    </a:lnTo>
                    <a:lnTo>
                      <a:pt x="1210" y="59"/>
                    </a:lnTo>
                    <a:lnTo>
                      <a:pt x="1208" y="59"/>
                    </a:lnTo>
                    <a:lnTo>
                      <a:pt x="1208" y="55"/>
                    </a:lnTo>
                    <a:lnTo>
                      <a:pt x="1211" y="53"/>
                    </a:lnTo>
                    <a:lnTo>
                      <a:pt x="1211" y="52"/>
                    </a:lnTo>
                    <a:lnTo>
                      <a:pt x="1210" y="51"/>
                    </a:lnTo>
                    <a:lnTo>
                      <a:pt x="1208" y="47"/>
                    </a:lnTo>
                    <a:lnTo>
                      <a:pt x="1206" y="45"/>
                    </a:lnTo>
                    <a:lnTo>
                      <a:pt x="1206" y="44"/>
                    </a:lnTo>
                    <a:lnTo>
                      <a:pt x="1206" y="42"/>
                    </a:lnTo>
                    <a:lnTo>
                      <a:pt x="1203" y="41"/>
                    </a:lnTo>
                    <a:lnTo>
                      <a:pt x="1203" y="40"/>
                    </a:lnTo>
                    <a:lnTo>
                      <a:pt x="1204" y="38"/>
                    </a:lnTo>
                    <a:lnTo>
                      <a:pt x="1206" y="36"/>
                    </a:lnTo>
                    <a:lnTo>
                      <a:pt x="1204" y="33"/>
                    </a:lnTo>
                    <a:lnTo>
                      <a:pt x="1206" y="30"/>
                    </a:lnTo>
                    <a:lnTo>
                      <a:pt x="1202" y="29"/>
                    </a:lnTo>
                    <a:lnTo>
                      <a:pt x="1202" y="28"/>
                    </a:lnTo>
                    <a:lnTo>
                      <a:pt x="1199" y="26"/>
                    </a:lnTo>
                    <a:lnTo>
                      <a:pt x="1198" y="25"/>
                    </a:lnTo>
                    <a:lnTo>
                      <a:pt x="1198" y="25"/>
                    </a:lnTo>
                    <a:lnTo>
                      <a:pt x="1188" y="22"/>
                    </a:lnTo>
                    <a:lnTo>
                      <a:pt x="1180" y="18"/>
                    </a:lnTo>
                    <a:lnTo>
                      <a:pt x="1177" y="15"/>
                    </a:lnTo>
                    <a:lnTo>
                      <a:pt x="1177" y="15"/>
                    </a:lnTo>
                    <a:lnTo>
                      <a:pt x="1172" y="15"/>
                    </a:lnTo>
                    <a:lnTo>
                      <a:pt x="1168" y="14"/>
                    </a:lnTo>
                    <a:lnTo>
                      <a:pt x="1165" y="11"/>
                    </a:lnTo>
                    <a:lnTo>
                      <a:pt x="1165" y="11"/>
                    </a:lnTo>
                    <a:lnTo>
                      <a:pt x="1162" y="11"/>
                    </a:lnTo>
                    <a:lnTo>
                      <a:pt x="1160" y="11"/>
                    </a:lnTo>
                    <a:lnTo>
                      <a:pt x="1160" y="10"/>
                    </a:lnTo>
                    <a:lnTo>
                      <a:pt x="1156" y="11"/>
                    </a:lnTo>
                    <a:lnTo>
                      <a:pt x="1156" y="11"/>
                    </a:lnTo>
                    <a:lnTo>
                      <a:pt x="1150" y="10"/>
                    </a:lnTo>
                    <a:lnTo>
                      <a:pt x="1145" y="10"/>
                    </a:lnTo>
                    <a:lnTo>
                      <a:pt x="1143" y="7"/>
                    </a:lnTo>
                    <a:lnTo>
                      <a:pt x="1143" y="6"/>
                    </a:lnTo>
                    <a:lnTo>
                      <a:pt x="1139" y="6"/>
                    </a:lnTo>
                    <a:lnTo>
                      <a:pt x="1137" y="3"/>
                    </a:lnTo>
                    <a:lnTo>
                      <a:pt x="1134" y="3"/>
                    </a:lnTo>
                    <a:lnTo>
                      <a:pt x="1131" y="0"/>
                    </a:lnTo>
                    <a:lnTo>
                      <a:pt x="1124" y="3"/>
                    </a:lnTo>
                    <a:lnTo>
                      <a:pt x="1123" y="3"/>
                    </a:lnTo>
                    <a:lnTo>
                      <a:pt x="1120" y="4"/>
                    </a:lnTo>
                    <a:lnTo>
                      <a:pt x="1122" y="6"/>
                    </a:lnTo>
                    <a:lnTo>
                      <a:pt x="1123" y="6"/>
                    </a:lnTo>
                    <a:lnTo>
                      <a:pt x="1124" y="7"/>
                    </a:lnTo>
                    <a:lnTo>
                      <a:pt x="1126" y="9"/>
                    </a:lnTo>
                    <a:lnTo>
                      <a:pt x="1124" y="10"/>
                    </a:lnTo>
                    <a:lnTo>
                      <a:pt x="1124" y="10"/>
                    </a:lnTo>
                    <a:lnTo>
                      <a:pt x="1127" y="11"/>
                    </a:lnTo>
                    <a:lnTo>
                      <a:pt x="1130" y="13"/>
                    </a:lnTo>
                    <a:lnTo>
                      <a:pt x="1130" y="15"/>
                    </a:lnTo>
                    <a:lnTo>
                      <a:pt x="1135" y="14"/>
                    </a:lnTo>
                    <a:lnTo>
                      <a:pt x="1138" y="15"/>
                    </a:lnTo>
                    <a:lnTo>
                      <a:pt x="1139" y="15"/>
                    </a:lnTo>
                    <a:lnTo>
                      <a:pt x="1139" y="15"/>
                    </a:lnTo>
                    <a:lnTo>
                      <a:pt x="1138" y="25"/>
                    </a:lnTo>
                    <a:lnTo>
                      <a:pt x="1138" y="29"/>
                    </a:lnTo>
                    <a:lnTo>
                      <a:pt x="1137" y="33"/>
                    </a:lnTo>
                    <a:lnTo>
                      <a:pt x="1143" y="36"/>
                    </a:lnTo>
                    <a:lnTo>
                      <a:pt x="1145" y="37"/>
                    </a:lnTo>
                    <a:lnTo>
                      <a:pt x="1145" y="44"/>
                    </a:lnTo>
                    <a:lnTo>
                      <a:pt x="1146" y="45"/>
                    </a:lnTo>
                    <a:lnTo>
                      <a:pt x="1146" y="45"/>
                    </a:lnTo>
                    <a:lnTo>
                      <a:pt x="1149" y="45"/>
                    </a:lnTo>
                    <a:lnTo>
                      <a:pt x="1151" y="47"/>
                    </a:lnTo>
                    <a:lnTo>
                      <a:pt x="1157" y="51"/>
                    </a:lnTo>
                    <a:lnTo>
                      <a:pt x="1162" y="55"/>
                    </a:lnTo>
                    <a:lnTo>
                      <a:pt x="1165" y="57"/>
                    </a:lnTo>
                    <a:lnTo>
                      <a:pt x="1168" y="57"/>
                    </a:lnTo>
                    <a:lnTo>
                      <a:pt x="1170" y="56"/>
                    </a:lnTo>
                    <a:lnTo>
                      <a:pt x="1170" y="57"/>
                    </a:lnTo>
                    <a:lnTo>
                      <a:pt x="1169" y="59"/>
                    </a:lnTo>
                    <a:lnTo>
                      <a:pt x="1169" y="60"/>
                    </a:lnTo>
                    <a:lnTo>
                      <a:pt x="1172" y="61"/>
                    </a:lnTo>
                    <a:lnTo>
                      <a:pt x="1175" y="66"/>
                    </a:lnTo>
                    <a:lnTo>
                      <a:pt x="1175" y="66"/>
                    </a:lnTo>
                    <a:lnTo>
                      <a:pt x="1170" y="66"/>
                    </a:lnTo>
                    <a:lnTo>
                      <a:pt x="1168" y="67"/>
                    </a:lnTo>
                    <a:lnTo>
                      <a:pt x="1168" y="64"/>
                    </a:lnTo>
                    <a:lnTo>
                      <a:pt x="1166" y="64"/>
                    </a:lnTo>
                    <a:lnTo>
                      <a:pt x="1162" y="68"/>
                    </a:lnTo>
                    <a:lnTo>
                      <a:pt x="1158" y="67"/>
                    </a:lnTo>
                    <a:lnTo>
                      <a:pt x="1158" y="67"/>
                    </a:lnTo>
                    <a:lnTo>
                      <a:pt x="1154" y="64"/>
                    </a:lnTo>
                    <a:lnTo>
                      <a:pt x="1150" y="61"/>
                    </a:lnTo>
                    <a:lnTo>
                      <a:pt x="1150" y="61"/>
                    </a:lnTo>
                    <a:lnTo>
                      <a:pt x="1146" y="63"/>
                    </a:lnTo>
                    <a:lnTo>
                      <a:pt x="1145" y="61"/>
                    </a:lnTo>
                    <a:lnTo>
                      <a:pt x="1142" y="63"/>
                    </a:lnTo>
                    <a:lnTo>
                      <a:pt x="1139" y="61"/>
                    </a:lnTo>
                    <a:lnTo>
                      <a:pt x="1139" y="59"/>
                    </a:lnTo>
                    <a:lnTo>
                      <a:pt x="1139" y="59"/>
                    </a:lnTo>
                    <a:lnTo>
                      <a:pt x="1142" y="57"/>
                    </a:lnTo>
                    <a:lnTo>
                      <a:pt x="1146" y="59"/>
                    </a:lnTo>
                    <a:lnTo>
                      <a:pt x="1150" y="59"/>
                    </a:lnTo>
                    <a:lnTo>
                      <a:pt x="1153" y="59"/>
                    </a:lnTo>
                    <a:lnTo>
                      <a:pt x="1156" y="57"/>
                    </a:lnTo>
                    <a:lnTo>
                      <a:pt x="1154" y="53"/>
                    </a:lnTo>
                    <a:lnTo>
                      <a:pt x="1151" y="52"/>
                    </a:lnTo>
                    <a:lnTo>
                      <a:pt x="1151" y="51"/>
                    </a:lnTo>
                    <a:lnTo>
                      <a:pt x="1149" y="51"/>
                    </a:lnTo>
                    <a:lnTo>
                      <a:pt x="1145" y="47"/>
                    </a:lnTo>
                    <a:lnTo>
                      <a:pt x="1145" y="45"/>
                    </a:lnTo>
                    <a:lnTo>
                      <a:pt x="1134" y="41"/>
                    </a:lnTo>
                    <a:lnTo>
                      <a:pt x="1130" y="44"/>
                    </a:lnTo>
                    <a:lnTo>
                      <a:pt x="1130" y="47"/>
                    </a:lnTo>
                    <a:lnTo>
                      <a:pt x="1127" y="57"/>
                    </a:lnTo>
                    <a:lnTo>
                      <a:pt x="1124" y="59"/>
                    </a:lnTo>
                    <a:lnTo>
                      <a:pt x="1122" y="57"/>
                    </a:lnTo>
                    <a:lnTo>
                      <a:pt x="1122" y="57"/>
                    </a:lnTo>
                    <a:lnTo>
                      <a:pt x="1115" y="59"/>
                    </a:lnTo>
                    <a:lnTo>
                      <a:pt x="1108" y="60"/>
                    </a:lnTo>
                    <a:lnTo>
                      <a:pt x="1109" y="66"/>
                    </a:lnTo>
                    <a:lnTo>
                      <a:pt x="1107" y="67"/>
                    </a:lnTo>
                    <a:lnTo>
                      <a:pt x="1107" y="64"/>
                    </a:lnTo>
                    <a:lnTo>
                      <a:pt x="1101" y="61"/>
                    </a:lnTo>
                    <a:lnTo>
                      <a:pt x="1101" y="59"/>
                    </a:lnTo>
                    <a:lnTo>
                      <a:pt x="1100" y="57"/>
                    </a:lnTo>
                    <a:lnTo>
                      <a:pt x="1097" y="55"/>
                    </a:lnTo>
                    <a:lnTo>
                      <a:pt x="1094" y="56"/>
                    </a:lnTo>
                    <a:lnTo>
                      <a:pt x="1094" y="59"/>
                    </a:lnTo>
                    <a:lnTo>
                      <a:pt x="1096" y="60"/>
                    </a:lnTo>
                    <a:lnTo>
                      <a:pt x="1096" y="63"/>
                    </a:lnTo>
                    <a:lnTo>
                      <a:pt x="1093" y="64"/>
                    </a:lnTo>
                    <a:lnTo>
                      <a:pt x="1088" y="63"/>
                    </a:lnTo>
                    <a:lnTo>
                      <a:pt x="1086" y="60"/>
                    </a:lnTo>
                    <a:lnTo>
                      <a:pt x="1082" y="60"/>
                    </a:lnTo>
                    <a:lnTo>
                      <a:pt x="1077" y="61"/>
                    </a:lnTo>
                    <a:lnTo>
                      <a:pt x="1074" y="66"/>
                    </a:lnTo>
                    <a:lnTo>
                      <a:pt x="1075" y="68"/>
                    </a:lnTo>
                    <a:lnTo>
                      <a:pt x="1081" y="71"/>
                    </a:lnTo>
                    <a:lnTo>
                      <a:pt x="1081" y="71"/>
                    </a:lnTo>
                    <a:lnTo>
                      <a:pt x="1080" y="75"/>
                    </a:lnTo>
                    <a:lnTo>
                      <a:pt x="1078" y="80"/>
                    </a:lnTo>
                    <a:lnTo>
                      <a:pt x="1071" y="86"/>
                    </a:lnTo>
                    <a:lnTo>
                      <a:pt x="1073" y="89"/>
                    </a:lnTo>
                    <a:lnTo>
                      <a:pt x="1075" y="87"/>
                    </a:lnTo>
                    <a:lnTo>
                      <a:pt x="1077" y="89"/>
                    </a:lnTo>
                    <a:lnTo>
                      <a:pt x="1077" y="91"/>
                    </a:lnTo>
                    <a:lnTo>
                      <a:pt x="1074" y="95"/>
                    </a:lnTo>
                    <a:lnTo>
                      <a:pt x="1071" y="97"/>
                    </a:lnTo>
                    <a:lnTo>
                      <a:pt x="1067" y="106"/>
                    </a:lnTo>
                    <a:lnTo>
                      <a:pt x="1067" y="109"/>
                    </a:lnTo>
                    <a:lnTo>
                      <a:pt x="1066" y="110"/>
                    </a:lnTo>
                    <a:lnTo>
                      <a:pt x="1069" y="113"/>
                    </a:lnTo>
                    <a:lnTo>
                      <a:pt x="1069" y="114"/>
                    </a:lnTo>
                    <a:lnTo>
                      <a:pt x="1066" y="114"/>
                    </a:lnTo>
                    <a:lnTo>
                      <a:pt x="1065" y="116"/>
                    </a:lnTo>
                    <a:lnTo>
                      <a:pt x="1065" y="118"/>
                    </a:lnTo>
                    <a:lnTo>
                      <a:pt x="1069" y="118"/>
                    </a:lnTo>
                    <a:lnTo>
                      <a:pt x="1069" y="118"/>
                    </a:lnTo>
                    <a:lnTo>
                      <a:pt x="1070" y="120"/>
                    </a:lnTo>
                    <a:lnTo>
                      <a:pt x="1071" y="121"/>
                    </a:lnTo>
                    <a:lnTo>
                      <a:pt x="1071" y="121"/>
                    </a:lnTo>
                    <a:lnTo>
                      <a:pt x="1075" y="124"/>
                    </a:lnTo>
                    <a:lnTo>
                      <a:pt x="1078" y="127"/>
                    </a:lnTo>
                    <a:lnTo>
                      <a:pt x="1078" y="127"/>
                    </a:lnTo>
                    <a:lnTo>
                      <a:pt x="1080" y="131"/>
                    </a:lnTo>
                    <a:lnTo>
                      <a:pt x="1081" y="133"/>
                    </a:lnTo>
                    <a:lnTo>
                      <a:pt x="1085" y="140"/>
                    </a:lnTo>
                    <a:lnTo>
                      <a:pt x="1088" y="140"/>
                    </a:lnTo>
                    <a:lnTo>
                      <a:pt x="1088" y="140"/>
                    </a:lnTo>
                    <a:lnTo>
                      <a:pt x="1090" y="146"/>
                    </a:lnTo>
                    <a:lnTo>
                      <a:pt x="1093" y="151"/>
                    </a:lnTo>
                    <a:lnTo>
                      <a:pt x="1097" y="154"/>
                    </a:lnTo>
                    <a:lnTo>
                      <a:pt x="1097" y="154"/>
                    </a:lnTo>
                    <a:lnTo>
                      <a:pt x="1097" y="159"/>
                    </a:lnTo>
                    <a:lnTo>
                      <a:pt x="1100" y="163"/>
                    </a:lnTo>
                    <a:lnTo>
                      <a:pt x="1100" y="163"/>
                    </a:lnTo>
                    <a:lnTo>
                      <a:pt x="1099" y="167"/>
                    </a:lnTo>
                    <a:lnTo>
                      <a:pt x="1097" y="167"/>
                    </a:lnTo>
                    <a:lnTo>
                      <a:pt x="1096" y="169"/>
                    </a:lnTo>
                    <a:lnTo>
                      <a:pt x="1094" y="170"/>
                    </a:lnTo>
                    <a:lnTo>
                      <a:pt x="1094" y="170"/>
                    </a:lnTo>
                    <a:lnTo>
                      <a:pt x="1092" y="177"/>
                    </a:lnTo>
                    <a:lnTo>
                      <a:pt x="1092" y="179"/>
                    </a:lnTo>
                    <a:lnTo>
                      <a:pt x="1092" y="184"/>
                    </a:lnTo>
                    <a:lnTo>
                      <a:pt x="1092" y="184"/>
                    </a:lnTo>
                    <a:lnTo>
                      <a:pt x="1099" y="190"/>
                    </a:lnTo>
                    <a:lnTo>
                      <a:pt x="1100" y="194"/>
                    </a:lnTo>
                    <a:lnTo>
                      <a:pt x="1100" y="201"/>
                    </a:lnTo>
                    <a:lnTo>
                      <a:pt x="1101" y="203"/>
                    </a:lnTo>
                    <a:lnTo>
                      <a:pt x="1101" y="203"/>
                    </a:lnTo>
                    <a:lnTo>
                      <a:pt x="1103" y="205"/>
                    </a:lnTo>
                    <a:lnTo>
                      <a:pt x="1104" y="208"/>
                    </a:lnTo>
                    <a:lnTo>
                      <a:pt x="1104" y="208"/>
                    </a:lnTo>
                    <a:lnTo>
                      <a:pt x="1100" y="211"/>
                    </a:lnTo>
                    <a:lnTo>
                      <a:pt x="1096" y="213"/>
                    </a:lnTo>
                    <a:lnTo>
                      <a:pt x="1094" y="212"/>
                    </a:lnTo>
                    <a:lnTo>
                      <a:pt x="1094" y="209"/>
                    </a:lnTo>
                    <a:lnTo>
                      <a:pt x="1093" y="211"/>
                    </a:lnTo>
                    <a:lnTo>
                      <a:pt x="1092" y="212"/>
                    </a:lnTo>
                    <a:lnTo>
                      <a:pt x="1090" y="211"/>
                    </a:lnTo>
                    <a:lnTo>
                      <a:pt x="1090" y="211"/>
                    </a:lnTo>
                    <a:lnTo>
                      <a:pt x="1089" y="213"/>
                    </a:lnTo>
                    <a:lnTo>
                      <a:pt x="1085" y="213"/>
                    </a:lnTo>
                    <a:lnTo>
                      <a:pt x="1078" y="215"/>
                    </a:lnTo>
                    <a:lnTo>
                      <a:pt x="1078" y="215"/>
                    </a:lnTo>
                    <a:lnTo>
                      <a:pt x="1078" y="216"/>
                    </a:lnTo>
                    <a:lnTo>
                      <a:pt x="1077" y="219"/>
                    </a:lnTo>
                    <a:lnTo>
                      <a:pt x="1077" y="222"/>
                    </a:lnTo>
                    <a:lnTo>
                      <a:pt x="1077" y="224"/>
                    </a:lnTo>
                    <a:lnTo>
                      <a:pt x="1074" y="227"/>
                    </a:lnTo>
                    <a:lnTo>
                      <a:pt x="1071" y="224"/>
                    </a:lnTo>
                    <a:lnTo>
                      <a:pt x="1070" y="224"/>
                    </a:lnTo>
                    <a:lnTo>
                      <a:pt x="1070" y="224"/>
                    </a:lnTo>
                    <a:lnTo>
                      <a:pt x="1069" y="226"/>
                    </a:lnTo>
                    <a:lnTo>
                      <a:pt x="1067" y="227"/>
                    </a:lnTo>
                    <a:lnTo>
                      <a:pt x="1063" y="232"/>
                    </a:lnTo>
                    <a:lnTo>
                      <a:pt x="1063" y="232"/>
                    </a:lnTo>
                    <a:lnTo>
                      <a:pt x="1058" y="235"/>
                    </a:lnTo>
                    <a:lnTo>
                      <a:pt x="1058" y="235"/>
                    </a:lnTo>
                    <a:lnTo>
                      <a:pt x="1054" y="241"/>
                    </a:lnTo>
                    <a:lnTo>
                      <a:pt x="1054" y="241"/>
                    </a:lnTo>
                    <a:lnTo>
                      <a:pt x="1050" y="242"/>
                    </a:lnTo>
                    <a:lnTo>
                      <a:pt x="1039" y="260"/>
                    </a:lnTo>
                    <a:lnTo>
                      <a:pt x="1033" y="257"/>
                    </a:lnTo>
                    <a:lnTo>
                      <a:pt x="1031" y="262"/>
                    </a:lnTo>
                    <a:lnTo>
                      <a:pt x="1031" y="262"/>
                    </a:lnTo>
                    <a:lnTo>
                      <a:pt x="1025" y="264"/>
                    </a:lnTo>
                    <a:lnTo>
                      <a:pt x="1020" y="266"/>
                    </a:lnTo>
                    <a:lnTo>
                      <a:pt x="1017" y="269"/>
                    </a:lnTo>
                    <a:lnTo>
                      <a:pt x="1016" y="270"/>
                    </a:lnTo>
                    <a:lnTo>
                      <a:pt x="1016" y="266"/>
                    </a:lnTo>
                    <a:lnTo>
                      <a:pt x="1020" y="261"/>
                    </a:lnTo>
                    <a:lnTo>
                      <a:pt x="1020" y="264"/>
                    </a:lnTo>
                    <a:lnTo>
                      <a:pt x="1025" y="260"/>
                    </a:lnTo>
                    <a:lnTo>
                      <a:pt x="1027" y="253"/>
                    </a:lnTo>
                    <a:lnTo>
                      <a:pt x="1033" y="246"/>
                    </a:lnTo>
                    <a:lnTo>
                      <a:pt x="1033" y="245"/>
                    </a:lnTo>
                    <a:lnTo>
                      <a:pt x="1032" y="242"/>
                    </a:lnTo>
                    <a:lnTo>
                      <a:pt x="1032" y="242"/>
                    </a:lnTo>
                    <a:lnTo>
                      <a:pt x="1032" y="242"/>
                    </a:lnTo>
                    <a:lnTo>
                      <a:pt x="1037" y="239"/>
                    </a:lnTo>
                    <a:lnTo>
                      <a:pt x="1042" y="236"/>
                    </a:lnTo>
                    <a:lnTo>
                      <a:pt x="1042" y="236"/>
                    </a:lnTo>
                    <a:lnTo>
                      <a:pt x="1050" y="232"/>
                    </a:lnTo>
                    <a:lnTo>
                      <a:pt x="1050" y="232"/>
                    </a:lnTo>
                    <a:lnTo>
                      <a:pt x="1051" y="230"/>
                    </a:lnTo>
                    <a:lnTo>
                      <a:pt x="1054" y="228"/>
                    </a:lnTo>
                    <a:lnTo>
                      <a:pt x="1054" y="226"/>
                    </a:lnTo>
                    <a:lnTo>
                      <a:pt x="1062" y="219"/>
                    </a:lnTo>
                    <a:lnTo>
                      <a:pt x="1062" y="212"/>
                    </a:lnTo>
                    <a:lnTo>
                      <a:pt x="1058" y="207"/>
                    </a:lnTo>
                    <a:lnTo>
                      <a:pt x="1056" y="205"/>
                    </a:lnTo>
                    <a:lnTo>
                      <a:pt x="1056" y="205"/>
                    </a:lnTo>
                    <a:lnTo>
                      <a:pt x="1050" y="209"/>
                    </a:lnTo>
                    <a:lnTo>
                      <a:pt x="1044" y="212"/>
                    </a:lnTo>
                    <a:lnTo>
                      <a:pt x="1043" y="211"/>
                    </a:lnTo>
                    <a:lnTo>
                      <a:pt x="1040" y="211"/>
                    </a:lnTo>
                    <a:lnTo>
                      <a:pt x="1033" y="215"/>
                    </a:lnTo>
                    <a:lnTo>
                      <a:pt x="1033" y="215"/>
                    </a:lnTo>
                    <a:lnTo>
                      <a:pt x="1033" y="213"/>
                    </a:lnTo>
                    <a:lnTo>
                      <a:pt x="1032" y="212"/>
                    </a:lnTo>
                    <a:lnTo>
                      <a:pt x="1035" y="209"/>
                    </a:lnTo>
                    <a:lnTo>
                      <a:pt x="1037" y="205"/>
                    </a:lnTo>
                    <a:lnTo>
                      <a:pt x="1037" y="205"/>
                    </a:lnTo>
                    <a:lnTo>
                      <a:pt x="1043" y="204"/>
                    </a:lnTo>
                    <a:lnTo>
                      <a:pt x="1047" y="203"/>
                    </a:lnTo>
                    <a:lnTo>
                      <a:pt x="1048" y="201"/>
                    </a:lnTo>
                    <a:lnTo>
                      <a:pt x="1048" y="196"/>
                    </a:lnTo>
                    <a:lnTo>
                      <a:pt x="1056" y="186"/>
                    </a:lnTo>
                    <a:lnTo>
                      <a:pt x="1062" y="185"/>
                    </a:lnTo>
                    <a:lnTo>
                      <a:pt x="1062" y="185"/>
                    </a:lnTo>
                    <a:lnTo>
                      <a:pt x="1063" y="184"/>
                    </a:lnTo>
                    <a:lnTo>
                      <a:pt x="1066" y="182"/>
                    </a:lnTo>
                    <a:lnTo>
                      <a:pt x="1071" y="181"/>
                    </a:lnTo>
                    <a:lnTo>
                      <a:pt x="1071" y="181"/>
                    </a:lnTo>
                    <a:lnTo>
                      <a:pt x="1073" y="177"/>
                    </a:lnTo>
                    <a:lnTo>
                      <a:pt x="1074" y="174"/>
                    </a:lnTo>
                    <a:lnTo>
                      <a:pt x="1073" y="171"/>
                    </a:lnTo>
                    <a:lnTo>
                      <a:pt x="1073" y="169"/>
                    </a:lnTo>
                    <a:lnTo>
                      <a:pt x="1074" y="167"/>
                    </a:lnTo>
                    <a:lnTo>
                      <a:pt x="1077" y="163"/>
                    </a:lnTo>
                    <a:lnTo>
                      <a:pt x="1075" y="155"/>
                    </a:lnTo>
                    <a:lnTo>
                      <a:pt x="1073" y="154"/>
                    </a:lnTo>
                    <a:lnTo>
                      <a:pt x="1073" y="152"/>
                    </a:lnTo>
                    <a:lnTo>
                      <a:pt x="1069" y="150"/>
                    </a:lnTo>
                    <a:lnTo>
                      <a:pt x="1066" y="144"/>
                    </a:lnTo>
                    <a:lnTo>
                      <a:pt x="1063" y="143"/>
                    </a:lnTo>
                    <a:lnTo>
                      <a:pt x="1063" y="143"/>
                    </a:lnTo>
                    <a:lnTo>
                      <a:pt x="1062" y="140"/>
                    </a:lnTo>
                    <a:lnTo>
                      <a:pt x="1059" y="137"/>
                    </a:lnTo>
                    <a:lnTo>
                      <a:pt x="1056" y="136"/>
                    </a:lnTo>
                    <a:lnTo>
                      <a:pt x="1055" y="133"/>
                    </a:lnTo>
                    <a:lnTo>
                      <a:pt x="1058" y="131"/>
                    </a:lnTo>
                    <a:lnTo>
                      <a:pt x="1058" y="128"/>
                    </a:lnTo>
                    <a:lnTo>
                      <a:pt x="1058" y="128"/>
                    </a:lnTo>
                    <a:lnTo>
                      <a:pt x="1055" y="125"/>
                    </a:lnTo>
                    <a:lnTo>
                      <a:pt x="1051" y="123"/>
                    </a:lnTo>
                    <a:lnTo>
                      <a:pt x="1048" y="124"/>
                    </a:lnTo>
                    <a:lnTo>
                      <a:pt x="1044" y="123"/>
                    </a:lnTo>
                    <a:lnTo>
                      <a:pt x="1044" y="123"/>
                    </a:lnTo>
                    <a:lnTo>
                      <a:pt x="1040" y="117"/>
                    </a:lnTo>
                    <a:lnTo>
                      <a:pt x="1039" y="112"/>
                    </a:lnTo>
                    <a:lnTo>
                      <a:pt x="1039" y="112"/>
                    </a:lnTo>
                    <a:lnTo>
                      <a:pt x="1042" y="109"/>
                    </a:lnTo>
                    <a:lnTo>
                      <a:pt x="1046" y="105"/>
                    </a:lnTo>
                    <a:lnTo>
                      <a:pt x="1046" y="105"/>
                    </a:lnTo>
                    <a:lnTo>
                      <a:pt x="1044" y="102"/>
                    </a:lnTo>
                    <a:lnTo>
                      <a:pt x="1044" y="99"/>
                    </a:lnTo>
                    <a:lnTo>
                      <a:pt x="1046" y="95"/>
                    </a:lnTo>
                    <a:lnTo>
                      <a:pt x="1043" y="94"/>
                    </a:lnTo>
                    <a:lnTo>
                      <a:pt x="1042" y="91"/>
                    </a:lnTo>
                    <a:lnTo>
                      <a:pt x="1043" y="87"/>
                    </a:lnTo>
                    <a:lnTo>
                      <a:pt x="1040" y="85"/>
                    </a:lnTo>
                    <a:lnTo>
                      <a:pt x="1042" y="82"/>
                    </a:lnTo>
                    <a:lnTo>
                      <a:pt x="1040" y="79"/>
                    </a:lnTo>
                    <a:lnTo>
                      <a:pt x="1037" y="79"/>
                    </a:lnTo>
                    <a:lnTo>
                      <a:pt x="1037" y="72"/>
                    </a:lnTo>
                    <a:lnTo>
                      <a:pt x="1033" y="71"/>
                    </a:lnTo>
                    <a:lnTo>
                      <a:pt x="1036" y="68"/>
                    </a:lnTo>
                    <a:lnTo>
                      <a:pt x="1035" y="67"/>
                    </a:lnTo>
                    <a:lnTo>
                      <a:pt x="1032" y="68"/>
                    </a:lnTo>
                    <a:lnTo>
                      <a:pt x="1032" y="68"/>
                    </a:lnTo>
                    <a:lnTo>
                      <a:pt x="1028" y="67"/>
                    </a:lnTo>
                    <a:lnTo>
                      <a:pt x="1027" y="67"/>
                    </a:lnTo>
                    <a:lnTo>
                      <a:pt x="1027" y="67"/>
                    </a:lnTo>
                    <a:lnTo>
                      <a:pt x="1025" y="70"/>
                    </a:lnTo>
                    <a:lnTo>
                      <a:pt x="1023" y="71"/>
                    </a:lnTo>
                    <a:lnTo>
                      <a:pt x="1018" y="76"/>
                    </a:lnTo>
                    <a:lnTo>
                      <a:pt x="1016" y="76"/>
                    </a:lnTo>
                    <a:lnTo>
                      <a:pt x="1013" y="75"/>
                    </a:lnTo>
                    <a:lnTo>
                      <a:pt x="1013" y="82"/>
                    </a:lnTo>
                    <a:lnTo>
                      <a:pt x="1010" y="86"/>
                    </a:lnTo>
                    <a:lnTo>
                      <a:pt x="1010" y="86"/>
                    </a:lnTo>
                    <a:lnTo>
                      <a:pt x="1005" y="86"/>
                    </a:lnTo>
                    <a:lnTo>
                      <a:pt x="1001" y="86"/>
                    </a:lnTo>
                    <a:lnTo>
                      <a:pt x="998" y="82"/>
                    </a:lnTo>
                    <a:lnTo>
                      <a:pt x="995" y="85"/>
                    </a:lnTo>
                    <a:lnTo>
                      <a:pt x="994" y="83"/>
                    </a:lnTo>
                    <a:lnTo>
                      <a:pt x="993" y="83"/>
                    </a:lnTo>
                    <a:lnTo>
                      <a:pt x="990" y="80"/>
                    </a:lnTo>
                    <a:lnTo>
                      <a:pt x="989" y="80"/>
                    </a:lnTo>
                    <a:lnTo>
                      <a:pt x="991" y="85"/>
                    </a:lnTo>
                    <a:lnTo>
                      <a:pt x="989" y="90"/>
                    </a:lnTo>
                    <a:lnTo>
                      <a:pt x="991" y="93"/>
                    </a:lnTo>
                    <a:lnTo>
                      <a:pt x="989" y="93"/>
                    </a:lnTo>
                    <a:lnTo>
                      <a:pt x="989" y="93"/>
                    </a:lnTo>
                    <a:lnTo>
                      <a:pt x="985" y="98"/>
                    </a:lnTo>
                    <a:lnTo>
                      <a:pt x="981" y="101"/>
                    </a:lnTo>
                    <a:lnTo>
                      <a:pt x="978" y="102"/>
                    </a:lnTo>
                    <a:lnTo>
                      <a:pt x="975" y="105"/>
                    </a:lnTo>
                    <a:lnTo>
                      <a:pt x="975" y="105"/>
                    </a:lnTo>
                    <a:lnTo>
                      <a:pt x="975" y="110"/>
                    </a:lnTo>
                    <a:lnTo>
                      <a:pt x="976" y="112"/>
                    </a:lnTo>
                    <a:lnTo>
                      <a:pt x="978" y="113"/>
                    </a:lnTo>
                    <a:lnTo>
                      <a:pt x="981" y="113"/>
                    </a:lnTo>
                    <a:lnTo>
                      <a:pt x="982" y="114"/>
                    </a:lnTo>
                    <a:lnTo>
                      <a:pt x="982" y="118"/>
                    </a:lnTo>
                    <a:lnTo>
                      <a:pt x="985" y="121"/>
                    </a:lnTo>
                    <a:lnTo>
                      <a:pt x="987" y="121"/>
                    </a:lnTo>
                    <a:lnTo>
                      <a:pt x="990" y="120"/>
                    </a:lnTo>
                    <a:lnTo>
                      <a:pt x="991" y="120"/>
                    </a:lnTo>
                    <a:lnTo>
                      <a:pt x="991" y="117"/>
                    </a:lnTo>
                    <a:lnTo>
                      <a:pt x="994" y="117"/>
                    </a:lnTo>
                    <a:lnTo>
                      <a:pt x="997" y="118"/>
                    </a:lnTo>
                    <a:lnTo>
                      <a:pt x="998" y="120"/>
                    </a:lnTo>
                    <a:lnTo>
                      <a:pt x="997" y="121"/>
                    </a:lnTo>
                    <a:lnTo>
                      <a:pt x="993" y="121"/>
                    </a:lnTo>
                    <a:lnTo>
                      <a:pt x="993" y="121"/>
                    </a:lnTo>
                    <a:lnTo>
                      <a:pt x="994" y="123"/>
                    </a:lnTo>
                    <a:lnTo>
                      <a:pt x="995" y="125"/>
                    </a:lnTo>
                    <a:lnTo>
                      <a:pt x="999" y="128"/>
                    </a:lnTo>
                    <a:lnTo>
                      <a:pt x="1004" y="129"/>
                    </a:lnTo>
                    <a:lnTo>
                      <a:pt x="1005" y="131"/>
                    </a:lnTo>
                    <a:lnTo>
                      <a:pt x="1006" y="133"/>
                    </a:lnTo>
                    <a:lnTo>
                      <a:pt x="1008" y="127"/>
                    </a:lnTo>
                    <a:lnTo>
                      <a:pt x="1008" y="124"/>
                    </a:lnTo>
                    <a:lnTo>
                      <a:pt x="1008" y="124"/>
                    </a:lnTo>
                    <a:lnTo>
                      <a:pt x="1004" y="120"/>
                    </a:lnTo>
                    <a:lnTo>
                      <a:pt x="1002" y="116"/>
                    </a:lnTo>
                    <a:lnTo>
                      <a:pt x="1004" y="116"/>
                    </a:lnTo>
                    <a:lnTo>
                      <a:pt x="1006" y="112"/>
                    </a:lnTo>
                    <a:lnTo>
                      <a:pt x="1005" y="110"/>
                    </a:lnTo>
                    <a:lnTo>
                      <a:pt x="1004" y="112"/>
                    </a:lnTo>
                    <a:lnTo>
                      <a:pt x="1004" y="112"/>
                    </a:lnTo>
                    <a:lnTo>
                      <a:pt x="1002" y="105"/>
                    </a:lnTo>
                    <a:lnTo>
                      <a:pt x="1002" y="102"/>
                    </a:lnTo>
                    <a:lnTo>
                      <a:pt x="1004" y="99"/>
                    </a:lnTo>
                    <a:lnTo>
                      <a:pt x="1005" y="99"/>
                    </a:lnTo>
                    <a:lnTo>
                      <a:pt x="1006" y="98"/>
                    </a:lnTo>
                    <a:lnTo>
                      <a:pt x="1009" y="99"/>
                    </a:lnTo>
                    <a:lnTo>
                      <a:pt x="1009" y="105"/>
                    </a:lnTo>
                    <a:lnTo>
                      <a:pt x="1006" y="106"/>
                    </a:lnTo>
                    <a:lnTo>
                      <a:pt x="1008" y="108"/>
                    </a:lnTo>
                    <a:lnTo>
                      <a:pt x="1010" y="108"/>
                    </a:lnTo>
                    <a:lnTo>
                      <a:pt x="1010" y="108"/>
                    </a:lnTo>
                    <a:lnTo>
                      <a:pt x="1010" y="112"/>
                    </a:lnTo>
                    <a:lnTo>
                      <a:pt x="1012" y="117"/>
                    </a:lnTo>
                    <a:lnTo>
                      <a:pt x="1009" y="116"/>
                    </a:lnTo>
                    <a:lnTo>
                      <a:pt x="1009" y="114"/>
                    </a:lnTo>
                    <a:lnTo>
                      <a:pt x="1006" y="114"/>
                    </a:lnTo>
                    <a:lnTo>
                      <a:pt x="1005" y="118"/>
                    </a:lnTo>
                    <a:lnTo>
                      <a:pt x="1008" y="121"/>
                    </a:lnTo>
                    <a:lnTo>
                      <a:pt x="1010" y="123"/>
                    </a:lnTo>
                    <a:lnTo>
                      <a:pt x="1013" y="121"/>
                    </a:lnTo>
                    <a:lnTo>
                      <a:pt x="1013" y="123"/>
                    </a:lnTo>
                    <a:lnTo>
                      <a:pt x="1010" y="125"/>
                    </a:lnTo>
                    <a:lnTo>
                      <a:pt x="1010" y="128"/>
                    </a:lnTo>
                    <a:lnTo>
                      <a:pt x="1014" y="128"/>
                    </a:lnTo>
                    <a:lnTo>
                      <a:pt x="1014" y="127"/>
                    </a:lnTo>
                    <a:lnTo>
                      <a:pt x="1017" y="129"/>
                    </a:lnTo>
                    <a:lnTo>
                      <a:pt x="1017" y="137"/>
                    </a:lnTo>
                    <a:lnTo>
                      <a:pt x="1023" y="140"/>
                    </a:lnTo>
                    <a:lnTo>
                      <a:pt x="1023" y="141"/>
                    </a:lnTo>
                    <a:lnTo>
                      <a:pt x="1021" y="144"/>
                    </a:lnTo>
                    <a:lnTo>
                      <a:pt x="1021" y="151"/>
                    </a:lnTo>
                    <a:lnTo>
                      <a:pt x="1020" y="152"/>
                    </a:lnTo>
                    <a:lnTo>
                      <a:pt x="1020" y="155"/>
                    </a:lnTo>
                    <a:lnTo>
                      <a:pt x="1017" y="156"/>
                    </a:lnTo>
                    <a:lnTo>
                      <a:pt x="1017" y="160"/>
                    </a:lnTo>
                    <a:lnTo>
                      <a:pt x="1017" y="160"/>
                    </a:lnTo>
                    <a:lnTo>
                      <a:pt x="1016" y="166"/>
                    </a:lnTo>
                    <a:lnTo>
                      <a:pt x="1013" y="170"/>
                    </a:lnTo>
                    <a:lnTo>
                      <a:pt x="1014" y="174"/>
                    </a:lnTo>
                    <a:lnTo>
                      <a:pt x="1014" y="174"/>
                    </a:lnTo>
                    <a:lnTo>
                      <a:pt x="1014" y="177"/>
                    </a:lnTo>
                    <a:lnTo>
                      <a:pt x="1013" y="178"/>
                    </a:lnTo>
                    <a:lnTo>
                      <a:pt x="1013" y="174"/>
                    </a:lnTo>
                    <a:lnTo>
                      <a:pt x="1012" y="174"/>
                    </a:lnTo>
                    <a:lnTo>
                      <a:pt x="1009" y="174"/>
                    </a:lnTo>
                    <a:lnTo>
                      <a:pt x="1008" y="177"/>
                    </a:lnTo>
                    <a:lnTo>
                      <a:pt x="1006" y="177"/>
                    </a:lnTo>
                    <a:lnTo>
                      <a:pt x="1009" y="173"/>
                    </a:lnTo>
                    <a:lnTo>
                      <a:pt x="1009" y="173"/>
                    </a:lnTo>
                    <a:lnTo>
                      <a:pt x="1009" y="169"/>
                    </a:lnTo>
                    <a:lnTo>
                      <a:pt x="1010" y="162"/>
                    </a:lnTo>
                    <a:lnTo>
                      <a:pt x="1012" y="155"/>
                    </a:lnTo>
                    <a:lnTo>
                      <a:pt x="1014" y="151"/>
                    </a:lnTo>
                    <a:lnTo>
                      <a:pt x="1012" y="151"/>
                    </a:lnTo>
                    <a:lnTo>
                      <a:pt x="1012" y="146"/>
                    </a:lnTo>
                    <a:lnTo>
                      <a:pt x="1010" y="141"/>
                    </a:lnTo>
                    <a:lnTo>
                      <a:pt x="1008" y="141"/>
                    </a:lnTo>
                    <a:lnTo>
                      <a:pt x="1008" y="139"/>
                    </a:lnTo>
                    <a:lnTo>
                      <a:pt x="1008" y="139"/>
                    </a:lnTo>
                    <a:lnTo>
                      <a:pt x="1001" y="131"/>
                    </a:lnTo>
                    <a:lnTo>
                      <a:pt x="999" y="131"/>
                    </a:lnTo>
                    <a:lnTo>
                      <a:pt x="999" y="135"/>
                    </a:lnTo>
                    <a:lnTo>
                      <a:pt x="995" y="127"/>
                    </a:lnTo>
                    <a:lnTo>
                      <a:pt x="994" y="128"/>
                    </a:lnTo>
                    <a:lnTo>
                      <a:pt x="994" y="131"/>
                    </a:lnTo>
                    <a:lnTo>
                      <a:pt x="990" y="131"/>
                    </a:lnTo>
                    <a:lnTo>
                      <a:pt x="990" y="129"/>
                    </a:lnTo>
                    <a:lnTo>
                      <a:pt x="993" y="127"/>
                    </a:lnTo>
                    <a:lnTo>
                      <a:pt x="993" y="127"/>
                    </a:lnTo>
                    <a:lnTo>
                      <a:pt x="990" y="124"/>
                    </a:lnTo>
                    <a:lnTo>
                      <a:pt x="987" y="123"/>
                    </a:lnTo>
                    <a:lnTo>
                      <a:pt x="985" y="124"/>
                    </a:lnTo>
                    <a:lnTo>
                      <a:pt x="986" y="125"/>
                    </a:lnTo>
                    <a:lnTo>
                      <a:pt x="979" y="125"/>
                    </a:lnTo>
                    <a:lnTo>
                      <a:pt x="978" y="128"/>
                    </a:lnTo>
                    <a:lnTo>
                      <a:pt x="976" y="125"/>
                    </a:lnTo>
                    <a:lnTo>
                      <a:pt x="975" y="125"/>
                    </a:lnTo>
                    <a:lnTo>
                      <a:pt x="975" y="129"/>
                    </a:lnTo>
                    <a:lnTo>
                      <a:pt x="972" y="129"/>
                    </a:lnTo>
                    <a:lnTo>
                      <a:pt x="972" y="129"/>
                    </a:lnTo>
                    <a:lnTo>
                      <a:pt x="972" y="125"/>
                    </a:lnTo>
                    <a:lnTo>
                      <a:pt x="974" y="124"/>
                    </a:lnTo>
                    <a:lnTo>
                      <a:pt x="974" y="124"/>
                    </a:lnTo>
                    <a:lnTo>
                      <a:pt x="971" y="120"/>
                    </a:lnTo>
                    <a:lnTo>
                      <a:pt x="968" y="116"/>
                    </a:lnTo>
                    <a:lnTo>
                      <a:pt x="968" y="114"/>
                    </a:lnTo>
                    <a:lnTo>
                      <a:pt x="971" y="113"/>
                    </a:lnTo>
                    <a:lnTo>
                      <a:pt x="971" y="113"/>
                    </a:lnTo>
                    <a:lnTo>
                      <a:pt x="971" y="108"/>
                    </a:lnTo>
                    <a:lnTo>
                      <a:pt x="972" y="104"/>
                    </a:lnTo>
                    <a:lnTo>
                      <a:pt x="978" y="99"/>
                    </a:lnTo>
                    <a:lnTo>
                      <a:pt x="976" y="97"/>
                    </a:lnTo>
                    <a:lnTo>
                      <a:pt x="978" y="94"/>
                    </a:lnTo>
                    <a:lnTo>
                      <a:pt x="978" y="89"/>
                    </a:lnTo>
                    <a:lnTo>
                      <a:pt x="981" y="83"/>
                    </a:lnTo>
                    <a:lnTo>
                      <a:pt x="978" y="80"/>
                    </a:lnTo>
                    <a:lnTo>
                      <a:pt x="978" y="86"/>
                    </a:lnTo>
                    <a:lnTo>
                      <a:pt x="978" y="86"/>
                    </a:lnTo>
                    <a:lnTo>
                      <a:pt x="975" y="85"/>
                    </a:lnTo>
                    <a:lnTo>
                      <a:pt x="972" y="85"/>
                    </a:lnTo>
                    <a:lnTo>
                      <a:pt x="971" y="87"/>
                    </a:lnTo>
                    <a:lnTo>
                      <a:pt x="971" y="89"/>
                    </a:lnTo>
                    <a:lnTo>
                      <a:pt x="971" y="91"/>
                    </a:lnTo>
                    <a:lnTo>
                      <a:pt x="966" y="91"/>
                    </a:lnTo>
                    <a:lnTo>
                      <a:pt x="967" y="95"/>
                    </a:lnTo>
                    <a:lnTo>
                      <a:pt x="968" y="97"/>
                    </a:lnTo>
                    <a:lnTo>
                      <a:pt x="968" y="98"/>
                    </a:lnTo>
                    <a:lnTo>
                      <a:pt x="964" y="99"/>
                    </a:lnTo>
                    <a:lnTo>
                      <a:pt x="959" y="95"/>
                    </a:lnTo>
                    <a:lnTo>
                      <a:pt x="957" y="95"/>
                    </a:lnTo>
                    <a:lnTo>
                      <a:pt x="956" y="99"/>
                    </a:lnTo>
                    <a:lnTo>
                      <a:pt x="955" y="98"/>
                    </a:lnTo>
                    <a:lnTo>
                      <a:pt x="952" y="99"/>
                    </a:lnTo>
                    <a:lnTo>
                      <a:pt x="949" y="97"/>
                    </a:lnTo>
                    <a:lnTo>
                      <a:pt x="949" y="97"/>
                    </a:lnTo>
                    <a:lnTo>
                      <a:pt x="949" y="101"/>
                    </a:lnTo>
                    <a:lnTo>
                      <a:pt x="949" y="106"/>
                    </a:lnTo>
                    <a:lnTo>
                      <a:pt x="948" y="108"/>
                    </a:lnTo>
                    <a:lnTo>
                      <a:pt x="948" y="109"/>
                    </a:lnTo>
                    <a:lnTo>
                      <a:pt x="947" y="110"/>
                    </a:lnTo>
                    <a:lnTo>
                      <a:pt x="947" y="110"/>
                    </a:lnTo>
                    <a:lnTo>
                      <a:pt x="949" y="116"/>
                    </a:lnTo>
                    <a:lnTo>
                      <a:pt x="951" y="120"/>
                    </a:lnTo>
                    <a:lnTo>
                      <a:pt x="953" y="118"/>
                    </a:lnTo>
                    <a:lnTo>
                      <a:pt x="955" y="120"/>
                    </a:lnTo>
                    <a:lnTo>
                      <a:pt x="955" y="121"/>
                    </a:lnTo>
                    <a:lnTo>
                      <a:pt x="956" y="123"/>
                    </a:lnTo>
                    <a:lnTo>
                      <a:pt x="959" y="121"/>
                    </a:lnTo>
                    <a:lnTo>
                      <a:pt x="959" y="120"/>
                    </a:lnTo>
                    <a:lnTo>
                      <a:pt x="960" y="118"/>
                    </a:lnTo>
                    <a:lnTo>
                      <a:pt x="963" y="120"/>
                    </a:lnTo>
                    <a:lnTo>
                      <a:pt x="962" y="124"/>
                    </a:lnTo>
                    <a:lnTo>
                      <a:pt x="964" y="127"/>
                    </a:lnTo>
                    <a:lnTo>
                      <a:pt x="964" y="127"/>
                    </a:lnTo>
                    <a:lnTo>
                      <a:pt x="964" y="131"/>
                    </a:lnTo>
                    <a:lnTo>
                      <a:pt x="963" y="136"/>
                    </a:lnTo>
                    <a:lnTo>
                      <a:pt x="960" y="140"/>
                    </a:lnTo>
                    <a:lnTo>
                      <a:pt x="956" y="143"/>
                    </a:lnTo>
                    <a:lnTo>
                      <a:pt x="959" y="147"/>
                    </a:lnTo>
                    <a:lnTo>
                      <a:pt x="959" y="147"/>
                    </a:lnTo>
                    <a:lnTo>
                      <a:pt x="956" y="150"/>
                    </a:lnTo>
                    <a:lnTo>
                      <a:pt x="952" y="152"/>
                    </a:lnTo>
                    <a:lnTo>
                      <a:pt x="953" y="156"/>
                    </a:lnTo>
                    <a:lnTo>
                      <a:pt x="955" y="158"/>
                    </a:lnTo>
                    <a:lnTo>
                      <a:pt x="955" y="159"/>
                    </a:lnTo>
                    <a:lnTo>
                      <a:pt x="949" y="160"/>
                    </a:lnTo>
                    <a:lnTo>
                      <a:pt x="951" y="155"/>
                    </a:lnTo>
                    <a:lnTo>
                      <a:pt x="947" y="150"/>
                    </a:lnTo>
                    <a:lnTo>
                      <a:pt x="945" y="151"/>
                    </a:lnTo>
                    <a:lnTo>
                      <a:pt x="945" y="152"/>
                    </a:lnTo>
                    <a:lnTo>
                      <a:pt x="943" y="155"/>
                    </a:lnTo>
                    <a:lnTo>
                      <a:pt x="941" y="152"/>
                    </a:lnTo>
                    <a:lnTo>
                      <a:pt x="940" y="154"/>
                    </a:lnTo>
                    <a:lnTo>
                      <a:pt x="940" y="155"/>
                    </a:lnTo>
                    <a:lnTo>
                      <a:pt x="937" y="156"/>
                    </a:lnTo>
                    <a:lnTo>
                      <a:pt x="936" y="156"/>
                    </a:lnTo>
                    <a:lnTo>
                      <a:pt x="936" y="156"/>
                    </a:lnTo>
                    <a:lnTo>
                      <a:pt x="938" y="151"/>
                    </a:lnTo>
                    <a:lnTo>
                      <a:pt x="944" y="147"/>
                    </a:lnTo>
                    <a:lnTo>
                      <a:pt x="945" y="147"/>
                    </a:lnTo>
                    <a:lnTo>
                      <a:pt x="947" y="148"/>
                    </a:lnTo>
                    <a:lnTo>
                      <a:pt x="948" y="147"/>
                    </a:lnTo>
                    <a:lnTo>
                      <a:pt x="949" y="147"/>
                    </a:lnTo>
                    <a:lnTo>
                      <a:pt x="951" y="146"/>
                    </a:lnTo>
                    <a:lnTo>
                      <a:pt x="951" y="143"/>
                    </a:lnTo>
                    <a:lnTo>
                      <a:pt x="955" y="136"/>
                    </a:lnTo>
                    <a:lnTo>
                      <a:pt x="952" y="137"/>
                    </a:lnTo>
                    <a:lnTo>
                      <a:pt x="951" y="135"/>
                    </a:lnTo>
                    <a:lnTo>
                      <a:pt x="951" y="135"/>
                    </a:lnTo>
                    <a:lnTo>
                      <a:pt x="948" y="136"/>
                    </a:lnTo>
                    <a:lnTo>
                      <a:pt x="943" y="139"/>
                    </a:lnTo>
                    <a:lnTo>
                      <a:pt x="933" y="143"/>
                    </a:lnTo>
                    <a:lnTo>
                      <a:pt x="932" y="143"/>
                    </a:lnTo>
                    <a:lnTo>
                      <a:pt x="932" y="143"/>
                    </a:lnTo>
                    <a:lnTo>
                      <a:pt x="937" y="139"/>
                    </a:lnTo>
                    <a:lnTo>
                      <a:pt x="940" y="136"/>
                    </a:lnTo>
                    <a:lnTo>
                      <a:pt x="941" y="135"/>
                    </a:lnTo>
                    <a:lnTo>
                      <a:pt x="944" y="133"/>
                    </a:lnTo>
                    <a:lnTo>
                      <a:pt x="945" y="132"/>
                    </a:lnTo>
                    <a:lnTo>
                      <a:pt x="945" y="131"/>
                    </a:lnTo>
                    <a:lnTo>
                      <a:pt x="940" y="132"/>
                    </a:lnTo>
                    <a:lnTo>
                      <a:pt x="937" y="131"/>
                    </a:lnTo>
                    <a:lnTo>
                      <a:pt x="937" y="129"/>
                    </a:lnTo>
                    <a:lnTo>
                      <a:pt x="937" y="129"/>
                    </a:lnTo>
                    <a:lnTo>
                      <a:pt x="938" y="127"/>
                    </a:lnTo>
                    <a:lnTo>
                      <a:pt x="938" y="124"/>
                    </a:lnTo>
                    <a:lnTo>
                      <a:pt x="936" y="121"/>
                    </a:lnTo>
                    <a:lnTo>
                      <a:pt x="932" y="121"/>
                    </a:lnTo>
                    <a:lnTo>
                      <a:pt x="930" y="124"/>
                    </a:lnTo>
                    <a:lnTo>
                      <a:pt x="928" y="127"/>
                    </a:lnTo>
                    <a:lnTo>
                      <a:pt x="928" y="128"/>
                    </a:lnTo>
                    <a:lnTo>
                      <a:pt x="926" y="128"/>
                    </a:lnTo>
                    <a:lnTo>
                      <a:pt x="924" y="128"/>
                    </a:lnTo>
                    <a:lnTo>
                      <a:pt x="924" y="127"/>
                    </a:lnTo>
                    <a:lnTo>
                      <a:pt x="921" y="127"/>
                    </a:lnTo>
                    <a:lnTo>
                      <a:pt x="917" y="123"/>
                    </a:lnTo>
                    <a:lnTo>
                      <a:pt x="917" y="123"/>
                    </a:lnTo>
                    <a:lnTo>
                      <a:pt x="914" y="124"/>
                    </a:lnTo>
                    <a:lnTo>
                      <a:pt x="911" y="125"/>
                    </a:lnTo>
                    <a:lnTo>
                      <a:pt x="910" y="125"/>
                    </a:lnTo>
                    <a:lnTo>
                      <a:pt x="903" y="127"/>
                    </a:lnTo>
                    <a:lnTo>
                      <a:pt x="905" y="132"/>
                    </a:lnTo>
                    <a:lnTo>
                      <a:pt x="906" y="133"/>
                    </a:lnTo>
                    <a:lnTo>
                      <a:pt x="906" y="133"/>
                    </a:lnTo>
                    <a:lnTo>
                      <a:pt x="902" y="133"/>
                    </a:lnTo>
                    <a:lnTo>
                      <a:pt x="899" y="133"/>
                    </a:lnTo>
                    <a:lnTo>
                      <a:pt x="903" y="125"/>
                    </a:lnTo>
                    <a:lnTo>
                      <a:pt x="906" y="125"/>
                    </a:lnTo>
                    <a:lnTo>
                      <a:pt x="910" y="121"/>
                    </a:lnTo>
                    <a:lnTo>
                      <a:pt x="915" y="121"/>
                    </a:lnTo>
                    <a:lnTo>
                      <a:pt x="915" y="121"/>
                    </a:lnTo>
                    <a:lnTo>
                      <a:pt x="918" y="118"/>
                    </a:lnTo>
                    <a:lnTo>
                      <a:pt x="921" y="117"/>
                    </a:lnTo>
                    <a:lnTo>
                      <a:pt x="921" y="117"/>
                    </a:lnTo>
                    <a:lnTo>
                      <a:pt x="922" y="112"/>
                    </a:lnTo>
                    <a:lnTo>
                      <a:pt x="922" y="108"/>
                    </a:lnTo>
                    <a:lnTo>
                      <a:pt x="921" y="106"/>
                    </a:lnTo>
                    <a:lnTo>
                      <a:pt x="911" y="106"/>
                    </a:lnTo>
                    <a:lnTo>
                      <a:pt x="910" y="104"/>
                    </a:lnTo>
                    <a:lnTo>
                      <a:pt x="910" y="101"/>
                    </a:lnTo>
                    <a:lnTo>
                      <a:pt x="907" y="99"/>
                    </a:lnTo>
                    <a:lnTo>
                      <a:pt x="902" y="102"/>
                    </a:lnTo>
                    <a:lnTo>
                      <a:pt x="903" y="104"/>
                    </a:lnTo>
                    <a:lnTo>
                      <a:pt x="903" y="104"/>
                    </a:lnTo>
                    <a:lnTo>
                      <a:pt x="902" y="105"/>
                    </a:lnTo>
                    <a:lnTo>
                      <a:pt x="900" y="106"/>
                    </a:lnTo>
                    <a:lnTo>
                      <a:pt x="899" y="105"/>
                    </a:lnTo>
                    <a:lnTo>
                      <a:pt x="895" y="108"/>
                    </a:lnTo>
                    <a:lnTo>
                      <a:pt x="892" y="117"/>
                    </a:lnTo>
                    <a:lnTo>
                      <a:pt x="895" y="117"/>
                    </a:lnTo>
                    <a:lnTo>
                      <a:pt x="892" y="123"/>
                    </a:lnTo>
                    <a:lnTo>
                      <a:pt x="892" y="124"/>
                    </a:lnTo>
                    <a:lnTo>
                      <a:pt x="895" y="124"/>
                    </a:lnTo>
                    <a:lnTo>
                      <a:pt x="895" y="127"/>
                    </a:lnTo>
                    <a:lnTo>
                      <a:pt x="895" y="127"/>
                    </a:lnTo>
                    <a:lnTo>
                      <a:pt x="894" y="129"/>
                    </a:lnTo>
                    <a:lnTo>
                      <a:pt x="891" y="133"/>
                    </a:lnTo>
                    <a:lnTo>
                      <a:pt x="887" y="133"/>
                    </a:lnTo>
                    <a:lnTo>
                      <a:pt x="886" y="131"/>
                    </a:lnTo>
                    <a:lnTo>
                      <a:pt x="884" y="133"/>
                    </a:lnTo>
                    <a:lnTo>
                      <a:pt x="883" y="132"/>
                    </a:lnTo>
                    <a:lnTo>
                      <a:pt x="883" y="132"/>
                    </a:lnTo>
                    <a:lnTo>
                      <a:pt x="881" y="132"/>
                    </a:lnTo>
                    <a:lnTo>
                      <a:pt x="879" y="135"/>
                    </a:lnTo>
                    <a:lnTo>
                      <a:pt x="876" y="137"/>
                    </a:lnTo>
                    <a:lnTo>
                      <a:pt x="873" y="139"/>
                    </a:lnTo>
                    <a:lnTo>
                      <a:pt x="873" y="139"/>
                    </a:lnTo>
                    <a:lnTo>
                      <a:pt x="865" y="140"/>
                    </a:lnTo>
                    <a:lnTo>
                      <a:pt x="856" y="141"/>
                    </a:lnTo>
                    <a:lnTo>
                      <a:pt x="856" y="144"/>
                    </a:lnTo>
                    <a:lnTo>
                      <a:pt x="857" y="144"/>
                    </a:lnTo>
                    <a:lnTo>
                      <a:pt x="858" y="146"/>
                    </a:lnTo>
                    <a:lnTo>
                      <a:pt x="856" y="147"/>
                    </a:lnTo>
                    <a:lnTo>
                      <a:pt x="856" y="155"/>
                    </a:lnTo>
                    <a:lnTo>
                      <a:pt x="850" y="152"/>
                    </a:lnTo>
                    <a:lnTo>
                      <a:pt x="850" y="155"/>
                    </a:lnTo>
                    <a:lnTo>
                      <a:pt x="852" y="156"/>
                    </a:lnTo>
                    <a:lnTo>
                      <a:pt x="852" y="160"/>
                    </a:lnTo>
                    <a:lnTo>
                      <a:pt x="848" y="158"/>
                    </a:lnTo>
                    <a:lnTo>
                      <a:pt x="845" y="162"/>
                    </a:lnTo>
                    <a:lnTo>
                      <a:pt x="843" y="163"/>
                    </a:lnTo>
                    <a:lnTo>
                      <a:pt x="843" y="162"/>
                    </a:lnTo>
                    <a:lnTo>
                      <a:pt x="841" y="160"/>
                    </a:lnTo>
                    <a:lnTo>
                      <a:pt x="841" y="159"/>
                    </a:lnTo>
                    <a:lnTo>
                      <a:pt x="843" y="156"/>
                    </a:lnTo>
                    <a:lnTo>
                      <a:pt x="842" y="155"/>
                    </a:lnTo>
                    <a:lnTo>
                      <a:pt x="843" y="154"/>
                    </a:lnTo>
                    <a:lnTo>
                      <a:pt x="843" y="154"/>
                    </a:lnTo>
                    <a:lnTo>
                      <a:pt x="842" y="152"/>
                    </a:lnTo>
                    <a:lnTo>
                      <a:pt x="839" y="151"/>
                    </a:lnTo>
                    <a:lnTo>
                      <a:pt x="841" y="150"/>
                    </a:lnTo>
                    <a:lnTo>
                      <a:pt x="842" y="151"/>
                    </a:lnTo>
                    <a:lnTo>
                      <a:pt x="854" y="143"/>
                    </a:lnTo>
                    <a:lnTo>
                      <a:pt x="852" y="139"/>
                    </a:lnTo>
                    <a:lnTo>
                      <a:pt x="849" y="139"/>
                    </a:lnTo>
                    <a:lnTo>
                      <a:pt x="846" y="139"/>
                    </a:lnTo>
                    <a:lnTo>
                      <a:pt x="846" y="139"/>
                    </a:lnTo>
                    <a:lnTo>
                      <a:pt x="846" y="143"/>
                    </a:lnTo>
                    <a:lnTo>
                      <a:pt x="845" y="146"/>
                    </a:lnTo>
                    <a:lnTo>
                      <a:pt x="841" y="150"/>
                    </a:lnTo>
                    <a:lnTo>
                      <a:pt x="841" y="150"/>
                    </a:lnTo>
                    <a:lnTo>
                      <a:pt x="833" y="148"/>
                    </a:lnTo>
                    <a:lnTo>
                      <a:pt x="827" y="148"/>
                    </a:lnTo>
                    <a:lnTo>
                      <a:pt x="823" y="148"/>
                    </a:lnTo>
                    <a:lnTo>
                      <a:pt x="822" y="147"/>
                    </a:lnTo>
                    <a:lnTo>
                      <a:pt x="820" y="146"/>
                    </a:lnTo>
                    <a:lnTo>
                      <a:pt x="816" y="147"/>
                    </a:lnTo>
                    <a:lnTo>
                      <a:pt x="808" y="143"/>
                    </a:lnTo>
                    <a:lnTo>
                      <a:pt x="807" y="144"/>
                    </a:lnTo>
                    <a:lnTo>
                      <a:pt x="800" y="143"/>
                    </a:lnTo>
                    <a:lnTo>
                      <a:pt x="797" y="140"/>
                    </a:lnTo>
                    <a:lnTo>
                      <a:pt x="797" y="140"/>
                    </a:lnTo>
                    <a:lnTo>
                      <a:pt x="795" y="144"/>
                    </a:lnTo>
                    <a:lnTo>
                      <a:pt x="792" y="147"/>
                    </a:lnTo>
                    <a:lnTo>
                      <a:pt x="796" y="150"/>
                    </a:lnTo>
                    <a:lnTo>
                      <a:pt x="791" y="154"/>
                    </a:lnTo>
                    <a:lnTo>
                      <a:pt x="792" y="155"/>
                    </a:lnTo>
                    <a:lnTo>
                      <a:pt x="792" y="155"/>
                    </a:lnTo>
                    <a:lnTo>
                      <a:pt x="793" y="159"/>
                    </a:lnTo>
                    <a:lnTo>
                      <a:pt x="792" y="162"/>
                    </a:lnTo>
                    <a:lnTo>
                      <a:pt x="789" y="163"/>
                    </a:lnTo>
                    <a:lnTo>
                      <a:pt x="791" y="166"/>
                    </a:lnTo>
                    <a:lnTo>
                      <a:pt x="788" y="166"/>
                    </a:lnTo>
                    <a:lnTo>
                      <a:pt x="786" y="167"/>
                    </a:lnTo>
                    <a:lnTo>
                      <a:pt x="786" y="169"/>
                    </a:lnTo>
                    <a:lnTo>
                      <a:pt x="785" y="169"/>
                    </a:lnTo>
                    <a:lnTo>
                      <a:pt x="785" y="171"/>
                    </a:lnTo>
                    <a:lnTo>
                      <a:pt x="785" y="175"/>
                    </a:lnTo>
                    <a:lnTo>
                      <a:pt x="786" y="178"/>
                    </a:lnTo>
                    <a:lnTo>
                      <a:pt x="786" y="182"/>
                    </a:lnTo>
                    <a:lnTo>
                      <a:pt x="789" y="182"/>
                    </a:lnTo>
                    <a:lnTo>
                      <a:pt x="793" y="186"/>
                    </a:lnTo>
                    <a:lnTo>
                      <a:pt x="793" y="188"/>
                    </a:lnTo>
                    <a:lnTo>
                      <a:pt x="791" y="186"/>
                    </a:lnTo>
                    <a:lnTo>
                      <a:pt x="791" y="188"/>
                    </a:lnTo>
                    <a:lnTo>
                      <a:pt x="791" y="188"/>
                    </a:lnTo>
                    <a:lnTo>
                      <a:pt x="789" y="189"/>
                    </a:lnTo>
                    <a:lnTo>
                      <a:pt x="788" y="188"/>
                    </a:lnTo>
                    <a:lnTo>
                      <a:pt x="788" y="184"/>
                    </a:lnTo>
                    <a:lnTo>
                      <a:pt x="785" y="184"/>
                    </a:lnTo>
                    <a:lnTo>
                      <a:pt x="781" y="185"/>
                    </a:lnTo>
                    <a:lnTo>
                      <a:pt x="782" y="188"/>
                    </a:lnTo>
                    <a:lnTo>
                      <a:pt x="785" y="192"/>
                    </a:lnTo>
                    <a:lnTo>
                      <a:pt x="785" y="197"/>
                    </a:lnTo>
                    <a:lnTo>
                      <a:pt x="786" y="197"/>
                    </a:lnTo>
                    <a:lnTo>
                      <a:pt x="788" y="198"/>
                    </a:lnTo>
                    <a:lnTo>
                      <a:pt x="786" y="201"/>
                    </a:lnTo>
                    <a:lnTo>
                      <a:pt x="786" y="201"/>
                    </a:lnTo>
                    <a:lnTo>
                      <a:pt x="785" y="207"/>
                    </a:lnTo>
                    <a:lnTo>
                      <a:pt x="782" y="208"/>
                    </a:lnTo>
                    <a:lnTo>
                      <a:pt x="782" y="208"/>
                    </a:lnTo>
                    <a:lnTo>
                      <a:pt x="785" y="209"/>
                    </a:lnTo>
                    <a:lnTo>
                      <a:pt x="786" y="211"/>
                    </a:lnTo>
                    <a:lnTo>
                      <a:pt x="788" y="211"/>
                    </a:lnTo>
                    <a:lnTo>
                      <a:pt x="791" y="212"/>
                    </a:lnTo>
                    <a:lnTo>
                      <a:pt x="789" y="213"/>
                    </a:lnTo>
                    <a:lnTo>
                      <a:pt x="785" y="212"/>
                    </a:lnTo>
                    <a:lnTo>
                      <a:pt x="782" y="213"/>
                    </a:lnTo>
                    <a:lnTo>
                      <a:pt x="784" y="217"/>
                    </a:lnTo>
                    <a:lnTo>
                      <a:pt x="782" y="219"/>
                    </a:lnTo>
                    <a:lnTo>
                      <a:pt x="784" y="220"/>
                    </a:lnTo>
                    <a:lnTo>
                      <a:pt x="782" y="223"/>
                    </a:lnTo>
                    <a:lnTo>
                      <a:pt x="784" y="226"/>
                    </a:lnTo>
                    <a:lnTo>
                      <a:pt x="780" y="227"/>
                    </a:lnTo>
                    <a:lnTo>
                      <a:pt x="780" y="219"/>
                    </a:lnTo>
                    <a:lnTo>
                      <a:pt x="777" y="217"/>
                    </a:lnTo>
                    <a:lnTo>
                      <a:pt x="777" y="217"/>
                    </a:lnTo>
                    <a:lnTo>
                      <a:pt x="777" y="213"/>
                    </a:lnTo>
                    <a:lnTo>
                      <a:pt x="778" y="211"/>
                    </a:lnTo>
                    <a:lnTo>
                      <a:pt x="781" y="209"/>
                    </a:lnTo>
                    <a:lnTo>
                      <a:pt x="784" y="204"/>
                    </a:lnTo>
                    <a:lnTo>
                      <a:pt x="782" y="201"/>
                    </a:lnTo>
                    <a:lnTo>
                      <a:pt x="780" y="198"/>
                    </a:lnTo>
                    <a:lnTo>
                      <a:pt x="780" y="198"/>
                    </a:lnTo>
                    <a:lnTo>
                      <a:pt x="774" y="201"/>
                    </a:lnTo>
                    <a:lnTo>
                      <a:pt x="774" y="201"/>
                    </a:lnTo>
                    <a:lnTo>
                      <a:pt x="773" y="201"/>
                    </a:lnTo>
                    <a:lnTo>
                      <a:pt x="773" y="204"/>
                    </a:lnTo>
                    <a:lnTo>
                      <a:pt x="774" y="205"/>
                    </a:lnTo>
                    <a:lnTo>
                      <a:pt x="776" y="208"/>
                    </a:lnTo>
                    <a:lnTo>
                      <a:pt x="774" y="208"/>
                    </a:lnTo>
                    <a:lnTo>
                      <a:pt x="776" y="211"/>
                    </a:lnTo>
                    <a:lnTo>
                      <a:pt x="774" y="215"/>
                    </a:lnTo>
                    <a:lnTo>
                      <a:pt x="772" y="216"/>
                    </a:lnTo>
                    <a:lnTo>
                      <a:pt x="767" y="213"/>
                    </a:lnTo>
                    <a:lnTo>
                      <a:pt x="766" y="215"/>
                    </a:lnTo>
                    <a:lnTo>
                      <a:pt x="765" y="219"/>
                    </a:lnTo>
                    <a:lnTo>
                      <a:pt x="763" y="219"/>
                    </a:lnTo>
                    <a:lnTo>
                      <a:pt x="759" y="217"/>
                    </a:lnTo>
                    <a:lnTo>
                      <a:pt x="758" y="213"/>
                    </a:lnTo>
                    <a:lnTo>
                      <a:pt x="757" y="213"/>
                    </a:lnTo>
                    <a:lnTo>
                      <a:pt x="755" y="213"/>
                    </a:lnTo>
                    <a:lnTo>
                      <a:pt x="755" y="217"/>
                    </a:lnTo>
                    <a:lnTo>
                      <a:pt x="753" y="219"/>
                    </a:lnTo>
                    <a:lnTo>
                      <a:pt x="754" y="220"/>
                    </a:lnTo>
                    <a:lnTo>
                      <a:pt x="754" y="223"/>
                    </a:lnTo>
                    <a:lnTo>
                      <a:pt x="757" y="224"/>
                    </a:lnTo>
                    <a:lnTo>
                      <a:pt x="757" y="227"/>
                    </a:lnTo>
                    <a:lnTo>
                      <a:pt x="753" y="228"/>
                    </a:lnTo>
                    <a:lnTo>
                      <a:pt x="753" y="231"/>
                    </a:lnTo>
                    <a:lnTo>
                      <a:pt x="754" y="232"/>
                    </a:lnTo>
                    <a:lnTo>
                      <a:pt x="753" y="234"/>
                    </a:lnTo>
                    <a:lnTo>
                      <a:pt x="755" y="238"/>
                    </a:lnTo>
                    <a:lnTo>
                      <a:pt x="754" y="239"/>
                    </a:lnTo>
                    <a:lnTo>
                      <a:pt x="751" y="236"/>
                    </a:lnTo>
                    <a:lnTo>
                      <a:pt x="747" y="236"/>
                    </a:lnTo>
                    <a:lnTo>
                      <a:pt x="746" y="236"/>
                    </a:lnTo>
                    <a:lnTo>
                      <a:pt x="750" y="234"/>
                    </a:lnTo>
                    <a:lnTo>
                      <a:pt x="747" y="234"/>
                    </a:lnTo>
                    <a:lnTo>
                      <a:pt x="746" y="235"/>
                    </a:lnTo>
                    <a:lnTo>
                      <a:pt x="744" y="235"/>
                    </a:lnTo>
                    <a:lnTo>
                      <a:pt x="736" y="236"/>
                    </a:lnTo>
                    <a:lnTo>
                      <a:pt x="736" y="241"/>
                    </a:lnTo>
                    <a:lnTo>
                      <a:pt x="738" y="243"/>
                    </a:lnTo>
                    <a:lnTo>
                      <a:pt x="736" y="245"/>
                    </a:lnTo>
                    <a:lnTo>
                      <a:pt x="740" y="246"/>
                    </a:lnTo>
                    <a:lnTo>
                      <a:pt x="740" y="251"/>
                    </a:lnTo>
                    <a:lnTo>
                      <a:pt x="743" y="251"/>
                    </a:lnTo>
                    <a:lnTo>
                      <a:pt x="743" y="251"/>
                    </a:lnTo>
                    <a:lnTo>
                      <a:pt x="747" y="257"/>
                    </a:lnTo>
                    <a:lnTo>
                      <a:pt x="750" y="264"/>
                    </a:lnTo>
                    <a:lnTo>
                      <a:pt x="750" y="264"/>
                    </a:lnTo>
                    <a:lnTo>
                      <a:pt x="754" y="264"/>
                    </a:lnTo>
                    <a:lnTo>
                      <a:pt x="759" y="266"/>
                    </a:lnTo>
                    <a:lnTo>
                      <a:pt x="769" y="269"/>
                    </a:lnTo>
                    <a:lnTo>
                      <a:pt x="769" y="270"/>
                    </a:lnTo>
                    <a:lnTo>
                      <a:pt x="769" y="270"/>
                    </a:lnTo>
                    <a:lnTo>
                      <a:pt x="765" y="272"/>
                    </a:lnTo>
                    <a:lnTo>
                      <a:pt x="762" y="274"/>
                    </a:lnTo>
                    <a:lnTo>
                      <a:pt x="761" y="273"/>
                    </a:lnTo>
                    <a:lnTo>
                      <a:pt x="751" y="279"/>
                    </a:lnTo>
                    <a:lnTo>
                      <a:pt x="748" y="277"/>
                    </a:lnTo>
                    <a:lnTo>
                      <a:pt x="743" y="279"/>
                    </a:lnTo>
                    <a:lnTo>
                      <a:pt x="744" y="281"/>
                    </a:lnTo>
                    <a:lnTo>
                      <a:pt x="742" y="281"/>
                    </a:lnTo>
                    <a:lnTo>
                      <a:pt x="743" y="280"/>
                    </a:lnTo>
                    <a:lnTo>
                      <a:pt x="738" y="277"/>
                    </a:lnTo>
                    <a:lnTo>
                      <a:pt x="742" y="274"/>
                    </a:lnTo>
                    <a:lnTo>
                      <a:pt x="743" y="273"/>
                    </a:lnTo>
                    <a:lnTo>
                      <a:pt x="743" y="272"/>
                    </a:lnTo>
                    <a:lnTo>
                      <a:pt x="743" y="272"/>
                    </a:lnTo>
                    <a:lnTo>
                      <a:pt x="739" y="273"/>
                    </a:lnTo>
                    <a:lnTo>
                      <a:pt x="735" y="273"/>
                    </a:lnTo>
                    <a:lnTo>
                      <a:pt x="734" y="277"/>
                    </a:lnTo>
                    <a:lnTo>
                      <a:pt x="735" y="279"/>
                    </a:lnTo>
                    <a:lnTo>
                      <a:pt x="738" y="279"/>
                    </a:lnTo>
                    <a:lnTo>
                      <a:pt x="739" y="281"/>
                    </a:lnTo>
                    <a:lnTo>
                      <a:pt x="738" y="284"/>
                    </a:lnTo>
                    <a:lnTo>
                      <a:pt x="735" y="285"/>
                    </a:lnTo>
                    <a:lnTo>
                      <a:pt x="734" y="287"/>
                    </a:lnTo>
                    <a:lnTo>
                      <a:pt x="735" y="292"/>
                    </a:lnTo>
                    <a:lnTo>
                      <a:pt x="735" y="292"/>
                    </a:lnTo>
                    <a:lnTo>
                      <a:pt x="739" y="296"/>
                    </a:lnTo>
                    <a:lnTo>
                      <a:pt x="743" y="297"/>
                    </a:lnTo>
                    <a:lnTo>
                      <a:pt x="746" y="299"/>
                    </a:lnTo>
                    <a:lnTo>
                      <a:pt x="748" y="302"/>
                    </a:lnTo>
                    <a:lnTo>
                      <a:pt x="751" y="302"/>
                    </a:lnTo>
                    <a:lnTo>
                      <a:pt x="751" y="304"/>
                    </a:lnTo>
                    <a:lnTo>
                      <a:pt x="751" y="304"/>
                    </a:lnTo>
                    <a:lnTo>
                      <a:pt x="755" y="304"/>
                    </a:lnTo>
                    <a:lnTo>
                      <a:pt x="758" y="306"/>
                    </a:lnTo>
                    <a:lnTo>
                      <a:pt x="759" y="310"/>
                    </a:lnTo>
                    <a:lnTo>
                      <a:pt x="762" y="310"/>
                    </a:lnTo>
                    <a:lnTo>
                      <a:pt x="763" y="308"/>
                    </a:lnTo>
                    <a:lnTo>
                      <a:pt x="763" y="303"/>
                    </a:lnTo>
                    <a:lnTo>
                      <a:pt x="761" y="300"/>
                    </a:lnTo>
                    <a:lnTo>
                      <a:pt x="762" y="297"/>
                    </a:lnTo>
                    <a:lnTo>
                      <a:pt x="766" y="299"/>
                    </a:lnTo>
                    <a:lnTo>
                      <a:pt x="766" y="300"/>
                    </a:lnTo>
                    <a:lnTo>
                      <a:pt x="769" y="300"/>
                    </a:lnTo>
                    <a:lnTo>
                      <a:pt x="769" y="299"/>
                    </a:lnTo>
                    <a:lnTo>
                      <a:pt x="773" y="297"/>
                    </a:lnTo>
                    <a:lnTo>
                      <a:pt x="774" y="295"/>
                    </a:lnTo>
                    <a:lnTo>
                      <a:pt x="776" y="296"/>
                    </a:lnTo>
                    <a:lnTo>
                      <a:pt x="777" y="306"/>
                    </a:lnTo>
                    <a:lnTo>
                      <a:pt x="784" y="308"/>
                    </a:lnTo>
                    <a:lnTo>
                      <a:pt x="786" y="306"/>
                    </a:lnTo>
                    <a:lnTo>
                      <a:pt x="789" y="308"/>
                    </a:lnTo>
                    <a:lnTo>
                      <a:pt x="782" y="311"/>
                    </a:lnTo>
                    <a:lnTo>
                      <a:pt x="784" y="315"/>
                    </a:lnTo>
                    <a:lnTo>
                      <a:pt x="778" y="315"/>
                    </a:lnTo>
                    <a:lnTo>
                      <a:pt x="778" y="314"/>
                    </a:lnTo>
                    <a:lnTo>
                      <a:pt x="778" y="314"/>
                    </a:lnTo>
                    <a:lnTo>
                      <a:pt x="774" y="311"/>
                    </a:lnTo>
                    <a:lnTo>
                      <a:pt x="769" y="311"/>
                    </a:lnTo>
                    <a:lnTo>
                      <a:pt x="767" y="314"/>
                    </a:lnTo>
                    <a:lnTo>
                      <a:pt x="765" y="315"/>
                    </a:lnTo>
                    <a:lnTo>
                      <a:pt x="761" y="312"/>
                    </a:lnTo>
                    <a:lnTo>
                      <a:pt x="759" y="314"/>
                    </a:lnTo>
                    <a:lnTo>
                      <a:pt x="759" y="315"/>
                    </a:lnTo>
                    <a:lnTo>
                      <a:pt x="761" y="315"/>
                    </a:lnTo>
                    <a:lnTo>
                      <a:pt x="761" y="315"/>
                    </a:lnTo>
                    <a:lnTo>
                      <a:pt x="761" y="322"/>
                    </a:lnTo>
                    <a:lnTo>
                      <a:pt x="762" y="330"/>
                    </a:lnTo>
                    <a:lnTo>
                      <a:pt x="763" y="330"/>
                    </a:lnTo>
                    <a:lnTo>
                      <a:pt x="765" y="327"/>
                    </a:lnTo>
                    <a:lnTo>
                      <a:pt x="765" y="327"/>
                    </a:lnTo>
                    <a:lnTo>
                      <a:pt x="769" y="329"/>
                    </a:lnTo>
                    <a:lnTo>
                      <a:pt x="773" y="330"/>
                    </a:lnTo>
                    <a:lnTo>
                      <a:pt x="773" y="334"/>
                    </a:lnTo>
                    <a:lnTo>
                      <a:pt x="773" y="334"/>
                    </a:lnTo>
                    <a:lnTo>
                      <a:pt x="776" y="335"/>
                    </a:lnTo>
                    <a:lnTo>
                      <a:pt x="778" y="337"/>
                    </a:lnTo>
                    <a:lnTo>
                      <a:pt x="786" y="334"/>
                    </a:lnTo>
                    <a:lnTo>
                      <a:pt x="786" y="334"/>
                    </a:lnTo>
                    <a:lnTo>
                      <a:pt x="788" y="331"/>
                    </a:lnTo>
                    <a:lnTo>
                      <a:pt x="793" y="329"/>
                    </a:lnTo>
                    <a:lnTo>
                      <a:pt x="801" y="323"/>
                    </a:lnTo>
                    <a:lnTo>
                      <a:pt x="801" y="321"/>
                    </a:lnTo>
                    <a:lnTo>
                      <a:pt x="804" y="319"/>
                    </a:lnTo>
                    <a:lnTo>
                      <a:pt x="801" y="326"/>
                    </a:lnTo>
                    <a:lnTo>
                      <a:pt x="801" y="326"/>
                    </a:lnTo>
                    <a:lnTo>
                      <a:pt x="795" y="329"/>
                    </a:lnTo>
                    <a:lnTo>
                      <a:pt x="791" y="331"/>
                    </a:lnTo>
                    <a:lnTo>
                      <a:pt x="785" y="335"/>
                    </a:lnTo>
                    <a:lnTo>
                      <a:pt x="778" y="338"/>
                    </a:lnTo>
                    <a:lnTo>
                      <a:pt x="777" y="341"/>
                    </a:lnTo>
                    <a:lnTo>
                      <a:pt x="773" y="340"/>
                    </a:lnTo>
                    <a:lnTo>
                      <a:pt x="770" y="341"/>
                    </a:lnTo>
                    <a:lnTo>
                      <a:pt x="769" y="341"/>
                    </a:lnTo>
                    <a:lnTo>
                      <a:pt x="766" y="341"/>
                    </a:lnTo>
                    <a:lnTo>
                      <a:pt x="763" y="340"/>
                    </a:lnTo>
                    <a:lnTo>
                      <a:pt x="765" y="338"/>
                    </a:lnTo>
                    <a:lnTo>
                      <a:pt x="769" y="338"/>
                    </a:lnTo>
                    <a:lnTo>
                      <a:pt x="769" y="337"/>
                    </a:lnTo>
                    <a:lnTo>
                      <a:pt x="769" y="335"/>
                    </a:lnTo>
                    <a:lnTo>
                      <a:pt x="766" y="335"/>
                    </a:lnTo>
                    <a:lnTo>
                      <a:pt x="763" y="338"/>
                    </a:lnTo>
                    <a:lnTo>
                      <a:pt x="763" y="338"/>
                    </a:lnTo>
                    <a:lnTo>
                      <a:pt x="759" y="335"/>
                    </a:lnTo>
                    <a:lnTo>
                      <a:pt x="755" y="335"/>
                    </a:lnTo>
                    <a:lnTo>
                      <a:pt x="755" y="330"/>
                    </a:lnTo>
                    <a:lnTo>
                      <a:pt x="755" y="330"/>
                    </a:lnTo>
                    <a:lnTo>
                      <a:pt x="751" y="333"/>
                    </a:lnTo>
                    <a:lnTo>
                      <a:pt x="747" y="333"/>
                    </a:lnTo>
                    <a:lnTo>
                      <a:pt x="747" y="330"/>
                    </a:lnTo>
                    <a:lnTo>
                      <a:pt x="747" y="330"/>
                    </a:lnTo>
                    <a:lnTo>
                      <a:pt x="742" y="335"/>
                    </a:lnTo>
                    <a:lnTo>
                      <a:pt x="736" y="338"/>
                    </a:lnTo>
                    <a:lnTo>
                      <a:pt x="736" y="338"/>
                    </a:lnTo>
                    <a:lnTo>
                      <a:pt x="734" y="338"/>
                    </a:lnTo>
                    <a:lnTo>
                      <a:pt x="732" y="337"/>
                    </a:lnTo>
                    <a:lnTo>
                      <a:pt x="729" y="334"/>
                    </a:lnTo>
                    <a:lnTo>
                      <a:pt x="725" y="333"/>
                    </a:lnTo>
                    <a:lnTo>
                      <a:pt x="723" y="333"/>
                    </a:lnTo>
                    <a:lnTo>
                      <a:pt x="719" y="334"/>
                    </a:lnTo>
                    <a:lnTo>
                      <a:pt x="715" y="340"/>
                    </a:lnTo>
                    <a:lnTo>
                      <a:pt x="715" y="341"/>
                    </a:lnTo>
                    <a:lnTo>
                      <a:pt x="717" y="342"/>
                    </a:lnTo>
                    <a:lnTo>
                      <a:pt x="715" y="345"/>
                    </a:lnTo>
                    <a:lnTo>
                      <a:pt x="712" y="342"/>
                    </a:lnTo>
                    <a:lnTo>
                      <a:pt x="709" y="342"/>
                    </a:lnTo>
                    <a:lnTo>
                      <a:pt x="705" y="341"/>
                    </a:lnTo>
                    <a:lnTo>
                      <a:pt x="697" y="342"/>
                    </a:lnTo>
                    <a:lnTo>
                      <a:pt x="696" y="345"/>
                    </a:lnTo>
                    <a:lnTo>
                      <a:pt x="696" y="346"/>
                    </a:lnTo>
                    <a:lnTo>
                      <a:pt x="696" y="346"/>
                    </a:lnTo>
                    <a:lnTo>
                      <a:pt x="700" y="346"/>
                    </a:lnTo>
                    <a:lnTo>
                      <a:pt x="704" y="348"/>
                    </a:lnTo>
                    <a:lnTo>
                      <a:pt x="708" y="346"/>
                    </a:lnTo>
                    <a:lnTo>
                      <a:pt x="709" y="348"/>
                    </a:lnTo>
                    <a:lnTo>
                      <a:pt x="709" y="350"/>
                    </a:lnTo>
                    <a:lnTo>
                      <a:pt x="708" y="352"/>
                    </a:lnTo>
                    <a:lnTo>
                      <a:pt x="709" y="353"/>
                    </a:lnTo>
                    <a:lnTo>
                      <a:pt x="711" y="354"/>
                    </a:lnTo>
                    <a:lnTo>
                      <a:pt x="713" y="353"/>
                    </a:lnTo>
                    <a:lnTo>
                      <a:pt x="716" y="356"/>
                    </a:lnTo>
                    <a:lnTo>
                      <a:pt x="716" y="356"/>
                    </a:lnTo>
                    <a:lnTo>
                      <a:pt x="719" y="357"/>
                    </a:lnTo>
                    <a:lnTo>
                      <a:pt x="720" y="359"/>
                    </a:lnTo>
                    <a:lnTo>
                      <a:pt x="719" y="363"/>
                    </a:lnTo>
                    <a:lnTo>
                      <a:pt x="720" y="364"/>
                    </a:lnTo>
                    <a:lnTo>
                      <a:pt x="723" y="363"/>
                    </a:lnTo>
                    <a:lnTo>
                      <a:pt x="725" y="364"/>
                    </a:lnTo>
                    <a:lnTo>
                      <a:pt x="725" y="364"/>
                    </a:lnTo>
                    <a:lnTo>
                      <a:pt x="729" y="364"/>
                    </a:lnTo>
                    <a:lnTo>
                      <a:pt x="734" y="363"/>
                    </a:lnTo>
                    <a:lnTo>
                      <a:pt x="735" y="365"/>
                    </a:lnTo>
                    <a:lnTo>
                      <a:pt x="734" y="367"/>
                    </a:lnTo>
                    <a:lnTo>
                      <a:pt x="734" y="368"/>
                    </a:lnTo>
                    <a:lnTo>
                      <a:pt x="738" y="369"/>
                    </a:lnTo>
                    <a:lnTo>
                      <a:pt x="738" y="373"/>
                    </a:lnTo>
                    <a:lnTo>
                      <a:pt x="740" y="373"/>
                    </a:lnTo>
                    <a:lnTo>
                      <a:pt x="740" y="375"/>
                    </a:lnTo>
                    <a:lnTo>
                      <a:pt x="740" y="378"/>
                    </a:lnTo>
                    <a:lnTo>
                      <a:pt x="743" y="379"/>
                    </a:lnTo>
                    <a:lnTo>
                      <a:pt x="744" y="378"/>
                    </a:lnTo>
                    <a:lnTo>
                      <a:pt x="744" y="378"/>
                    </a:lnTo>
                    <a:lnTo>
                      <a:pt x="747" y="378"/>
                    </a:lnTo>
                    <a:lnTo>
                      <a:pt x="750" y="378"/>
                    </a:lnTo>
                    <a:lnTo>
                      <a:pt x="748" y="380"/>
                    </a:lnTo>
                    <a:lnTo>
                      <a:pt x="746" y="380"/>
                    </a:lnTo>
                    <a:lnTo>
                      <a:pt x="746" y="384"/>
                    </a:lnTo>
                    <a:lnTo>
                      <a:pt x="746" y="384"/>
                    </a:lnTo>
                    <a:lnTo>
                      <a:pt x="740" y="384"/>
                    </a:lnTo>
                    <a:lnTo>
                      <a:pt x="738" y="380"/>
                    </a:lnTo>
                    <a:lnTo>
                      <a:pt x="734" y="380"/>
                    </a:lnTo>
                    <a:lnTo>
                      <a:pt x="732" y="379"/>
                    </a:lnTo>
                    <a:lnTo>
                      <a:pt x="732" y="375"/>
                    </a:lnTo>
                    <a:lnTo>
                      <a:pt x="728" y="372"/>
                    </a:lnTo>
                    <a:lnTo>
                      <a:pt x="728" y="369"/>
                    </a:lnTo>
                    <a:lnTo>
                      <a:pt x="728" y="369"/>
                    </a:lnTo>
                    <a:lnTo>
                      <a:pt x="727" y="368"/>
                    </a:lnTo>
                    <a:lnTo>
                      <a:pt x="724" y="368"/>
                    </a:lnTo>
                    <a:lnTo>
                      <a:pt x="721" y="371"/>
                    </a:lnTo>
                    <a:lnTo>
                      <a:pt x="719" y="369"/>
                    </a:lnTo>
                    <a:lnTo>
                      <a:pt x="719" y="369"/>
                    </a:lnTo>
                    <a:lnTo>
                      <a:pt x="715" y="371"/>
                    </a:lnTo>
                    <a:lnTo>
                      <a:pt x="712" y="373"/>
                    </a:lnTo>
                    <a:lnTo>
                      <a:pt x="709" y="369"/>
                    </a:lnTo>
                    <a:lnTo>
                      <a:pt x="704" y="369"/>
                    </a:lnTo>
                    <a:lnTo>
                      <a:pt x="700" y="371"/>
                    </a:lnTo>
                    <a:lnTo>
                      <a:pt x="700" y="372"/>
                    </a:lnTo>
                    <a:lnTo>
                      <a:pt x="700" y="372"/>
                    </a:lnTo>
                    <a:lnTo>
                      <a:pt x="704" y="373"/>
                    </a:lnTo>
                    <a:lnTo>
                      <a:pt x="706" y="376"/>
                    </a:lnTo>
                    <a:lnTo>
                      <a:pt x="713" y="379"/>
                    </a:lnTo>
                    <a:lnTo>
                      <a:pt x="717" y="379"/>
                    </a:lnTo>
                    <a:lnTo>
                      <a:pt x="717" y="379"/>
                    </a:lnTo>
                    <a:lnTo>
                      <a:pt x="721" y="380"/>
                    </a:lnTo>
                    <a:lnTo>
                      <a:pt x="725" y="380"/>
                    </a:lnTo>
                    <a:lnTo>
                      <a:pt x="728" y="383"/>
                    </a:lnTo>
                    <a:lnTo>
                      <a:pt x="729" y="386"/>
                    </a:lnTo>
                    <a:lnTo>
                      <a:pt x="729" y="386"/>
                    </a:lnTo>
                    <a:lnTo>
                      <a:pt x="731" y="387"/>
                    </a:lnTo>
                    <a:lnTo>
                      <a:pt x="735" y="388"/>
                    </a:lnTo>
                    <a:lnTo>
                      <a:pt x="742" y="388"/>
                    </a:lnTo>
                    <a:lnTo>
                      <a:pt x="742" y="390"/>
                    </a:lnTo>
                    <a:lnTo>
                      <a:pt x="742" y="390"/>
                    </a:lnTo>
                    <a:lnTo>
                      <a:pt x="736" y="390"/>
                    </a:lnTo>
                    <a:lnTo>
                      <a:pt x="729" y="390"/>
                    </a:lnTo>
                    <a:lnTo>
                      <a:pt x="729" y="390"/>
                    </a:lnTo>
                    <a:lnTo>
                      <a:pt x="725" y="387"/>
                    </a:lnTo>
                    <a:lnTo>
                      <a:pt x="725" y="387"/>
                    </a:lnTo>
                    <a:lnTo>
                      <a:pt x="721" y="387"/>
                    </a:lnTo>
                    <a:lnTo>
                      <a:pt x="720" y="387"/>
                    </a:lnTo>
                    <a:lnTo>
                      <a:pt x="719" y="386"/>
                    </a:lnTo>
                    <a:lnTo>
                      <a:pt x="713" y="387"/>
                    </a:lnTo>
                    <a:lnTo>
                      <a:pt x="712" y="386"/>
                    </a:lnTo>
                    <a:lnTo>
                      <a:pt x="712" y="386"/>
                    </a:lnTo>
                    <a:lnTo>
                      <a:pt x="713" y="386"/>
                    </a:lnTo>
                    <a:lnTo>
                      <a:pt x="715" y="383"/>
                    </a:lnTo>
                    <a:lnTo>
                      <a:pt x="712" y="380"/>
                    </a:lnTo>
                    <a:lnTo>
                      <a:pt x="706" y="384"/>
                    </a:lnTo>
                    <a:lnTo>
                      <a:pt x="706" y="384"/>
                    </a:lnTo>
                    <a:lnTo>
                      <a:pt x="702" y="382"/>
                    </a:lnTo>
                    <a:lnTo>
                      <a:pt x="698" y="379"/>
                    </a:lnTo>
                    <a:lnTo>
                      <a:pt x="698" y="379"/>
                    </a:lnTo>
                    <a:lnTo>
                      <a:pt x="692" y="378"/>
                    </a:lnTo>
                    <a:lnTo>
                      <a:pt x="689" y="376"/>
                    </a:lnTo>
                    <a:lnTo>
                      <a:pt x="685" y="376"/>
                    </a:lnTo>
                    <a:lnTo>
                      <a:pt x="685" y="376"/>
                    </a:lnTo>
                    <a:lnTo>
                      <a:pt x="681" y="378"/>
                    </a:lnTo>
                    <a:lnTo>
                      <a:pt x="679" y="378"/>
                    </a:lnTo>
                    <a:lnTo>
                      <a:pt x="677" y="378"/>
                    </a:lnTo>
                    <a:lnTo>
                      <a:pt x="668" y="380"/>
                    </a:lnTo>
                    <a:lnTo>
                      <a:pt x="666" y="379"/>
                    </a:lnTo>
                    <a:lnTo>
                      <a:pt x="662" y="382"/>
                    </a:lnTo>
                    <a:lnTo>
                      <a:pt x="659" y="382"/>
                    </a:lnTo>
                    <a:lnTo>
                      <a:pt x="656" y="386"/>
                    </a:lnTo>
                    <a:lnTo>
                      <a:pt x="655" y="387"/>
                    </a:lnTo>
                    <a:lnTo>
                      <a:pt x="652" y="386"/>
                    </a:lnTo>
                    <a:lnTo>
                      <a:pt x="651" y="388"/>
                    </a:lnTo>
                    <a:lnTo>
                      <a:pt x="645" y="391"/>
                    </a:lnTo>
                    <a:lnTo>
                      <a:pt x="644" y="392"/>
                    </a:lnTo>
                    <a:lnTo>
                      <a:pt x="645" y="394"/>
                    </a:lnTo>
                    <a:lnTo>
                      <a:pt x="647" y="395"/>
                    </a:lnTo>
                    <a:lnTo>
                      <a:pt x="645" y="397"/>
                    </a:lnTo>
                    <a:lnTo>
                      <a:pt x="645" y="397"/>
                    </a:lnTo>
                    <a:lnTo>
                      <a:pt x="641" y="397"/>
                    </a:lnTo>
                    <a:lnTo>
                      <a:pt x="637" y="399"/>
                    </a:lnTo>
                    <a:lnTo>
                      <a:pt x="635" y="401"/>
                    </a:lnTo>
                    <a:lnTo>
                      <a:pt x="630" y="401"/>
                    </a:lnTo>
                    <a:lnTo>
                      <a:pt x="630" y="402"/>
                    </a:lnTo>
                    <a:lnTo>
                      <a:pt x="632" y="403"/>
                    </a:lnTo>
                    <a:lnTo>
                      <a:pt x="629" y="407"/>
                    </a:lnTo>
                    <a:lnTo>
                      <a:pt x="629" y="409"/>
                    </a:lnTo>
                    <a:lnTo>
                      <a:pt x="630" y="411"/>
                    </a:lnTo>
                    <a:lnTo>
                      <a:pt x="628" y="411"/>
                    </a:lnTo>
                    <a:lnTo>
                      <a:pt x="629" y="416"/>
                    </a:lnTo>
                    <a:lnTo>
                      <a:pt x="630" y="417"/>
                    </a:lnTo>
                    <a:lnTo>
                      <a:pt x="633" y="416"/>
                    </a:lnTo>
                    <a:lnTo>
                      <a:pt x="632" y="418"/>
                    </a:lnTo>
                    <a:lnTo>
                      <a:pt x="630" y="420"/>
                    </a:lnTo>
                    <a:lnTo>
                      <a:pt x="626" y="417"/>
                    </a:lnTo>
                    <a:lnTo>
                      <a:pt x="625" y="418"/>
                    </a:lnTo>
                    <a:lnTo>
                      <a:pt x="624" y="420"/>
                    </a:lnTo>
                    <a:lnTo>
                      <a:pt x="624" y="420"/>
                    </a:lnTo>
                    <a:lnTo>
                      <a:pt x="620" y="422"/>
                    </a:lnTo>
                    <a:lnTo>
                      <a:pt x="617" y="422"/>
                    </a:lnTo>
                    <a:lnTo>
                      <a:pt x="614" y="422"/>
                    </a:lnTo>
                    <a:lnTo>
                      <a:pt x="614" y="420"/>
                    </a:lnTo>
                    <a:lnTo>
                      <a:pt x="609" y="424"/>
                    </a:lnTo>
                    <a:lnTo>
                      <a:pt x="609" y="424"/>
                    </a:lnTo>
                    <a:lnTo>
                      <a:pt x="610" y="428"/>
                    </a:lnTo>
                    <a:lnTo>
                      <a:pt x="611" y="430"/>
                    </a:lnTo>
                    <a:lnTo>
                      <a:pt x="616" y="430"/>
                    </a:lnTo>
                    <a:lnTo>
                      <a:pt x="616" y="433"/>
                    </a:lnTo>
                    <a:lnTo>
                      <a:pt x="616" y="433"/>
                    </a:lnTo>
                    <a:lnTo>
                      <a:pt x="617" y="436"/>
                    </a:lnTo>
                    <a:lnTo>
                      <a:pt x="617" y="439"/>
                    </a:lnTo>
                    <a:lnTo>
                      <a:pt x="614" y="441"/>
                    </a:lnTo>
                    <a:lnTo>
                      <a:pt x="614" y="441"/>
                    </a:lnTo>
                    <a:lnTo>
                      <a:pt x="613" y="444"/>
                    </a:lnTo>
                    <a:lnTo>
                      <a:pt x="613" y="448"/>
                    </a:lnTo>
                    <a:lnTo>
                      <a:pt x="614" y="449"/>
                    </a:lnTo>
                    <a:lnTo>
                      <a:pt x="616" y="447"/>
                    </a:lnTo>
                    <a:lnTo>
                      <a:pt x="618" y="448"/>
                    </a:lnTo>
                    <a:lnTo>
                      <a:pt x="620" y="447"/>
                    </a:lnTo>
                    <a:lnTo>
                      <a:pt x="621" y="445"/>
                    </a:lnTo>
                    <a:lnTo>
                      <a:pt x="621" y="451"/>
                    </a:lnTo>
                    <a:lnTo>
                      <a:pt x="621" y="451"/>
                    </a:lnTo>
                    <a:lnTo>
                      <a:pt x="629" y="452"/>
                    </a:lnTo>
                    <a:lnTo>
                      <a:pt x="637" y="455"/>
                    </a:lnTo>
                    <a:lnTo>
                      <a:pt x="637" y="458"/>
                    </a:lnTo>
                    <a:lnTo>
                      <a:pt x="643" y="458"/>
                    </a:lnTo>
                    <a:lnTo>
                      <a:pt x="644" y="460"/>
                    </a:lnTo>
                    <a:lnTo>
                      <a:pt x="647" y="459"/>
                    </a:lnTo>
                    <a:lnTo>
                      <a:pt x="647" y="459"/>
                    </a:lnTo>
                    <a:lnTo>
                      <a:pt x="651" y="462"/>
                    </a:lnTo>
                    <a:lnTo>
                      <a:pt x="655" y="464"/>
                    </a:lnTo>
                    <a:lnTo>
                      <a:pt x="655" y="466"/>
                    </a:lnTo>
                    <a:lnTo>
                      <a:pt x="652" y="468"/>
                    </a:lnTo>
                    <a:lnTo>
                      <a:pt x="652" y="470"/>
                    </a:lnTo>
                    <a:lnTo>
                      <a:pt x="655" y="471"/>
                    </a:lnTo>
                    <a:lnTo>
                      <a:pt x="654" y="474"/>
                    </a:lnTo>
                    <a:lnTo>
                      <a:pt x="658" y="472"/>
                    </a:lnTo>
                    <a:lnTo>
                      <a:pt x="660" y="474"/>
                    </a:lnTo>
                    <a:lnTo>
                      <a:pt x="662" y="471"/>
                    </a:lnTo>
                    <a:lnTo>
                      <a:pt x="666" y="472"/>
                    </a:lnTo>
                    <a:lnTo>
                      <a:pt x="671" y="471"/>
                    </a:lnTo>
                    <a:lnTo>
                      <a:pt x="667" y="467"/>
                    </a:lnTo>
                    <a:lnTo>
                      <a:pt x="667" y="467"/>
                    </a:lnTo>
                    <a:lnTo>
                      <a:pt x="667" y="462"/>
                    </a:lnTo>
                    <a:lnTo>
                      <a:pt x="666" y="458"/>
                    </a:lnTo>
                    <a:lnTo>
                      <a:pt x="667" y="455"/>
                    </a:lnTo>
                    <a:lnTo>
                      <a:pt x="670" y="462"/>
                    </a:lnTo>
                    <a:lnTo>
                      <a:pt x="670" y="466"/>
                    </a:lnTo>
                    <a:lnTo>
                      <a:pt x="671" y="467"/>
                    </a:lnTo>
                    <a:lnTo>
                      <a:pt x="673" y="470"/>
                    </a:lnTo>
                    <a:lnTo>
                      <a:pt x="677" y="471"/>
                    </a:lnTo>
                    <a:lnTo>
                      <a:pt x="682" y="470"/>
                    </a:lnTo>
                    <a:lnTo>
                      <a:pt x="679" y="472"/>
                    </a:lnTo>
                    <a:lnTo>
                      <a:pt x="677" y="472"/>
                    </a:lnTo>
                    <a:lnTo>
                      <a:pt x="675" y="474"/>
                    </a:lnTo>
                    <a:lnTo>
                      <a:pt x="675" y="475"/>
                    </a:lnTo>
                    <a:lnTo>
                      <a:pt x="687" y="475"/>
                    </a:lnTo>
                    <a:lnTo>
                      <a:pt x="687" y="477"/>
                    </a:lnTo>
                    <a:lnTo>
                      <a:pt x="687" y="479"/>
                    </a:lnTo>
                    <a:lnTo>
                      <a:pt x="686" y="481"/>
                    </a:lnTo>
                    <a:lnTo>
                      <a:pt x="685" y="481"/>
                    </a:lnTo>
                    <a:lnTo>
                      <a:pt x="686" y="482"/>
                    </a:lnTo>
                    <a:lnTo>
                      <a:pt x="687" y="482"/>
                    </a:lnTo>
                    <a:lnTo>
                      <a:pt x="689" y="481"/>
                    </a:lnTo>
                    <a:lnTo>
                      <a:pt x="690" y="479"/>
                    </a:lnTo>
                    <a:lnTo>
                      <a:pt x="692" y="478"/>
                    </a:lnTo>
                    <a:lnTo>
                      <a:pt x="693" y="478"/>
                    </a:lnTo>
                    <a:lnTo>
                      <a:pt x="698" y="474"/>
                    </a:lnTo>
                    <a:lnTo>
                      <a:pt x="702" y="475"/>
                    </a:lnTo>
                    <a:lnTo>
                      <a:pt x="702" y="475"/>
                    </a:lnTo>
                    <a:lnTo>
                      <a:pt x="706" y="474"/>
                    </a:lnTo>
                    <a:lnTo>
                      <a:pt x="709" y="472"/>
                    </a:lnTo>
                    <a:lnTo>
                      <a:pt x="712" y="470"/>
                    </a:lnTo>
                    <a:lnTo>
                      <a:pt x="716" y="470"/>
                    </a:lnTo>
                    <a:lnTo>
                      <a:pt x="716" y="470"/>
                    </a:lnTo>
                    <a:lnTo>
                      <a:pt x="717" y="467"/>
                    </a:lnTo>
                    <a:lnTo>
                      <a:pt x="720" y="466"/>
                    </a:lnTo>
                    <a:lnTo>
                      <a:pt x="725" y="464"/>
                    </a:lnTo>
                    <a:lnTo>
                      <a:pt x="727" y="464"/>
                    </a:lnTo>
                    <a:lnTo>
                      <a:pt x="727" y="466"/>
                    </a:lnTo>
                    <a:lnTo>
                      <a:pt x="725" y="467"/>
                    </a:lnTo>
                    <a:lnTo>
                      <a:pt x="727" y="470"/>
                    </a:lnTo>
                    <a:lnTo>
                      <a:pt x="724" y="471"/>
                    </a:lnTo>
                    <a:lnTo>
                      <a:pt x="723" y="475"/>
                    </a:lnTo>
                    <a:lnTo>
                      <a:pt x="725" y="477"/>
                    </a:lnTo>
                    <a:lnTo>
                      <a:pt x="725" y="477"/>
                    </a:lnTo>
                    <a:lnTo>
                      <a:pt x="724" y="479"/>
                    </a:lnTo>
                    <a:lnTo>
                      <a:pt x="724" y="483"/>
                    </a:lnTo>
                    <a:lnTo>
                      <a:pt x="727" y="485"/>
                    </a:lnTo>
                    <a:lnTo>
                      <a:pt x="727" y="485"/>
                    </a:lnTo>
                    <a:lnTo>
                      <a:pt x="729" y="483"/>
                    </a:lnTo>
                    <a:lnTo>
                      <a:pt x="732" y="482"/>
                    </a:lnTo>
                    <a:lnTo>
                      <a:pt x="734" y="478"/>
                    </a:lnTo>
                    <a:lnTo>
                      <a:pt x="735" y="477"/>
                    </a:lnTo>
                    <a:lnTo>
                      <a:pt x="735" y="475"/>
                    </a:lnTo>
                    <a:lnTo>
                      <a:pt x="738" y="474"/>
                    </a:lnTo>
                    <a:lnTo>
                      <a:pt x="738" y="474"/>
                    </a:lnTo>
                    <a:lnTo>
                      <a:pt x="739" y="471"/>
                    </a:lnTo>
                    <a:lnTo>
                      <a:pt x="740" y="468"/>
                    </a:lnTo>
                    <a:lnTo>
                      <a:pt x="738" y="467"/>
                    </a:lnTo>
                    <a:lnTo>
                      <a:pt x="738" y="464"/>
                    </a:lnTo>
                    <a:lnTo>
                      <a:pt x="742" y="463"/>
                    </a:lnTo>
                    <a:lnTo>
                      <a:pt x="743" y="458"/>
                    </a:lnTo>
                    <a:lnTo>
                      <a:pt x="747" y="456"/>
                    </a:lnTo>
                    <a:lnTo>
                      <a:pt x="747" y="456"/>
                    </a:lnTo>
                    <a:lnTo>
                      <a:pt x="743" y="467"/>
                    </a:lnTo>
                    <a:lnTo>
                      <a:pt x="743" y="471"/>
                    </a:lnTo>
                    <a:lnTo>
                      <a:pt x="742" y="471"/>
                    </a:lnTo>
                    <a:lnTo>
                      <a:pt x="740" y="477"/>
                    </a:lnTo>
                    <a:lnTo>
                      <a:pt x="743" y="474"/>
                    </a:lnTo>
                    <a:lnTo>
                      <a:pt x="746" y="477"/>
                    </a:lnTo>
                    <a:lnTo>
                      <a:pt x="747" y="475"/>
                    </a:lnTo>
                    <a:lnTo>
                      <a:pt x="747" y="472"/>
                    </a:lnTo>
                    <a:lnTo>
                      <a:pt x="751" y="467"/>
                    </a:lnTo>
                    <a:lnTo>
                      <a:pt x="755" y="466"/>
                    </a:lnTo>
                    <a:lnTo>
                      <a:pt x="757" y="467"/>
                    </a:lnTo>
                    <a:lnTo>
                      <a:pt x="757" y="466"/>
                    </a:lnTo>
                    <a:lnTo>
                      <a:pt x="757" y="464"/>
                    </a:lnTo>
                    <a:lnTo>
                      <a:pt x="759" y="464"/>
                    </a:lnTo>
                    <a:lnTo>
                      <a:pt x="758" y="467"/>
                    </a:lnTo>
                    <a:lnTo>
                      <a:pt x="759" y="468"/>
                    </a:lnTo>
                    <a:lnTo>
                      <a:pt x="762" y="471"/>
                    </a:lnTo>
                    <a:lnTo>
                      <a:pt x="762" y="477"/>
                    </a:lnTo>
                    <a:lnTo>
                      <a:pt x="763" y="478"/>
                    </a:lnTo>
                    <a:lnTo>
                      <a:pt x="762" y="479"/>
                    </a:lnTo>
                    <a:lnTo>
                      <a:pt x="762" y="479"/>
                    </a:lnTo>
                    <a:lnTo>
                      <a:pt x="758" y="482"/>
                    </a:lnTo>
                    <a:lnTo>
                      <a:pt x="757" y="485"/>
                    </a:lnTo>
                    <a:lnTo>
                      <a:pt x="755" y="486"/>
                    </a:lnTo>
                    <a:lnTo>
                      <a:pt x="755" y="486"/>
                    </a:lnTo>
                    <a:lnTo>
                      <a:pt x="747" y="491"/>
                    </a:lnTo>
                    <a:lnTo>
                      <a:pt x="738" y="494"/>
                    </a:lnTo>
                    <a:lnTo>
                      <a:pt x="738" y="496"/>
                    </a:lnTo>
                    <a:lnTo>
                      <a:pt x="739" y="497"/>
                    </a:lnTo>
                    <a:lnTo>
                      <a:pt x="735" y="501"/>
                    </a:lnTo>
                    <a:lnTo>
                      <a:pt x="735" y="504"/>
                    </a:lnTo>
                    <a:lnTo>
                      <a:pt x="732" y="505"/>
                    </a:lnTo>
                    <a:lnTo>
                      <a:pt x="732" y="506"/>
                    </a:lnTo>
                    <a:lnTo>
                      <a:pt x="732" y="506"/>
                    </a:lnTo>
                    <a:lnTo>
                      <a:pt x="738" y="504"/>
                    </a:lnTo>
                    <a:lnTo>
                      <a:pt x="740" y="501"/>
                    </a:lnTo>
                    <a:lnTo>
                      <a:pt x="740" y="498"/>
                    </a:lnTo>
                    <a:lnTo>
                      <a:pt x="744" y="497"/>
                    </a:lnTo>
                    <a:lnTo>
                      <a:pt x="743" y="496"/>
                    </a:lnTo>
                    <a:lnTo>
                      <a:pt x="743" y="496"/>
                    </a:lnTo>
                    <a:lnTo>
                      <a:pt x="747" y="493"/>
                    </a:lnTo>
                    <a:lnTo>
                      <a:pt x="751" y="493"/>
                    </a:lnTo>
                    <a:lnTo>
                      <a:pt x="757" y="491"/>
                    </a:lnTo>
                    <a:lnTo>
                      <a:pt x="758" y="490"/>
                    </a:lnTo>
                    <a:lnTo>
                      <a:pt x="759" y="487"/>
                    </a:lnTo>
                    <a:lnTo>
                      <a:pt x="759" y="487"/>
                    </a:lnTo>
                    <a:lnTo>
                      <a:pt x="761" y="486"/>
                    </a:lnTo>
                    <a:lnTo>
                      <a:pt x="763" y="485"/>
                    </a:lnTo>
                    <a:lnTo>
                      <a:pt x="763" y="482"/>
                    </a:lnTo>
                    <a:lnTo>
                      <a:pt x="772" y="477"/>
                    </a:lnTo>
                    <a:lnTo>
                      <a:pt x="772" y="477"/>
                    </a:lnTo>
                    <a:lnTo>
                      <a:pt x="773" y="471"/>
                    </a:lnTo>
                    <a:lnTo>
                      <a:pt x="776" y="467"/>
                    </a:lnTo>
                    <a:lnTo>
                      <a:pt x="780" y="467"/>
                    </a:lnTo>
                    <a:lnTo>
                      <a:pt x="780" y="467"/>
                    </a:lnTo>
                    <a:lnTo>
                      <a:pt x="784" y="464"/>
                    </a:lnTo>
                    <a:lnTo>
                      <a:pt x="789" y="463"/>
                    </a:lnTo>
                    <a:lnTo>
                      <a:pt x="791" y="459"/>
                    </a:lnTo>
                    <a:lnTo>
                      <a:pt x="797" y="456"/>
                    </a:lnTo>
                    <a:lnTo>
                      <a:pt x="801" y="463"/>
                    </a:lnTo>
                    <a:lnTo>
                      <a:pt x="801" y="464"/>
                    </a:lnTo>
                    <a:lnTo>
                      <a:pt x="801" y="464"/>
                    </a:lnTo>
                    <a:lnTo>
                      <a:pt x="799" y="467"/>
                    </a:lnTo>
                    <a:lnTo>
                      <a:pt x="797" y="470"/>
                    </a:lnTo>
                    <a:lnTo>
                      <a:pt x="795" y="472"/>
                    </a:lnTo>
                    <a:lnTo>
                      <a:pt x="795" y="477"/>
                    </a:lnTo>
                    <a:lnTo>
                      <a:pt x="791" y="481"/>
                    </a:lnTo>
                    <a:lnTo>
                      <a:pt x="792" y="486"/>
                    </a:lnTo>
                    <a:lnTo>
                      <a:pt x="795" y="483"/>
                    </a:lnTo>
                    <a:lnTo>
                      <a:pt x="795" y="483"/>
                    </a:lnTo>
                    <a:lnTo>
                      <a:pt x="797" y="483"/>
                    </a:lnTo>
                    <a:lnTo>
                      <a:pt x="803" y="481"/>
                    </a:lnTo>
                    <a:lnTo>
                      <a:pt x="810" y="475"/>
                    </a:lnTo>
                    <a:lnTo>
                      <a:pt x="815" y="475"/>
                    </a:lnTo>
                    <a:lnTo>
                      <a:pt x="815" y="475"/>
                    </a:lnTo>
                    <a:lnTo>
                      <a:pt x="816" y="471"/>
                    </a:lnTo>
                    <a:lnTo>
                      <a:pt x="820" y="468"/>
                    </a:lnTo>
                    <a:lnTo>
                      <a:pt x="824" y="468"/>
                    </a:lnTo>
                    <a:lnTo>
                      <a:pt x="824" y="468"/>
                    </a:lnTo>
                    <a:lnTo>
                      <a:pt x="827" y="466"/>
                    </a:lnTo>
                    <a:lnTo>
                      <a:pt x="830" y="464"/>
                    </a:lnTo>
                    <a:lnTo>
                      <a:pt x="830" y="462"/>
                    </a:lnTo>
                    <a:lnTo>
                      <a:pt x="831" y="462"/>
                    </a:lnTo>
                    <a:lnTo>
                      <a:pt x="837" y="463"/>
                    </a:lnTo>
                    <a:lnTo>
                      <a:pt x="837" y="462"/>
                    </a:lnTo>
                    <a:lnTo>
                      <a:pt x="837" y="460"/>
                    </a:lnTo>
                    <a:lnTo>
                      <a:pt x="837" y="458"/>
                    </a:lnTo>
                    <a:lnTo>
                      <a:pt x="841" y="456"/>
                    </a:lnTo>
                    <a:lnTo>
                      <a:pt x="843" y="458"/>
                    </a:lnTo>
                    <a:lnTo>
                      <a:pt x="841" y="459"/>
                    </a:lnTo>
                    <a:lnTo>
                      <a:pt x="839" y="460"/>
                    </a:lnTo>
                    <a:lnTo>
                      <a:pt x="842" y="463"/>
                    </a:lnTo>
                    <a:lnTo>
                      <a:pt x="841" y="468"/>
                    </a:lnTo>
                    <a:lnTo>
                      <a:pt x="841" y="468"/>
                    </a:lnTo>
                    <a:lnTo>
                      <a:pt x="845" y="463"/>
                    </a:lnTo>
                    <a:lnTo>
                      <a:pt x="848" y="460"/>
                    </a:lnTo>
                    <a:lnTo>
                      <a:pt x="852" y="459"/>
                    </a:lnTo>
                    <a:lnTo>
                      <a:pt x="850" y="456"/>
                    </a:lnTo>
                    <a:lnTo>
                      <a:pt x="852" y="453"/>
                    </a:lnTo>
                    <a:lnTo>
                      <a:pt x="854" y="452"/>
                    </a:lnTo>
                    <a:lnTo>
                      <a:pt x="854" y="455"/>
                    </a:lnTo>
                    <a:lnTo>
                      <a:pt x="858" y="455"/>
                    </a:lnTo>
                    <a:lnTo>
                      <a:pt x="857" y="456"/>
                    </a:lnTo>
                    <a:lnTo>
                      <a:pt x="856" y="459"/>
                    </a:lnTo>
                    <a:lnTo>
                      <a:pt x="857" y="462"/>
                    </a:lnTo>
                    <a:lnTo>
                      <a:pt x="857" y="462"/>
                    </a:lnTo>
                    <a:lnTo>
                      <a:pt x="853" y="464"/>
                    </a:lnTo>
                    <a:lnTo>
                      <a:pt x="849" y="466"/>
                    </a:lnTo>
                    <a:lnTo>
                      <a:pt x="848" y="467"/>
                    </a:lnTo>
                    <a:lnTo>
                      <a:pt x="848" y="467"/>
                    </a:lnTo>
                    <a:lnTo>
                      <a:pt x="854" y="467"/>
                    </a:lnTo>
                    <a:lnTo>
                      <a:pt x="860" y="466"/>
                    </a:lnTo>
                    <a:lnTo>
                      <a:pt x="860" y="467"/>
                    </a:lnTo>
                    <a:lnTo>
                      <a:pt x="856" y="468"/>
                    </a:lnTo>
                    <a:lnTo>
                      <a:pt x="853" y="470"/>
                    </a:lnTo>
                    <a:lnTo>
                      <a:pt x="854" y="474"/>
                    </a:lnTo>
                    <a:lnTo>
                      <a:pt x="856" y="471"/>
                    </a:lnTo>
                    <a:lnTo>
                      <a:pt x="857" y="471"/>
                    </a:lnTo>
                    <a:lnTo>
                      <a:pt x="858" y="474"/>
                    </a:lnTo>
                    <a:lnTo>
                      <a:pt x="862" y="474"/>
                    </a:lnTo>
                    <a:lnTo>
                      <a:pt x="861" y="475"/>
                    </a:lnTo>
                    <a:lnTo>
                      <a:pt x="861" y="478"/>
                    </a:lnTo>
                    <a:lnTo>
                      <a:pt x="860" y="479"/>
                    </a:lnTo>
                    <a:lnTo>
                      <a:pt x="857" y="479"/>
                    </a:lnTo>
                    <a:lnTo>
                      <a:pt x="858" y="477"/>
                    </a:lnTo>
                    <a:lnTo>
                      <a:pt x="858" y="477"/>
                    </a:lnTo>
                    <a:lnTo>
                      <a:pt x="856" y="475"/>
                    </a:lnTo>
                    <a:lnTo>
                      <a:pt x="853" y="474"/>
                    </a:lnTo>
                    <a:lnTo>
                      <a:pt x="852" y="475"/>
                    </a:lnTo>
                    <a:lnTo>
                      <a:pt x="853" y="478"/>
                    </a:lnTo>
                    <a:lnTo>
                      <a:pt x="853" y="478"/>
                    </a:lnTo>
                    <a:lnTo>
                      <a:pt x="852" y="481"/>
                    </a:lnTo>
                    <a:lnTo>
                      <a:pt x="850" y="483"/>
                    </a:lnTo>
                    <a:lnTo>
                      <a:pt x="846" y="485"/>
                    </a:lnTo>
                    <a:lnTo>
                      <a:pt x="845" y="483"/>
                    </a:lnTo>
                    <a:lnTo>
                      <a:pt x="848" y="481"/>
                    </a:lnTo>
                    <a:lnTo>
                      <a:pt x="845" y="478"/>
                    </a:lnTo>
                    <a:lnTo>
                      <a:pt x="845" y="475"/>
                    </a:lnTo>
                    <a:lnTo>
                      <a:pt x="843" y="474"/>
                    </a:lnTo>
                    <a:lnTo>
                      <a:pt x="845" y="472"/>
                    </a:lnTo>
                    <a:lnTo>
                      <a:pt x="845" y="471"/>
                    </a:lnTo>
                    <a:lnTo>
                      <a:pt x="842" y="470"/>
                    </a:lnTo>
                    <a:lnTo>
                      <a:pt x="839" y="471"/>
                    </a:lnTo>
                    <a:lnTo>
                      <a:pt x="838" y="474"/>
                    </a:lnTo>
                    <a:lnTo>
                      <a:pt x="838" y="474"/>
                    </a:lnTo>
                    <a:lnTo>
                      <a:pt x="841" y="481"/>
                    </a:lnTo>
                    <a:lnTo>
                      <a:pt x="841" y="485"/>
                    </a:lnTo>
                    <a:lnTo>
                      <a:pt x="841" y="487"/>
                    </a:lnTo>
                    <a:lnTo>
                      <a:pt x="838" y="490"/>
                    </a:lnTo>
                    <a:lnTo>
                      <a:pt x="837" y="493"/>
                    </a:lnTo>
                    <a:lnTo>
                      <a:pt x="837" y="493"/>
                    </a:lnTo>
                    <a:lnTo>
                      <a:pt x="833" y="494"/>
                    </a:lnTo>
                    <a:lnTo>
                      <a:pt x="829" y="497"/>
                    </a:lnTo>
                    <a:lnTo>
                      <a:pt x="830" y="500"/>
                    </a:lnTo>
                    <a:lnTo>
                      <a:pt x="827" y="501"/>
                    </a:lnTo>
                    <a:lnTo>
                      <a:pt x="824" y="504"/>
                    </a:lnTo>
                    <a:lnTo>
                      <a:pt x="822" y="502"/>
                    </a:lnTo>
                    <a:lnTo>
                      <a:pt x="820" y="504"/>
                    </a:lnTo>
                    <a:lnTo>
                      <a:pt x="820" y="504"/>
                    </a:lnTo>
                    <a:lnTo>
                      <a:pt x="822" y="509"/>
                    </a:lnTo>
                    <a:lnTo>
                      <a:pt x="823" y="515"/>
                    </a:lnTo>
                    <a:lnTo>
                      <a:pt x="823" y="517"/>
                    </a:lnTo>
                    <a:lnTo>
                      <a:pt x="808" y="527"/>
                    </a:lnTo>
                    <a:lnTo>
                      <a:pt x="808" y="529"/>
                    </a:lnTo>
                    <a:lnTo>
                      <a:pt x="803" y="532"/>
                    </a:lnTo>
                    <a:lnTo>
                      <a:pt x="803" y="534"/>
                    </a:lnTo>
                    <a:lnTo>
                      <a:pt x="803" y="534"/>
                    </a:lnTo>
                    <a:lnTo>
                      <a:pt x="807" y="539"/>
                    </a:lnTo>
                    <a:lnTo>
                      <a:pt x="811" y="542"/>
                    </a:lnTo>
                    <a:lnTo>
                      <a:pt x="815" y="544"/>
                    </a:lnTo>
                    <a:lnTo>
                      <a:pt x="822" y="544"/>
                    </a:lnTo>
                    <a:lnTo>
                      <a:pt x="824" y="543"/>
                    </a:lnTo>
                    <a:lnTo>
                      <a:pt x="826" y="546"/>
                    </a:lnTo>
                    <a:lnTo>
                      <a:pt x="827" y="547"/>
                    </a:lnTo>
                    <a:lnTo>
                      <a:pt x="826" y="547"/>
                    </a:lnTo>
                    <a:lnTo>
                      <a:pt x="826" y="547"/>
                    </a:lnTo>
                    <a:lnTo>
                      <a:pt x="818" y="547"/>
                    </a:lnTo>
                    <a:lnTo>
                      <a:pt x="818" y="547"/>
                    </a:lnTo>
                    <a:lnTo>
                      <a:pt x="812" y="547"/>
                    </a:lnTo>
                    <a:lnTo>
                      <a:pt x="810" y="547"/>
                    </a:lnTo>
                    <a:lnTo>
                      <a:pt x="808" y="547"/>
                    </a:lnTo>
                    <a:lnTo>
                      <a:pt x="807" y="546"/>
                    </a:lnTo>
                    <a:lnTo>
                      <a:pt x="805" y="546"/>
                    </a:lnTo>
                    <a:lnTo>
                      <a:pt x="804" y="554"/>
                    </a:lnTo>
                    <a:lnTo>
                      <a:pt x="797" y="555"/>
                    </a:lnTo>
                    <a:lnTo>
                      <a:pt x="797" y="557"/>
                    </a:lnTo>
                    <a:lnTo>
                      <a:pt x="799" y="558"/>
                    </a:lnTo>
                    <a:lnTo>
                      <a:pt x="799" y="561"/>
                    </a:lnTo>
                    <a:lnTo>
                      <a:pt x="799" y="561"/>
                    </a:lnTo>
                    <a:lnTo>
                      <a:pt x="796" y="562"/>
                    </a:lnTo>
                    <a:lnTo>
                      <a:pt x="793" y="562"/>
                    </a:lnTo>
                    <a:lnTo>
                      <a:pt x="793" y="562"/>
                    </a:lnTo>
                    <a:lnTo>
                      <a:pt x="789" y="562"/>
                    </a:lnTo>
                    <a:lnTo>
                      <a:pt x="786" y="562"/>
                    </a:lnTo>
                    <a:lnTo>
                      <a:pt x="786" y="562"/>
                    </a:lnTo>
                    <a:lnTo>
                      <a:pt x="784" y="565"/>
                    </a:lnTo>
                    <a:lnTo>
                      <a:pt x="781" y="566"/>
                    </a:lnTo>
                    <a:lnTo>
                      <a:pt x="777" y="566"/>
                    </a:lnTo>
                    <a:lnTo>
                      <a:pt x="774" y="566"/>
                    </a:lnTo>
                    <a:lnTo>
                      <a:pt x="774" y="566"/>
                    </a:lnTo>
                    <a:lnTo>
                      <a:pt x="769" y="567"/>
                    </a:lnTo>
                    <a:lnTo>
                      <a:pt x="765" y="569"/>
                    </a:lnTo>
                    <a:lnTo>
                      <a:pt x="759" y="569"/>
                    </a:lnTo>
                    <a:lnTo>
                      <a:pt x="755" y="570"/>
                    </a:lnTo>
                    <a:lnTo>
                      <a:pt x="755" y="570"/>
                    </a:lnTo>
                    <a:lnTo>
                      <a:pt x="750" y="573"/>
                    </a:lnTo>
                    <a:lnTo>
                      <a:pt x="747" y="574"/>
                    </a:lnTo>
                    <a:lnTo>
                      <a:pt x="744" y="576"/>
                    </a:lnTo>
                    <a:lnTo>
                      <a:pt x="744" y="576"/>
                    </a:lnTo>
                    <a:lnTo>
                      <a:pt x="740" y="576"/>
                    </a:lnTo>
                    <a:lnTo>
                      <a:pt x="736" y="573"/>
                    </a:lnTo>
                    <a:lnTo>
                      <a:pt x="738" y="567"/>
                    </a:lnTo>
                    <a:lnTo>
                      <a:pt x="736" y="565"/>
                    </a:lnTo>
                    <a:lnTo>
                      <a:pt x="734" y="565"/>
                    </a:lnTo>
                    <a:lnTo>
                      <a:pt x="731" y="566"/>
                    </a:lnTo>
                    <a:lnTo>
                      <a:pt x="729" y="570"/>
                    </a:lnTo>
                    <a:lnTo>
                      <a:pt x="727" y="573"/>
                    </a:lnTo>
                    <a:lnTo>
                      <a:pt x="727" y="576"/>
                    </a:lnTo>
                    <a:lnTo>
                      <a:pt x="725" y="576"/>
                    </a:lnTo>
                    <a:lnTo>
                      <a:pt x="729" y="578"/>
                    </a:lnTo>
                    <a:lnTo>
                      <a:pt x="728" y="586"/>
                    </a:lnTo>
                    <a:lnTo>
                      <a:pt x="723" y="592"/>
                    </a:lnTo>
                    <a:lnTo>
                      <a:pt x="723" y="596"/>
                    </a:lnTo>
                    <a:lnTo>
                      <a:pt x="720" y="599"/>
                    </a:lnTo>
                    <a:lnTo>
                      <a:pt x="720" y="599"/>
                    </a:lnTo>
                    <a:lnTo>
                      <a:pt x="715" y="600"/>
                    </a:lnTo>
                    <a:lnTo>
                      <a:pt x="709" y="604"/>
                    </a:lnTo>
                    <a:lnTo>
                      <a:pt x="701" y="611"/>
                    </a:lnTo>
                    <a:lnTo>
                      <a:pt x="702" y="612"/>
                    </a:lnTo>
                    <a:lnTo>
                      <a:pt x="700" y="612"/>
                    </a:lnTo>
                    <a:lnTo>
                      <a:pt x="696" y="608"/>
                    </a:lnTo>
                    <a:lnTo>
                      <a:pt x="696" y="607"/>
                    </a:lnTo>
                    <a:lnTo>
                      <a:pt x="704" y="605"/>
                    </a:lnTo>
                    <a:lnTo>
                      <a:pt x="704" y="605"/>
                    </a:lnTo>
                    <a:lnTo>
                      <a:pt x="712" y="599"/>
                    </a:lnTo>
                    <a:lnTo>
                      <a:pt x="712" y="596"/>
                    </a:lnTo>
                    <a:lnTo>
                      <a:pt x="715" y="595"/>
                    </a:lnTo>
                    <a:lnTo>
                      <a:pt x="715" y="593"/>
                    </a:lnTo>
                    <a:lnTo>
                      <a:pt x="715" y="593"/>
                    </a:lnTo>
                    <a:lnTo>
                      <a:pt x="711" y="593"/>
                    </a:lnTo>
                    <a:lnTo>
                      <a:pt x="709" y="596"/>
                    </a:lnTo>
                    <a:lnTo>
                      <a:pt x="708" y="600"/>
                    </a:lnTo>
                    <a:lnTo>
                      <a:pt x="708" y="600"/>
                    </a:lnTo>
                    <a:lnTo>
                      <a:pt x="706" y="603"/>
                    </a:lnTo>
                    <a:lnTo>
                      <a:pt x="702" y="604"/>
                    </a:lnTo>
                    <a:lnTo>
                      <a:pt x="698" y="604"/>
                    </a:lnTo>
                    <a:lnTo>
                      <a:pt x="696" y="604"/>
                    </a:lnTo>
                    <a:lnTo>
                      <a:pt x="694" y="603"/>
                    </a:lnTo>
                    <a:lnTo>
                      <a:pt x="694" y="603"/>
                    </a:lnTo>
                    <a:lnTo>
                      <a:pt x="693" y="608"/>
                    </a:lnTo>
                    <a:lnTo>
                      <a:pt x="694" y="611"/>
                    </a:lnTo>
                    <a:lnTo>
                      <a:pt x="693" y="614"/>
                    </a:lnTo>
                    <a:lnTo>
                      <a:pt x="693" y="614"/>
                    </a:lnTo>
                    <a:lnTo>
                      <a:pt x="692" y="614"/>
                    </a:lnTo>
                    <a:lnTo>
                      <a:pt x="690" y="615"/>
                    </a:lnTo>
                    <a:lnTo>
                      <a:pt x="687" y="618"/>
                    </a:lnTo>
                    <a:lnTo>
                      <a:pt x="687" y="618"/>
                    </a:lnTo>
                    <a:lnTo>
                      <a:pt x="681" y="620"/>
                    </a:lnTo>
                    <a:lnTo>
                      <a:pt x="677" y="622"/>
                    </a:lnTo>
                    <a:lnTo>
                      <a:pt x="675" y="624"/>
                    </a:lnTo>
                    <a:lnTo>
                      <a:pt x="675" y="627"/>
                    </a:lnTo>
                    <a:lnTo>
                      <a:pt x="674" y="628"/>
                    </a:lnTo>
                    <a:lnTo>
                      <a:pt x="668" y="627"/>
                    </a:lnTo>
                    <a:lnTo>
                      <a:pt x="659" y="633"/>
                    </a:lnTo>
                    <a:lnTo>
                      <a:pt x="658" y="630"/>
                    </a:lnTo>
                    <a:lnTo>
                      <a:pt x="655" y="633"/>
                    </a:lnTo>
                    <a:lnTo>
                      <a:pt x="656" y="634"/>
                    </a:lnTo>
                    <a:lnTo>
                      <a:pt x="655" y="635"/>
                    </a:lnTo>
                    <a:lnTo>
                      <a:pt x="655" y="637"/>
                    </a:lnTo>
                    <a:lnTo>
                      <a:pt x="658" y="638"/>
                    </a:lnTo>
                    <a:lnTo>
                      <a:pt x="658" y="638"/>
                    </a:lnTo>
                    <a:lnTo>
                      <a:pt x="655" y="641"/>
                    </a:lnTo>
                    <a:lnTo>
                      <a:pt x="656" y="641"/>
                    </a:lnTo>
                    <a:lnTo>
                      <a:pt x="662" y="643"/>
                    </a:lnTo>
                    <a:lnTo>
                      <a:pt x="664" y="647"/>
                    </a:lnTo>
                    <a:lnTo>
                      <a:pt x="666" y="652"/>
                    </a:lnTo>
                    <a:lnTo>
                      <a:pt x="663" y="654"/>
                    </a:lnTo>
                    <a:lnTo>
                      <a:pt x="663" y="656"/>
                    </a:lnTo>
                    <a:lnTo>
                      <a:pt x="666" y="658"/>
                    </a:lnTo>
                    <a:lnTo>
                      <a:pt x="667" y="658"/>
                    </a:lnTo>
                    <a:lnTo>
                      <a:pt x="667" y="656"/>
                    </a:lnTo>
                    <a:lnTo>
                      <a:pt x="667" y="652"/>
                    </a:lnTo>
                    <a:lnTo>
                      <a:pt x="670" y="649"/>
                    </a:lnTo>
                    <a:lnTo>
                      <a:pt x="674" y="649"/>
                    </a:lnTo>
                    <a:lnTo>
                      <a:pt x="678" y="646"/>
                    </a:lnTo>
                    <a:lnTo>
                      <a:pt x="681" y="647"/>
                    </a:lnTo>
                    <a:lnTo>
                      <a:pt x="683" y="645"/>
                    </a:lnTo>
                    <a:lnTo>
                      <a:pt x="683" y="645"/>
                    </a:lnTo>
                    <a:lnTo>
                      <a:pt x="685" y="643"/>
                    </a:lnTo>
                    <a:lnTo>
                      <a:pt x="687" y="645"/>
                    </a:lnTo>
                    <a:lnTo>
                      <a:pt x="689" y="645"/>
                    </a:lnTo>
                    <a:lnTo>
                      <a:pt x="692" y="643"/>
                    </a:lnTo>
                    <a:lnTo>
                      <a:pt x="692" y="643"/>
                    </a:lnTo>
                    <a:lnTo>
                      <a:pt x="696" y="645"/>
                    </a:lnTo>
                    <a:lnTo>
                      <a:pt x="700" y="646"/>
                    </a:lnTo>
                    <a:lnTo>
                      <a:pt x="701" y="649"/>
                    </a:lnTo>
                    <a:lnTo>
                      <a:pt x="702" y="647"/>
                    </a:lnTo>
                    <a:lnTo>
                      <a:pt x="705" y="649"/>
                    </a:lnTo>
                    <a:lnTo>
                      <a:pt x="701" y="650"/>
                    </a:lnTo>
                    <a:lnTo>
                      <a:pt x="701" y="653"/>
                    </a:lnTo>
                    <a:lnTo>
                      <a:pt x="705" y="652"/>
                    </a:lnTo>
                    <a:lnTo>
                      <a:pt x="715" y="654"/>
                    </a:lnTo>
                    <a:lnTo>
                      <a:pt x="717" y="657"/>
                    </a:lnTo>
                    <a:lnTo>
                      <a:pt x="717" y="657"/>
                    </a:lnTo>
                    <a:lnTo>
                      <a:pt x="717" y="660"/>
                    </a:lnTo>
                    <a:lnTo>
                      <a:pt x="715" y="661"/>
                    </a:lnTo>
                    <a:lnTo>
                      <a:pt x="715" y="661"/>
                    </a:lnTo>
                    <a:lnTo>
                      <a:pt x="712" y="662"/>
                    </a:lnTo>
                    <a:lnTo>
                      <a:pt x="708" y="662"/>
                    </a:lnTo>
                    <a:lnTo>
                      <a:pt x="704" y="660"/>
                    </a:lnTo>
                    <a:lnTo>
                      <a:pt x="701" y="658"/>
                    </a:lnTo>
                    <a:lnTo>
                      <a:pt x="698" y="658"/>
                    </a:lnTo>
                    <a:lnTo>
                      <a:pt x="698" y="658"/>
                    </a:lnTo>
                    <a:lnTo>
                      <a:pt x="696" y="654"/>
                    </a:lnTo>
                    <a:lnTo>
                      <a:pt x="693" y="649"/>
                    </a:lnTo>
                    <a:lnTo>
                      <a:pt x="692" y="649"/>
                    </a:lnTo>
                    <a:lnTo>
                      <a:pt x="692" y="649"/>
                    </a:lnTo>
                    <a:lnTo>
                      <a:pt x="693" y="654"/>
                    </a:lnTo>
                    <a:lnTo>
                      <a:pt x="692" y="658"/>
                    </a:lnTo>
                    <a:lnTo>
                      <a:pt x="694" y="661"/>
                    </a:lnTo>
                    <a:lnTo>
                      <a:pt x="694" y="661"/>
                    </a:lnTo>
                    <a:lnTo>
                      <a:pt x="693" y="664"/>
                    </a:lnTo>
                    <a:lnTo>
                      <a:pt x="692" y="666"/>
                    </a:lnTo>
                    <a:lnTo>
                      <a:pt x="692" y="668"/>
                    </a:lnTo>
                    <a:lnTo>
                      <a:pt x="692" y="668"/>
                    </a:lnTo>
                    <a:lnTo>
                      <a:pt x="697" y="668"/>
                    </a:lnTo>
                    <a:lnTo>
                      <a:pt x="701" y="668"/>
                    </a:lnTo>
                    <a:lnTo>
                      <a:pt x="711" y="671"/>
                    </a:lnTo>
                    <a:lnTo>
                      <a:pt x="721" y="676"/>
                    </a:lnTo>
                    <a:lnTo>
                      <a:pt x="721" y="679"/>
                    </a:lnTo>
                    <a:lnTo>
                      <a:pt x="724" y="679"/>
                    </a:lnTo>
                    <a:lnTo>
                      <a:pt x="725" y="680"/>
                    </a:lnTo>
                    <a:lnTo>
                      <a:pt x="727" y="681"/>
                    </a:lnTo>
                    <a:lnTo>
                      <a:pt x="724" y="683"/>
                    </a:lnTo>
                    <a:lnTo>
                      <a:pt x="727" y="685"/>
                    </a:lnTo>
                    <a:lnTo>
                      <a:pt x="727" y="687"/>
                    </a:lnTo>
                    <a:lnTo>
                      <a:pt x="717" y="681"/>
                    </a:lnTo>
                    <a:lnTo>
                      <a:pt x="716" y="681"/>
                    </a:lnTo>
                    <a:lnTo>
                      <a:pt x="713" y="685"/>
                    </a:lnTo>
                    <a:lnTo>
                      <a:pt x="713" y="685"/>
                    </a:lnTo>
                    <a:lnTo>
                      <a:pt x="704" y="684"/>
                    </a:lnTo>
                    <a:lnTo>
                      <a:pt x="700" y="684"/>
                    </a:lnTo>
                    <a:lnTo>
                      <a:pt x="696" y="687"/>
                    </a:lnTo>
                    <a:lnTo>
                      <a:pt x="696" y="687"/>
                    </a:lnTo>
                    <a:lnTo>
                      <a:pt x="693" y="685"/>
                    </a:lnTo>
                    <a:lnTo>
                      <a:pt x="692" y="684"/>
                    </a:lnTo>
                    <a:lnTo>
                      <a:pt x="689" y="685"/>
                    </a:lnTo>
                    <a:lnTo>
                      <a:pt x="686" y="684"/>
                    </a:lnTo>
                    <a:lnTo>
                      <a:pt x="686" y="683"/>
                    </a:lnTo>
                    <a:lnTo>
                      <a:pt x="686" y="683"/>
                    </a:lnTo>
                    <a:lnTo>
                      <a:pt x="682" y="681"/>
                    </a:lnTo>
                    <a:lnTo>
                      <a:pt x="679" y="681"/>
                    </a:lnTo>
                    <a:lnTo>
                      <a:pt x="681" y="680"/>
                    </a:lnTo>
                    <a:lnTo>
                      <a:pt x="681" y="680"/>
                    </a:lnTo>
                    <a:lnTo>
                      <a:pt x="679" y="679"/>
                    </a:lnTo>
                    <a:lnTo>
                      <a:pt x="678" y="679"/>
                    </a:lnTo>
                    <a:lnTo>
                      <a:pt x="679" y="680"/>
                    </a:lnTo>
                    <a:lnTo>
                      <a:pt x="678" y="681"/>
                    </a:lnTo>
                    <a:lnTo>
                      <a:pt x="679" y="685"/>
                    </a:lnTo>
                    <a:lnTo>
                      <a:pt x="679" y="688"/>
                    </a:lnTo>
                    <a:lnTo>
                      <a:pt x="679" y="688"/>
                    </a:lnTo>
                    <a:lnTo>
                      <a:pt x="677" y="692"/>
                    </a:lnTo>
                    <a:lnTo>
                      <a:pt x="674" y="698"/>
                    </a:lnTo>
                    <a:lnTo>
                      <a:pt x="674" y="700"/>
                    </a:lnTo>
                    <a:lnTo>
                      <a:pt x="677" y="696"/>
                    </a:lnTo>
                    <a:lnTo>
                      <a:pt x="679" y="695"/>
                    </a:lnTo>
                    <a:lnTo>
                      <a:pt x="681" y="696"/>
                    </a:lnTo>
                    <a:lnTo>
                      <a:pt x="682" y="699"/>
                    </a:lnTo>
                    <a:lnTo>
                      <a:pt x="682" y="699"/>
                    </a:lnTo>
                    <a:lnTo>
                      <a:pt x="686" y="700"/>
                    </a:lnTo>
                    <a:lnTo>
                      <a:pt x="689" y="704"/>
                    </a:lnTo>
                    <a:lnTo>
                      <a:pt x="692" y="709"/>
                    </a:lnTo>
                    <a:lnTo>
                      <a:pt x="692" y="713"/>
                    </a:lnTo>
                    <a:lnTo>
                      <a:pt x="692" y="713"/>
                    </a:lnTo>
                    <a:lnTo>
                      <a:pt x="694" y="714"/>
                    </a:lnTo>
                    <a:lnTo>
                      <a:pt x="698" y="714"/>
                    </a:lnTo>
                    <a:lnTo>
                      <a:pt x="701" y="714"/>
                    </a:lnTo>
                    <a:lnTo>
                      <a:pt x="702" y="715"/>
                    </a:lnTo>
                    <a:lnTo>
                      <a:pt x="702" y="719"/>
                    </a:lnTo>
                    <a:lnTo>
                      <a:pt x="704" y="721"/>
                    </a:lnTo>
                    <a:lnTo>
                      <a:pt x="705" y="717"/>
                    </a:lnTo>
                    <a:lnTo>
                      <a:pt x="708" y="719"/>
                    </a:lnTo>
                    <a:lnTo>
                      <a:pt x="717" y="722"/>
                    </a:lnTo>
                    <a:lnTo>
                      <a:pt x="713" y="723"/>
                    </a:lnTo>
                    <a:lnTo>
                      <a:pt x="713" y="723"/>
                    </a:lnTo>
                    <a:lnTo>
                      <a:pt x="711" y="723"/>
                    </a:lnTo>
                    <a:lnTo>
                      <a:pt x="709" y="723"/>
                    </a:lnTo>
                    <a:lnTo>
                      <a:pt x="705" y="723"/>
                    </a:lnTo>
                    <a:lnTo>
                      <a:pt x="705" y="723"/>
                    </a:lnTo>
                    <a:lnTo>
                      <a:pt x="700" y="723"/>
                    </a:lnTo>
                    <a:lnTo>
                      <a:pt x="698" y="723"/>
                    </a:lnTo>
                    <a:lnTo>
                      <a:pt x="694" y="723"/>
                    </a:lnTo>
                    <a:lnTo>
                      <a:pt x="692" y="722"/>
                    </a:lnTo>
                    <a:lnTo>
                      <a:pt x="690" y="723"/>
                    </a:lnTo>
                    <a:lnTo>
                      <a:pt x="692" y="725"/>
                    </a:lnTo>
                    <a:lnTo>
                      <a:pt x="692" y="728"/>
                    </a:lnTo>
                    <a:lnTo>
                      <a:pt x="690" y="728"/>
                    </a:lnTo>
                    <a:lnTo>
                      <a:pt x="686" y="726"/>
                    </a:lnTo>
                    <a:lnTo>
                      <a:pt x="686" y="719"/>
                    </a:lnTo>
                    <a:lnTo>
                      <a:pt x="679" y="718"/>
                    </a:lnTo>
                    <a:lnTo>
                      <a:pt x="679" y="715"/>
                    </a:lnTo>
                    <a:lnTo>
                      <a:pt x="677" y="713"/>
                    </a:lnTo>
                    <a:lnTo>
                      <a:pt x="677" y="711"/>
                    </a:lnTo>
                    <a:lnTo>
                      <a:pt x="674" y="710"/>
                    </a:lnTo>
                    <a:lnTo>
                      <a:pt x="673" y="707"/>
                    </a:lnTo>
                    <a:lnTo>
                      <a:pt x="670" y="709"/>
                    </a:lnTo>
                    <a:lnTo>
                      <a:pt x="670" y="707"/>
                    </a:lnTo>
                    <a:lnTo>
                      <a:pt x="671" y="704"/>
                    </a:lnTo>
                    <a:lnTo>
                      <a:pt x="671" y="704"/>
                    </a:lnTo>
                    <a:lnTo>
                      <a:pt x="668" y="703"/>
                    </a:lnTo>
                    <a:lnTo>
                      <a:pt x="666" y="702"/>
                    </a:lnTo>
                    <a:lnTo>
                      <a:pt x="668" y="702"/>
                    </a:lnTo>
                    <a:lnTo>
                      <a:pt x="671" y="703"/>
                    </a:lnTo>
                    <a:lnTo>
                      <a:pt x="671" y="703"/>
                    </a:lnTo>
                    <a:lnTo>
                      <a:pt x="668" y="700"/>
                    </a:lnTo>
                    <a:lnTo>
                      <a:pt x="667" y="696"/>
                    </a:lnTo>
                    <a:lnTo>
                      <a:pt x="664" y="695"/>
                    </a:lnTo>
                    <a:lnTo>
                      <a:pt x="664" y="692"/>
                    </a:lnTo>
                    <a:lnTo>
                      <a:pt x="662" y="690"/>
                    </a:lnTo>
                    <a:lnTo>
                      <a:pt x="662" y="690"/>
                    </a:lnTo>
                    <a:lnTo>
                      <a:pt x="660" y="688"/>
                    </a:lnTo>
                    <a:lnTo>
                      <a:pt x="660" y="688"/>
                    </a:lnTo>
                    <a:lnTo>
                      <a:pt x="651" y="688"/>
                    </a:lnTo>
                    <a:lnTo>
                      <a:pt x="648" y="690"/>
                    </a:lnTo>
                    <a:lnTo>
                      <a:pt x="644" y="692"/>
                    </a:lnTo>
                    <a:lnTo>
                      <a:pt x="636" y="694"/>
                    </a:lnTo>
                    <a:lnTo>
                      <a:pt x="636" y="694"/>
                    </a:lnTo>
                    <a:lnTo>
                      <a:pt x="632" y="691"/>
                    </a:lnTo>
                    <a:lnTo>
                      <a:pt x="626" y="691"/>
                    </a:lnTo>
                    <a:lnTo>
                      <a:pt x="626" y="691"/>
                    </a:lnTo>
                    <a:lnTo>
                      <a:pt x="628" y="688"/>
                    </a:lnTo>
                    <a:lnTo>
                      <a:pt x="626" y="684"/>
                    </a:lnTo>
                    <a:lnTo>
                      <a:pt x="626" y="684"/>
                    </a:lnTo>
                    <a:lnTo>
                      <a:pt x="622" y="685"/>
                    </a:lnTo>
                    <a:lnTo>
                      <a:pt x="620" y="687"/>
                    </a:lnTo>
                    <a:lnTo>
                      <a:pt x="620" y="687"/>
                    </a:lnTo>
                    <a:lnTo>
                      <a:pt x="614" y="692"/>
                    </a:lnTo>
                    <a:lnTo>
                      <a:pt x="610" y="698"/>
                    </a:lnTo>
                    <a:lnTo>
                      <a:pt x="606" y="698"/>
                    </a:lnTo>
                    <a:lnTo>
                      <a:pt x="605" y="699"/>
                    </a:lnTo>
                    <a:lnTo>
                      <a:pt x="602" y="700"/>
                    </a:lnTo>
                    <a:lnTo>
                      <a:pt x="602" y="700"/>
                    </a:lnTo>
                    <a:lnTo>
                      <a:pt x="597" y="698"/>
                    </a:lnTo>
                    <a:lnTo>
                      <a:pt x="591" y="695"/>
                    </a:lnTo>
                    <a:lnTo>
                      <a:pt x="591" y="694"/>
                    </a:lnTo>
                    <a:lnTo>
                      <a:pt x="590" y="692"/>
                    </a:lnTo>
                    <a:lnTo>
                      <a:pt x="590" y="695"/>
                    </a:lnTo>
                    <a:lnTo>
                      <a:pt x="588" y="695"/>
                    </a:lnTo>
                    <a:lnTo>
                      <a:pt x="584" y="691"/>
                    </a:lnTo>
                    <a:lnTo>
                      <a:pt x="584" y="691"/>
                    </a:lnTo>
                    <a:lnTo>
                      <a:pt x="580" y="690"/>
                    </a:lnTo>
                    <a:lnTo>
                      <a:pt x="576" y="688"/>
                    </a:lnTo>
                    <a:lnTo>
                      <a:pt x="573" y="685"/>
                    </a:lnTo>
                    <a:lnTo>
                      <a:pt x="572" y="681"/>
                    </a:lnTo>
                    <a:lnTo>
                      <a:pt x="572" y="681"/>
                    </a:lnTo>
                    <a:lnTo>
                      <a:pt x="565" y="677"/>
                    </a:lnTo>
                    <a:lnTo>
                      <a:pt x="563" y="676"/>
                    </a:lnTo>
                    <a:lnTo>
                      <a:pt x="559" y="675"/>
                    </a:lnTo>
                    <a:lnTo>
                      <a:pt x="557" y="676"/>
                    </a:lnTo>
                    <a:lnTo>
                      <a:pt x="557" y="676"/>
                    </a:lnTo>
                    <a:lnTo>
                      <a:pt x="553" y="675"/>
                    </a:lnTo>
                    <a:lnTo>
                      <a:pt x="549" y="676"/>
                    </a:lnTo>
                    <a:lnTo>
                      <a:pt x="544" y="675"/>
                    </a:lnTo>
                    <a:lnTo>
                      <a:pt x="538" y="676"/>
                    </a:lnTo>
                    <a:lnTo>
                      <a:pt x="531" y="673"/>
                    </a:lnTo>
                    <a:lnTo>
                      <a:pt x="531" y="673"/>
                    </a:lnTo>
                    <a:lnTo>
                      <a:pt x="529" y="675"/>
                    </a:lnTo>
                    <a:lnTo>
                      <a:pt x="526" y="675"/>
                    </a:lnTo>
                    <a:lnTo>
                      <a:pt x="519" y="675"/>
                    </a:lnTo>
                    <a:lnTo>
                      <a:pt x="519" y="681"/>
                    </a:lnTo>
                    <a:lnTo>
                      <a:pt x="516" y="683"/>
                    </a:lnTo>
                    <a:lnTo>
                      <a:pt x="519" y="685"/>
                    </a:lnTo>
                    <a:lnTo>
                      <a:pt x="519" y="688"/>
                    </a:lnTo>
                    <a:lnTo>
                      <a:pt x="515" y="692"/>
                    </a:lnTo>
                    <a:lnTo>
                      <a:pt x="515" y="692"/>
                    </a:lnTo>
                    <a:lnTo>
                      <a:pt x="514" y="696"/>
                    </a:lnTo>
                    <a:lnTo>
                      <a:pt x="511" y="703"/>
                    </a:lnTo>
                    <a:lnTo>
                      <a:pt x="508" y="709"/>
                    </a:lnTo>
                    <a:lnTo>
                      <a:pt x="506" y="713"/>
                    </a:lnTo>
                    <a:lnTo>
                      <a:pt x="506" y="715"/>
                    </a:lnTo>
                    <a:lnTo>
                      <a:pt x="503" y="719"/>
                    </a:lnTo>
                    <a:lnTo>
                      <a:pt x="504" y="725"/>
                    </a:lnTo>
                    <a:lnTo>
                      <a:pt x="504" y="725"/>
                    </a:lnTo>
                    <a:lnTo>
                      <a:pt x="500" y="726"/>
                    </a:lnTo>
                    <a:lnTo>
                      <a:pt x="496" y="728"/>
                    </a:lnTo>
                    <a:lnTo>
                      <a:pt x="491" y="729"/>
                    </a:lnTo>
                    <a:lnTo>
                      <a:pt x="488" y="730"/>
                    </a:lnTo>
                    <a:lnTo>
                      <a:pt x="488" y="730"/>
                    </a:lnTo>
                    <a:lnTo>
                      <a:pt x="493" y="732"/>
                    </a:lnTo>
                    <a:lnTo>
                      <a:pt x="499" y="733"/>
                    </a:lnTo>
                    <a:lnTo>
                      <a:pt x="497" y="734"/>
                    </a:lnTo>
                    <a:lnTo>
                      <a:pt x="495" y="734"/>
                    </a:lnTo>
                    <a:lnTo>
                      <a:pt x="492" y="737"/>
                    </a:lnTo>
                    <a:lnTo>
                      <a:pt x="492" y="737"/>
                    </a:lnTo>
                    <a:lnTo>
                      <a:pt x="492" y="741"/>
                    </a:lnTo>
                    <a:lnTo>
                      <a:pt x="493" y="747"/>
                    </a:lnTo>
                    <a:lnTo>
                      <a:pt x="491" y="745"/>
                    </a:lnTo>
                    <a:lnTo>
                      <a:pt x="489" y="747"/>
                    </a:lnTo>
                    <a:lnTo>
                      <a:pt x="491" y="753"/>
                    </a:lnTo>
                    <a:lnTo>
                      <a:pt x="491" y="753"/>
                    </a:lnTo>
                    <a:lnTo>
                      <a:pt x="489" y="757"/>
                    </a:lnTo>
                    <a:lnTo>
                      <a:pt x="489" y="763"/>
                    </a:lnTo>
                    <a:lnTo>
                      <a:pt x="489" y="763"/>
                    </a:lnTo>
                    <a:lnTo>
                      <a:pt x="488" y="765"/>
                    </a:lnTo>
                    <a:lnTo>
                      <a:pt x="487" y="771"/>
                    </a:lnTo>
                    <a:lnTo>
                      <a:pt x="487" y="768"/>
                    </a:lnTo>
                    <a:lnTo>
                      <a:pt x="487" y="768"/>
                    </a:lnTo>
                    <a:lnTo>
                      <a:pt x="487" y="760"/>
                    </a:lnTo>
                    <a:lnTo>
                      <a:pt x="487" y="756"/>
                    </a:lnTo>
                    <a:lnTo>
                      <a:pt x="487" y="755"/>
                    </a:lnTo>
                    <a:lnTo>
                      <a:pt x="487" y="755"/>
                    </a:lnTo>
                    <a:lnTo>
                      <a:pt x="487" y="752"/>
                    </a:lnTo>
                    <a:lnTo>
                      <a:pt x="485" y="749"/>
                    </a:lnTo>
                    <a:lnTo>
                      <a:pt x="485" y="744"/>
                    </a:lnTo>
                    <a:lnTo>
                      <a:pt x="478" y="740"/>
                    </a:lnTo>
                    <a:lnTo>
                      <a:pt x="478" y="737"/>
                    </a:lnTo>
                    <a:lnTo>
                      <a:pt x="481" y="736"/>
                    </a:lnTo>
                    <a:lnTo>
                      <a:pt x="481" y="733"/>
                    </a:lnTo>
                    <a:lnTo>
                      <a:pt x="478" y="732"/>
                    </a:lnTo>
                    <a:lnTo>
                      <a:pt x="478" y="734"/>
                    </a:lnTo>
                    <a:lnTo>
                      <a:pt x="472" y="729"/>
                    </a:lnTo>
                    <a:lnTo>
                      <a:pt x="468" y="729"/>
                    </a:lnTo>
                    <a:lnTo>
                      <a:pt x="465" y="726"/>
                    </a:lnTo>
                    <a:lnTo>
                      <a:pt x="460" y="726"/>
                    </a:lnTo>
                    <a:lnTo>
                      <a:pt x="460" y="722"/>
                    </a:lnTo>
                    <a:lnTo>
                      <a:pt x="457" y="723"/>
                    </a:lnTo>
                    <a:lnTo>
                      <a:pt x="457" y="722"/>
                    </a:lnTo>
                    <a:lnTo>
                      <a:pt x="461" y="719"/>
                    </a:lnTo>
                    <a:lnTo>
                      <a:pt x="460" y="717"/>
                    </a:lnTo>
                    <a:lnTo>
                      <a:pt x="460" y="717"/>
                    </a:lnTo>
                    <a:lnTo>
                      <a:pt x="462" y="714"/>
                    </a:lnTo>
                    <a:lnTo>
                      <a:pt x="465" y="711"/>
                    </a:lnTo>
                    <a:lnTo>
                      <a:pt x="465" y="713"/>
                    </a:lnTo>
                    <a:lnTo>
                      <a:pt x="462" y="717"/>
                    </a:lnTo>
                    <a:lnTo>
                      <a:pt x="465" y="717"/>
                    </a:lnTo>
                    <a:lnTo>
                      <a:pt x="465" y="717"/>
                    </a:lnTo>
                    <a:lnTo>
                      <a:pt x="468" y="710"/>
                    </a:lnTo>
                    <a:lnTo>
                      <a:pt x="468" y="707"/>
                    </a:lnTo>
                    <a:lnTo>
                      <a:pt x="466" y="704"/>
                    </a:lnTo>
                    <a:lnTo>
                      <a:pt x="460" y="706"/>
                    </a:lnTo>
                    <a:lnTo>
                      <a:pt x="460" y="706"/>
                    </a:lnTo>
                    <a:lnTo>
                      <a:pt x="457" y="710"/>
                    </a:lnTo>
                    <a:lnTo>
                      <a:pt x="453" y="713"/>
                    </a:lnTo>
                    <a:lnTo>
                      <a:pt x="450" y="711"/>
                    </a:lnTo>
                    <a:lnTo>
                      <a:pt x="449" y="713"/>
                    </a:lnTo>
                    <a:lnTo>
                      <a:pt x="449" y="714"/>
                    </a:lnTo>
                    <a:lnTo>
                      <a:pt x="446" y="714"/>
                    </a:lnTo>
                    <a:lnTo>
                      <a:pt x="443" y="717"/>
                    </a:lnTo>
                    <a:lnTo>
                      <a:pt x="442" y="715"/>
                    </a:lnTo>
                    <a:lnTo>
                      <a:pt x="442" y="715"/>
                    </a:lnTo>
                    <a:lnTo>
                      <a:pt x="446" y="713"/>
                    </a:lnTo>
                    <a:lnTo>
                      <a:pt x="450" y="710"/>
                    </a:lnTo>
                    <a:lnTo>
                      <a:pt x="453" y="710"/>
                    </a:lnTo>
                    <a:lnTo>
                      <a:pt x="453" y="710"/>
                    </a:lnTo>
                    <a:lnTo>
                      <a:pt x="457" y="706"/>
                    </a:lnTo>
                    <a:lnTo>
                      <a:pt x="460" y="702"/>
                    </a:lnTo>
                    <a:lnTo>
                      <a:pt x="460" y="702"/>
                    </a:lnTo>
                    <a:lnTo>
                      <a:pt x="460" y="694"/>
                    </a:lnTo>
                    <a:lnTo>
                      <a:pt x="461" y="690"/>
                    </a:lnTo>
                    <a:lnTo>
                      <a:pt x="464" y="687"/>
                    </a:lnTo>
                    <a:lnTo>
                      <a:pt x="464" y="687"/>
                    </a:lnTo>
                    <a:lnTo>
                      <a:pt x="462" y="683"/>
                    </a:lnTo>
                    <a:lnTo>
                      <a:pt x="460" y="679"/>
                    </a:lnTo>
                    <a:lnTo>
                      <a:pt x="458" y="679"/>
                    </a:lnTo>
                    <a:lnTo>
                      <a:pt x="455" y="684"/>
                    </a:lnTo>
                    <a:lnTo>
                      <a:pt x="455" y="684"/>
                    </a:lnTo>
                    <a:lnTo>
                      <a:pt x="451" y="684"/>
                    </a:lnTo>
                    <a:lnTo>
                      <a:pt x="449" y="684"/>
                    </a:lnTo>
                    <a:lnTo>
                      <a:pt x="450" y="690"/>
                    </a:lnTo>
                    <a:lnTo>
                      <a:pt x="449" y="690"/>
                    </a:lnTo>
                    <a:lnTo>
                      <a:pt x="445" y="688"/>
                    </a:lnTo>
                    <a:lnTo>
                      <a:pt x="446" y="681"/>
                    </a:lnTo>
                    <a:lnTo>
                      <a:pt x="447" y="683"/>
                    </a:lnTo>
                    <a:lnTo>
                      <a:pt x="447" y="683"/>
                    </a:lnTo>
                    <a:lnTo>
                      <a:pt x="447" y="677"/>
                    </a:lnTo>
                    <a:lnTo>
                      <a:pt x="449" y="673"/>
                    </a:lnTo>
                    <a:lnTo>
                      <a:pt x="447" y="669"/>
                    </a:lnTo>
                    <a:lnTo>
                      <a:pt x="442" y="665"/>
                    </a:lnTo>
                    <a:lnTo>
                      <a:pt x="442" y="665"/>
                    </a:lnTo>
                    <a:lnTo>
                      <a:pt x="439" y="665"/>
                    </a:lnTo>
                    <a:lnTo>
                      <a:pt x="438" y="664"/>
                    </a:lnTo>
                    <a:lnTo>
                      <a:pt x="431" y="664"/>
                    </a:lnTo>
                    <a:lnTo>
                      <a:pt x="431" y="664"/>
                    </a:lnTo>
                    <a:lnTo>
                      <a:pt x="428" y="661"/>
                    </a:lnTo>
                    <a:lnTo>
                      <a:pt x="424" y="660"/>
                    </a:lnTo>
                    <a:lnTo>
                      <a:pt x="416" y="658"/>
                    </a:lnTo>
                    <a:lnTo>
                      <a:pt x="413" y="654"/>
                    </a:lnTo>
                    <a:lnTo>
                      <a:pt x="412" y="654"/>
                    </a:lnTo>
                    <a:lnTo>
                      <a:pt x="413" y="658"/>
                    </a:lnTo>
                    <a:lnTo>
                      <a:pt x="411" y="661"/>
                    </a:lnTo>
                    <a:lnTo>
                      <a:pt x="407" y="662"/>
                    </a:lnTo>
                    <a:lnTo>
                      <a:pt x="407" y="665"/>
                    </a:lnTo>
                    <a:lnTo>
                      <a:pt x="407" y="666"/>
                    </a:lnTo>
                    <a:lnTo>
                      <a:pt x="404" y="665"/>
                    </a:lnTo>
                    <a:lnTo>
                      <a:pt x="403" y="668"/>
                    </a:lnTo>
                    <a:lnTo>
                      <a:pt x="403" y="669"/>
                    </a:lnTo>
                    <a:lnTo>
                      <a:pt x="400" y="675"/>
                    </a:lnTo>
                    <a:lnTo>
                      <a:pt x="397" y="672"/>
                    </a:lnTo>
                    <a:lnTo>
                      <a:pt x="397" y="672"/>
                    </a:lnTo>
                    <a:lnTo>
                      <a:pt x="396" y="668"/>
                    </a:lnTo>
                    <a:lnTo>
                      <a:pt x="394" y="665"/>
                    </a:lnTo>
                    <a:lnTo>
                      <a:pt x="394" y="665"/>
                    </a:lnTo>
                    <a:lnTo>
                      <a:pt x="389" y="665"/>
                    </a:lnTo>
                    <a:lnTo>
                      <a:pt x="382" y="664"/>
                    </a:lnTo>
                    <a:lnTo>
                      <a:pt x="378" y="665"/>
                    </a:lnTo>
                    <a:lnTo>
                      <a:pt x="375" y="664"/>
                    </a:lnTo>
                    <a:lnTo>
                      <a:pt x="373" y="666"/>
                    </a:lnTo>
                    <a:lnTo>
                      <a:pt x="371" y="665"/>
                    </a:lnTo>
                    <a:lnTo>
                      <a:pt x="369" y="664"/>
                    </a:lnTo>
                    <a:lnTo>
                      <a:pt x="363" y="661"/>
                    </a:lnTo>
                    <a:lnTo>
                      <a:pt x="358" y="660"/>
                    </a:lnTo>
                    <a:lnTo>
                      <a:pt x="355" y="658"/>
                    </a:lnTo>
                    <a:lnTo>
                      <a:pt x="354" y="658"/>
                    </a:lnTo>
                    <a:lnTo>
                      <a:pt x="355" y="661"/>
                    </a:lnTo>
                    <a:lnTo>
                      <a:pt x="351" y="665"/>
                    </a:lnTo>
                    <a:lnTo>
                      <a:pt x="348" y="664"/>
                    </a:lnTo>
                    <a:lnTo>
                      <a:pt x="346" y="664"/>
                    </a:lnTo>
                    <a:lnTo>
                      <a:pt x="343" y="662"/>
                    </a:lnTo>
                    <a:lnTo>
                      <a:pt x="344" y="661"/>
                    </a:lnTo>
                    <a:lnTo>
                      <a:pt x="343" y="660"/>
                    </a:lnTo>
                    <a:lnTo>
                      <a:pt x="340" y="660"/>
                    </a:lnTo>
                    <a:lnTo>
                      <a:pt x="337" y="661"/>
                    </a:lnTo>
                    <a:lnTo>
                      <a:pt x="337" y="664"/>
                    </a:lnTo>
                    <a:lnTo>
                      <a:pt x="337" y="664"/>
                    </a:lnTo>
                    <a:lnTo>
                      <a:pt x="333" y="662"/>
                    </a:lnTo>
                    <a:lnTo>
                      <a:pt x="333" y="658"/>
                    </a:lnTo>
                    <a:lnTo>
                      <a:pt x="333" y="656"/>
                    </a:lnTo>
                    <a:lnTo>
                      <a:pt x="331" y="657"/>
                    </a:lnTo>
                    <a:lnTo>
                      <a:pt x="328" y="656"/>
                    </a:lnTo>
                    <a:lnTo>
                      <a:pt x="327" y="656"/>
                    </a:lnTo>
                    <a:lnTo>
                      <a:pt x="327" y="658"/>
                    </a:lnTo>
                    <a:lnTo>
                      <a:pt x="318" y="656"/>
                    </a:lnTo>
                    <a:lnTo>
                      <a:pt x="316" y="656"/>
                    </a:lnTo>
                    <a:lnTo>
                      <a:pt x="313" y="654"/>
                    </a:lnTo>
                    <a:lnTo>
                      <a:pt x="313" y="654"/>
                    </a:lnTo>
                    <a:lnTo>
                      <a:pt x="309" y="656"/>
                    </a:lnTo>
                    <a:lnTo>
                      <a:pt x="306" y="658"/>
                    </a:lnTo>
                    <a:lnTo>
                      <a:pt x="305" y="653"/>
                    </a:lnTo>
                    <a:lnTo>
                      <a:pt x="305" y="653"/>
                    </a:lnTo>
                    <a:lnTo>
                      <a:pt x="303" y="657"/>
                    </a:lnTo>
                    <a:lnTo>
                      <a:pt x="301" y="660"/>
                    </a:lnTo>
                    <a:lnTo>
                      <a:pt x="298" y="660"/>
                    </a:lnTo>
                    <a:lnTo>
                      <a:pt x="297" y="662"/>
                    </a:lnTo>
                    <a:lnTo>
                      <a:pt x="293" y="657"/>
                    </a:lnTo>
                    <a:lnTo>
                      <a:pt x="291" y="660"/>
                    </a:lnTo>
                    <a:lnTo>
                      <a:pt x="291" y="660"/>
                    </a:lnTo>
                    <a:lnTo>
                      <a:pt x="287" y="658"/>
                    </a:lnTo>
                    <a:lnTo>
                      <a:pt x="284" y="658"/>
                    </a:lnTo>
                    <a:lnTo>
                      <a:pt x="283" y="657"/>
                    </a:lnTo>
                    <a:lnTo>
                      <a:pt x="280" y="656"/>
                    </a:lnTo>
                    <a:lnTo>
                      <a:pt x="279" y="658"/>
                    </a:lnTo>
                    <a:lnTo>
                      <a:pt x="278" y="656"/>
                    </a:lnTo>
                    <a:lnTo>
                      <a:pt x="278" y="656"/>
                    </a:lnTo>
                    <a:lnTo>
                      <a:pt x="272" y="653"/>
                    </a:lnTo>
                    <a:lnTo>
                      <a:pt x="267" y="653"/>
                    </a:lnTo>
                    <a:lnTo>
                      <a:pt x="261" y="646"/>
                    </a:lnTo>
                    <a:lnTo>
                      <a:pt x="257" y="649"/>
                    </a:lnTo>
                    <a:lnTo>
                      <a:pt x="255" y="646"/>
                    </a:lnTo>
                    <a:lnTo>
                      <a:pt x="253" y="646"/>
                    </a:lnTo>
                    <a:lnTo>
                      <a:pt x="253" y="649"/>
                    </a:lnTo>
                    <a:lnTo>
                      <a:pt x="252" y="650"/>
                    </a:lnTo>
                    <a:lnTo>
                      <a:pt x="251" y="650"/>
                    </a:lnTo>
                    <a:lnTo>
                      <a:pt x="251" y="650"/>
                    </a:lnTo>
                    <a:lnTo>
                      <a:pt x="252" y="646"/>
                    </a:lnTo>
                    <a:lnTo>
                      <a:pt x="252" y="643"/>
                    </a:lnTo>
                    <a:lnTo>
                      <a:pt x="251" y="642"/>
                    </a:lnTo>
                    <a:lnTo>
                      <a:pt x="249" y="646"/>
                    </a:lnTo>
                    <a:lnTo>
                      <a:pt x="248" y="646"/>
                    </a:lnTo>
                    <a:lnTo>
                      <a:pt x="245" y="645"/>
                    </a:lnTo>
                    <a:lnTo>
                      <a:pt x="245" y="645"/>
                    </a:lnTo>
                    <a:lnTo>
                      <a:pt x="244" y="645"/>
                    </a:lnTo>
                    <a:lnTo>
                      <a:pt x="241" y="646"/>
                    </a:lnTo>
                    <a:lnTo>
                      <a:pt x="241" y="649"/>
                    </a:lnTo>
                    <a:lnTo>
                      <a:pt x="241" y="649"/>
                    </a:lnTo>
                    <a:lnTo>
                      <a:pt x="237" y="650"/>
                    </a:lnTo>
                    <a:lnTo>
                      <a:pt x="233" y="653"/>
                    </a:lnTo>
                    <a:lnTo>
                      <a:pt x="229" y="654"/>
                    </a:lnTo>
                    <a:lnTo>
                      <a:pt x="227" y="656"/>
                    </a:lnTo>
                    <a:lnTo>
                      <a:pt x="225" y="656"/>
                    </a:lnTo>
                    <a:lnTo>
                      <a:pt x="226" y="665"/>
                    </a:lnTo>
                    <a:lnTo>
                      <a:pt x="223" y="668"/>
                    </a:lnTo>
                    <a:lnTo>
                      <a:pt x="223" y="668"/>
                    </a:lnTo>
                    <a:lnTo>
                      <a:pt x="226" y="668"/>
                    </a:lnTo>
                    <a:lnTo>
                      <a:pt x="229" y="668"/>
                    </a:lnTo>
                    <a:lnTo>
                      <a:pt x="229" y="671"/>
                    </a:lnTo>
                    <a:lnTo>
                      <a:pt x="232" y="669"/>
                    </a:lnTo>
                    <a:lnTo>
                      <a:pt x="240" y="676"/>
                    </a:lnTo>
                    <a:lnTo>
                      <a:pt x="242" y="672"/>
                    </a:lnTo>
                    <a:lnTo>
                      <a:pt x="242" y="672"/>
                    </a:lnTo>
                    <a:lnTo>
                      <a:pt x="246" y="672"/>
                    </a:lnTo>
                    <a:lnTo>
                      <a:pt x="249" y="672"/>
                    </a:lnTo>
                    <a:lnTo>
                      <a:pt x="252" y="675"/>
                    </a:lnTo>
                    <a:lnTo>
                      <a:pt x="251" y="676"/>
                    </a:lnTo>
                    <a:lnTo>
                      <a:pt x="251" y="676"/>
                    </a:lnTo>
                    <a:lnTo>
                      <a:pt x="253" y="677"/>
                    </a:lnTo>
                    <a:lnTo>
                      <a:pt x="256" y="680"/>
                    </a:lnTo>
                    <a:lnTo>
                      <a:pt x="257" y="680"/>
                    </a:lnTo>
                    <a:lnTo>
                      <a:pt x="257" y="681"/>
                    </a:lnTo>
                    <a:lnTo>
                      <a:pt x="256" y="681"/>
                    </a:lnTo>
                    <a:lnTo>
                      <a:pt x="251" y="680"/>
                    </a:lnTo>
                    <a:lnTo>
                      <a:pt x="251" y="680"/>
                    </a:lnTo>
                    <a:lnTo>
                      <a:pt x="249" y="676"/>
                    </a:lnTo>
                    <a:lnTo>
                      <a:pt x="245" y="673"/>
                    </a:lnTo>
                    <a:lnTo>
                      <a:pt x="242" y="676"/>
                    </a:lnTo>
                    <a:lnTo>
                      <a:pt x="242" y="679"/>
                    </a:lnTo>
                    <a:lnTo>
                      <a:pt x="245" y="680"/>
                    </a:lnTo>
                    <a:lnTo>
                      <a:pt x="244" y="684"/>
                    </a:lnTo>
                    <a:lnTo>
                      <a:pt x="263" y="695"/>
                    </a:lnTo>
                    <a:lnTo>
                      <a:pt x="263" y="696"/>
                    </a:lnTo>
                    <a:lnTo>
                      <a:pt x="270" y="695"/>
                    </a:lnTo>
                    <a:lnTo>
                      <a:pt x="265" y="699"/>
                    </a:lnTo>
                    <a:lnTo>
                      <a:pt x="265" y="699"/>
                    </a:lnTo>
                    <a:lnTo>
                      <a:pt x="261" y="698"/>
                    </a:lnTo>
                    <a:lnTo>
                      <a:pt x="259" y="698"/>
                    </a:lnTo>
                    <a:lnTo>
                      <a:pt x="259" y="698"/>
                    </a:lnTo>
                    <a:lnTo>
                      <a:pt x="252" y="694"/>
                    </a:lnTo>
                    <a:lnTo>
                      <a:pt x="246" y="690"/>
                    </a:lnTo>
                    <a:lnTo>
                      <a:pt x="240" y="681"/>
                    </a:lnTo>
                    <a:lnTo>
                      <a:pt x="240" y="681"/>
                    </a:lnTo>
                    <a:lnTo>
                      <a:pt x="237" y="681"/>
                    </a:lnTo>
                    <a:lnTo>
                      <a:pt x="233" y="681"/>
                    </a:lnTo>
                    <a:lnTo>
                      <a:pt x="229" y="684"/>
                    </a:lnTo>
                    <a:lnTo>
                      <a:pt x="226" y="685"/>
                    </a:lnTo>
                    <a:lnTo>
                      <a:pt x="223" y="685"/>
                    </a:lnTo>
                    <a:lnTo>
                      <a:pt x="221" y="688"/>
                    </a:lnTo>
                    <a:lnTo>
                      <a:pt x="221" y="691"/>
                    </a:lnTo>
                    <a:lnTo>
                      <a:pt x="219" y="692"/>
                    </a:lnTo>
                    <a:lnTo>
                      <a:pt x="219" y="695"/>
                    </a:lnTo>
                    <a:lnTo>
                      <a:pt x="219" y="696"/>
                    </a:lnTo>
                    <a:lnTo>
                      <a:pt x="217" y="695"/>
                    </a:lnTo>
                    <a:lnTo>
                      <a:pt x="217" y="699"/>
                    </a:lnTo>
                    <a:lnTo>
                      <a:pt x="219" y="702"/>
                    </a:lnTo>
                    <a:lnTo>
                      <a:pt x="215" y="704"/>
                    </a:lnTo>
                    <a:lnTo>
                      <a:pt x="215" y="704"/>
                    </a:lnTo>
                    <a:lnTo>
                      <a:pt x="218" y="710"/>
                    </a:lnTo>
                    <a:lnTo>
                      <a:pt x="222" y="714"/>
                    </a:lnTo>
                    <a:lnTo>
                      <a:pt x="226" y="715"/>
                    </a:lnTo>
                    <a:lnTo>
                      <a:pt x="227" y="718"/>
                    </a:lnTo>
                    <a:lnTo>
                      <a:pt x="222" y="717"/>
                    </a:lnTo>
                    <a:lnTo>
                      <a:pt x="217" y="713"/>
                    </a:lnTo>
                    <a:lnTo>
                      <a:pt x="213" y="714"/>
                    </a:lnTo>
                    <a:lnTo>
                      <a:pt x="217" y="715"/>
                    </a:lnTo>
                    <a:lnTo>
                      <a:pt x="218" y="717"/>
                    </a:lnTo>
                    <a:lnTo>
                      <a:pt x="218" y="719"/>
                    </a:lnTo>
                    <a:lnTo>
                      <a:pt x="217" y="722"/>
                    </a:lnTo>
                    <a:lnTo>
                      <a:pt x="217" y="722"/>
                    </a:lnTo>
                    <a:lnTo>
                      <a:pt x="213" y="723"/>
                    </a:lnTo>
                    <a:lnTo>
                      <a:pt x="207" y="725"/>
                    </a:lnTo>
                    <a:lnTo>
                      <a:pt x="207" y="725"/>
                    </a:lnTo>
                    <a:lnTo>
                      <a:pt x="199" y="725"/>
                    </a:lnTo>
                    <a:lnTo>
                      <a:pt x="192" y="725"/>
                    </a:lnTo>
                    <a:lnTo>
                      <a:pt x="185" y="723"/>
                    </a:lnTo>
                    <a:lnTo>
                      <a:pt x="179" y="718"/>
                    </a:lnTo>
                    <a:lnTo>
                      <a:pt x="179" y="717"/>
                    </a:lnTo>
                    <a:lnTo>
                      <a:pt x="180" y="717"/>
                    </a:lnTo>
                    <a:lnTo>
                      <a:pt x="184" y="718"/>
                    </a:lnTo>
                    <a:lnTo>
                      <a:pt x="184" y="718"/>
                    </a:lnTo>
                    <a:lnTo>
                      <a:pt x="184" y="718"/>
                    </a:lnTo>
                    <a:lnTo>
                      <a:pt x="183" y="710"/>
                    </a:lnTo>
                    <a:lnTo>
                      <a:pt x="180" y="706"/>
                    </a:lnTo>
                    <a:lnTo>
                      <a:pt x="179" y="703"/>
                    </a:lnTo>
                    <a:lnTo>
                      <a:pt x="179" y="702"/>
                    </a:lnTo>
                    <a:lnTo>
                      <a:pt x="180" y="702"/>
                    </a:lnTo>
                    <a:lnTo>
                      <a:pt x="180" y="702"/>
                    </a:lnTo>
                    <a:lnTo>
                      <a:pt x="181" y="704"/>
                    </a:lnTo>
                    <a:lnTo>
                      <a:pt x="181" y="707"/>
                    </a:lnTo>
                    <a:lnTo>
                      <a:pt x="181" y="707"/>
                    </a:lnTo>
                    <a:lnTo>
                      <a:pt x="187" y="715"/>
                    </a:lnTo>
                    <a:lnTo>
                      <a:pt x="187" y="715"/>
                    </a:lnTo>
                    <a:lnTo>
                      <a:pt x="187" y="719"/>
                    </a:lnTo>
                    <a:lnTo>
                      <a:pt x="191" y="721"/>
                    </a:lnTo>
                    <a:lnTo>
                      <a:pt x="192" y="719"/>
                    </a:lnTo>
                    <a:lnTo>
                      <a:pt x="191" y="717"/>
                    </a:lnTo>
                    <a:lnTo>
                      <a:pt x="192" y="715"/>
                    </a:lnTo>
                    <a:lnTo>
                      <a:pt x="195" y="717"/>
                    </a:lnTo>
                    <a:lnTo>
                      <a:pt x="203" y="715"/>
                    </a:lnTo>
                    <a:lnTo>
                      <a:pt x="200" y="713"/>
                    </a:lnTo>
                    <a:lnTo>
                      <a:pt x="202" y="709"/>
                    </a:lnTo>
                    <a:lnTo>
                      <a:pt x="208" y="709"/>
                    </a:lnTo>
                    <a:lnTo>
                      <a:pt x="208" y="709"/>
                    </a:lnTo>
                    <a:lnTo>
                      <a:pt x="210" y="702"/>
                    </a:lnTo>
                    <a:lnTo>
                      <a:pt x="211" y="699"/>
                    </a:lnTo>
                    <a:lnTo>
                      <a:pt x="211" y="696"/>
                    </a:lnTo>
                    <a:lnTo>
                      <a:pt x="213" y="692"/>
                    </a:lnTo>
                    <a:lnTo>
                      <a:pt x="213" y="691"/>
                    </a:lnTo>
                    <a:lnTo>
                      <a:pt x="213" y="691"/>
                    </a:lnTo>
                    <a:lnTo>
                      <a:pt x="208" y="692"/>
                    </a:lnTo>
                    <a:lnTo>
                      <a:pt x="204" y="694"/>
                    </a:lnTo>
                    <a:lnTo>
                      <a:pt x="202" y="692"/>
                    </a:lnTo>
                    <a:lnTo>
                      <a:pt x="200" y="687"/>
                    </a:lnTo>
                    <a:lnTo>
                      <a:pt x="198" y="699"/>
                    </a:lnTo>
                    <a:lnTo>
                      <a:pt x="196" y="700"/>
                    </a:lnTo>
                    <a:lnTo>
                      <a:pt x="196" y="700"/>
                    </a:lnTo>
                    <a:lnTo>
                      <a:pt x="196" y="696"/>
                    </a:lnTo>
                    <a:lnTo>
                      <a:pt x="196" y="694"/>
                    </a:lnTo>
                    <a:lnTo>
                      <a:pt x="198" y="691"/>
                    </a:lnTo>
                    <a:lnTo>
                      <a:pt x="198" y="690"/>
                    </a:lnTo>
                    <a:lnTo>
                      <a:pt x="194" y="690"/>
                    </a:lnTo>
                    <a:lnTo>
                      <a:pt x="192" y="690"/>
                    </a:lnTo>
                    <a:lnTo>
                      <a:pt x="192" y="687"/>
                    </a:lnTo>
                    <a:lnTo>
                      <a:pt x="190" y="688"/>
                    </a:lnTo>
                    <a:lnTo>
                      <a:pt x="185" y="687"/>
                    </a:lnTo>
                    <a:lnTo>
                      <a:pt x="185" y="683"/>
                    </a:lnTo>
                    <a:lnTo>
                      <a:pt x="183" y="683"/>
                    </a:lnTo>
                    <a:lnTo>
                      <a:pt x="181" y="680"/>
                    </a:lnTo>
                    <a:lnTo>
                      <a:pt x="183" y="679"/>
                    </a:lnTo>
                    <a:lnTo>
                      <a:pt x="177" y="675"/>
                    </a:lnTo>
                    <a:lnTo>
                      <a:pt x="176" y="673"/>
                    </a:lnTo>
                    <a:lnTo>
                      <a:pt x="177" y="671"/>
                    </a:lnTo>
                    <a:lnTo>
                      <a:pt x="175" y="669"/>
                    </a:lnTo>
                    <a:lnTo>
                      <a:pt x="173" y="666"/>
                    </a:lnTo>
                    <a:lnTo>
                      <a:pt x="169" y="668"/>
                    </a:lnTo>
                    <a:lnTo>
                      <a:pt x="169" y="671"/>
                    </a:lnTo>
                    <a:lnTo>
                      <a:pt x="171" y="672"/>
                    </a:lnTo>
                    <a:lnTo>
                      <a:pt x="168" y="676"/>
                    </a:lnTo>
                    <a:lnTo>
                      <a:pt x="166" y="675"/>
                    </a:lnTo>
                    <a:lnTo>
                      <a:pt x="164" y="675"/>
                    </a:lnTo>
                    <a:lnTo>
                      <a:pt x="162" y="677"/>
                    </a:lnTo>
                    <a:lnTo>
                      <a:pt x="162" y="680"/>
                    </a:lnTo>
                    <a:lnTo>
                      <a:pt x="158" y="681"/>
                    </a:lnTo>
                    <a:lnTo>
                      <a:pt x="156" y="680"/>
                    </a:lnTo>
                    <a:lnTo>
                      <a:pt x="154" y="680"/>
                    </a:lnTo>
                    <a:lnTo>
                      <a:pt x="154" y="683"/>
                    </a:lnTo>
                    <a:lnTo>
                      <a:pt x="149" y="685"/>
                    </a:lnTo>
                    <a:lnTo>
                      <a:pt x="146" y="684"/>
                    </a:lnTo>
                    <a:lnTo>
                      <a:pt x="146" y="688"/>
                    </a:lnTo>
                    <a:lnTo>
                      <a:pt x="142" y="690"/>
                    </a:lnTo>
                    <a:lnTo>
                      <a:pt x="142" y="690"/>
                    </a:lnTo>
                    <a:lnTo>
                      <a:pt x="143" y="692"/>
                    </a:lnTo>
                    <a:lnTo>
                      <a:pt x="145" y="696"/>
                    </a:lnTo>
                    <a:lnTo>
                      <a:pt x="143" y="698"/>
                    </a:lnTo>
                    <a:lnTo>
                      <a:pt x="141" y="698"/>
                    </a:lnTo>
                    <a:lnTo>
                      <a:pt x="141" y="700"/>
                    </a:lnTo>
                    <a:lnTo>
                      <a:pt x="141" y="702"/>
                    </a:lnTo>
                    <a:lnTo>
                      <a:pt x="139" y="700"/>
                    </a:lnTo>
                    <a:lnTo>
                      <a:pt x="138" y="702"/>
                    </a:lnTo>
                    <a:lnTo>
                      <a:pt x="139" y="703"/>
                    </a:lnTo>
                    <a:lnTo>
                      <a:pt x="145" y="704"/>
                    </a:lnTo>
                    <a:lnTo>
                      <a:pt x="145" y="704"/>
                    </a:lnTo>
                    <a:lnTo>
                      <a:pt x="146" y="709"/>
                    </a:lnTo>
                    <a:lnTo>
                      <a:pt x="149" y="711"/>
                    </a:lnTo>
                    <a:lnTo>
                      <a:pt x="146" y="711"/>
                    </a:lnTo>
                    <a:lnTo>
                      <a:pt x="145" y="711"/>
                    </a:lnTo>
                    <a:lnTo>
                      <a:pt x="145" y="711"/>
                    </a:lnTo>
                    <a:lnTo>
                      <a:pt x="142" y="709"/>
                    </a:lnTo>
                    <a:lnTo>
                      <a:pt x="139" y="706"/>
                    </a:lnTo>
                    <a:lnTo>
                      <a:pt x="137" y="706"/>
                    </a:lnTo>
                    <a:lnTo>
                      <a:pt x="134" y="704"/>
                    </a:lnTo>
                    <a:lnTo>
                      <a:pt x="133" y="706"/>
                    </a:lnTo>
                    <a:lnTo>
                      <a:pt x="135" y="709"/>
                    </a:lnTo>
                    <a:lnTo>
                      <a:pt x="138" y="709"/>
                    </a:lnTo>
                    <a:lnTo>
                      <a:pt x="138" y="710"/>
                    </a:lnTo>
                    <a:lnTo>
                      <a:pt x="141" y="710"/>
                    </a:lnTo>
                    <a:lnTo>
                      <a:pt x="145" y="714"/>
                    </a:lnTo>
                    <a:lnTo>
                      <a:pt x="147" y="713"/>
                    </a:lnTo>
                    <a:lnTo>
                      <a:pt x="152" y="715"/>
                    </a:lnTo>
                    <a:lnTo>
                      <a:pt x="152" y="719"/>
                    </a:lnTo>
                    <a:lnTo>
                      <a:pt x="149" y="726"/>
                    </a:lnTo>
                    <a:lnTo>
                      <a:pt x="149" y="726"/>
                    </a:lnTo>
                    <a:lnTo>
                      <a:pt x="145" y="726"/>
                    </a:lnTo>
                    <a:lnTo>
                      <a:pt x="142" y="726"/>
                    </a:lnTo>
                    <a:lnTo>
                      <a:pt x="141" y="728"/>
                    </a:lnTo>
                    <a:lnTo>
                      <a:pt x="141" y="730"/>
                    </a:lnTo>
                    <a:lnTo>
                      <a:pt x="138" y="734"/>
                    </a:lnTo>
                    <a:lnTo>
                      <a:pt x="138" y="734"/>
                    </a:lnTo>
                    <a:lnTo>
                      <a:pt x="139" y="738"/>
                    </a:lnTo>
                    <a:lnTo>
                      <a:pt x="141" y="742"/>
                    </a:lnTo>
                    <a:lnTo>
                      <a:pt x="139" y="747"/>
                    </a:lnTo>
                    <a:lnTo>
                      <a:pt x="138" y="751"/>
                    </a:lnTo>
                    <a:lnTo>
                      <a:pt x="138" y="753"/>
                    </a:lnTo>
                    <a:lnTo>
                      <a:pt x="138" y="753"/>
                    </a:lnTo>
                    <a:lnTo>
                      <a:pt x="137" y="756"/>
                    </a:lnTo>
                    <a:lnTo>
                      <a:pt x="135" y="760"/>
                    </a:lnTo>
                    <a:lnTo>
                      <a:pt x="133" y="764"/>
                    </a:lnTo>
                    <a:lnTo>
                      <a:pt x="130" y="767"/>
                    </a:lnTo>
                    <a:lnTo>
                      <a:pt x="130" y="767"/>
                    </a:lnTo>
                    <a:lnTo>
                      <a:pt x="127" y="771"/>
                    </a:lnTo>
                    <a:lnTo>
                      <a:pt x="127" y="776"/>
                    </a:lnTo>
                    <a:lnTo>
                      <a:pt x="128" y="787"/>
                    </a:lnTo>
                    <a:lnTo>
                      <a:pt x="124" y="790"/>
                    </a:lnTo>
                    <a:lnTo>
                      <a:pt x="124" y="791"/>
                    </a:lnTo>
                    <a:lnTo>
                      <a:pt x="127" y="798"/>
                    </a:lnTo>
                    <a:lnTo>
                      <a:pt x="128" y="798"/>
                    </a:lnTo>
                    <a:lnTo>
                      <a:pt x="130" y="797"/>
                    </a:lnTo>
                    <a:lnTo>
                      <a:pt x="130" y="797"/>
                    </a:lnTo>
                    <a:lnTo>
                      <a:pt x="139" y="802"/>
                    </a:lnTo>
                    <a:lnTo>
                      <a:pt x="146" y="801"/>
                    </a:lnTo>
                    <a:lnTo>
                      <a:pt x="149" y="797"/>
                    </a:lnTo>
                    <a:lnTo>
                      <a:pt x="149" y="795"/>
                    </a:lnTo>
                    <a:lnTo>
                      <a:pt x="146" y="793"/>
                    </a:lnTo>
                    <a:lnTo>
                      <a:pt x="147" y="789"/>
                    </a:lnTo>
                    <a:lnTo>
                      <a:pt x="139" y="787"/>
                    </a:lnTo>
                    <a:lnTo>
                      <a:pt x="138" y="784"/>
                    </a:lnTo>
                    <a:lnTo>
                      <a:pt x="139" y="783"/>
                    </a:lnTo>
                    <a:lnTo>
                      <a:pt x="138" y="780"/>
                    </a:lnTo>
                    <a:lnTo>
                      <a:pt x="141" y="780"/>
                    </a:lnTo>
                    <a:lnTo>
                      <a:pt x="141" y="779"/>
                    </a:lnTo>
                    <a:lnTo>
                      <a:pt x="145" y="778"/>
                    </a:lnTo>
                    <a:lnTo>
                      <a:pt x="146" y="778"/>
                    </a:lnTo>
                    <a:lnTo>
                      <a:pt x="145" y="780"/>
                    </a:lnTo>
                    <a:lnTo>
                      <a:pt x="146" y="782"/>
                    </a:lnTo>
                    <a:lnTo>
                      <a:pt x="147" y="779"/>
                    </a:lnTo>
                    <a:lnTo>
                      <a:pt x="146" y="776"/>
                    </a:lnTo>
                    <a:lnTo>
                      <a:pt x="146" y="774"/>
                    </a:lnTo>
                    <a:lnTo>
                      <a:pt x="145" y="771"/>
                    </a:lnTo>
                    <a:lnTo>
                      <a:pt x="146" y="768"/>
                    </a:lnTo>
                    <a:lnTo>
                      <a:pt x="152" y="767"/>
                    </a:lnTo>
                    <a:lnTo>
                      <a:pt x="150" y="764"/>
                    </a:lnTo>
                    <a:lnTo>
                      <a:pt x="150" y="764"/>
                    </a:lnTo>
                    <a:lnTo>
                      <a:pt x="145" y="763"/>
                    </a:lnTo>
                    <a:lnTo>
                      <a:pt x="138" y="761"/>
                    </a:lnTo>
                    <a:lnTo>
                      <a:pt x="138" y="757"/>
                    </a:lnTo>
                    <a:lnTo>
                      <a:pt x="142" y="756"/>
                    </a:lnTo>
                    <a:lnTo>
                      <a:pt x="145" y="756"/>
                    </a:lnTo>
                    <a:lnTo>
                      <a:pt x="146" y="755"/>
                    </a:lnTo>
                    <a:lnTo>
                      <a:pt x="147" y="752"/>
                    </a:lnTo>
                    <a:lnTo>
                      <a:pt x="150" y="751"/>
                    </a:lnTo>
                    <a:lnTo>
                      <a:pt x="157" y="752"/>
                    </a:lnTo>
                    <a:lnTo>
                      <a:pt x="158" y="749"/>
                    </a:lnTo>
                    <a:lnTo>
                      <a:pt x="157" y="742"/>
                    </a:lnTo>
                    <a:lnTo>
                      <a:pt x="158" y="742"/>
                    </a:lnTo>
                    <a:lnTo>
                      <a:pt x="154" y="740"/>
                    </a:lnTo>
                    <a:lnTo>
                      <a:pt x="154" y="740"/>
                    </a:lnTo>
                    <a:lnTo>
                      <a:pt x="158" y="737"/>
                    </a:lnTo>
                    <a:lnTo>
                      <a:pt x="160" y="737"/>
                    </a:lnTo>
                    <a:lnTo>
                      <a:pt x="162" y="738"/>
                    </a:lnTo>
                    <a:lnTo>
                      <a:pt x="164" y="741"/>
                    </a:lnTo>
                    <a:lnTo>
                      <a:pt x="166" y="741"/>
                    </a:lnTo>
                    <a:lnTo>
                      <a:pt x="168" y="742"/>
                    </a:lnTo>
                    <a:lnTo>
                      <a:pt x="169" y="740"/>
                    </a:lnTo>
                    <a:lnTo>
                      <a:pt x="168" y="738"/>
                    </a:lnTo>
                    <a:lnTo>
                      <a:pt x="168" y="737"/>
                    </a:lnTo>
                    <a:lnTo>
                      <a:pt x="171" y="736"/>
                    </a:lnTo>
                    <a:lnTo>
                      <a:pt x="171" y="734"/>
                    </a:lnTo>
                    <a:lnTo>
                      <a:pt x="171" y="734"/>
                    </a:lnTo>
                    <a:lnTo>
                      <a:pt x="168" y="729"/>
                    </a:lnTo>
                    <a:lnTo>
                      <a:pt x="164" y="726"/>
                    </a:lnTo>
                    <a:lnTo>
                      <a:pt x="162" y="723"/>
                    </a:lnTo>
                    <a:lnTo>
                      <a:pt x="165" y="723"/>
                    </a:lnTo>
                    <a:lnTo>
                      <a:pt x="168" y="725"/>
                    </a:lnTo>
                    <a:lnTo>
                      <a:pt x="171" y="722"/>
                    </a:lnTo>
                    <a:lnTo>
                      <a:pt x="171" y="721"/>
                    </a:lnTo>
                    <a:lnTo>
                      <a:pt x="168" y="718"/>
                    </a:lnTo>
                    <a:lnTo>
                      <a:pt x="166" y="717"/>
                    </a:lnTo>
                    <a:lnTo>
                      <a:pt x="169" y="717"/>
                    </a:lnTo>
                    <a:lnTo>
                      <a:pt x="172" y="717"/>
                    </a:lnTo>
                    <a:lnTo>
                      <a:pt x="175" y="715"/>
                    </a:lnTo>
                    <a:lnTo>
                      <a:pt x="175" y="715"/>
                    </a:lnTo>
                    <a:lnTo>
                      <a:pt x="175" y="717"/>
                    </a:lnTo>
                    <a:lnTo>
                      <a:pt x="176" y="719"/>
                    </a:lnTo>
                    <a:lnTo>
                      <a:pt x="176" y="722"/>
                    </a:lnTo>
                    <a:lnTo>
                      <a:pt x="177" y="725"/>
                    </a:lnTo>
                    <a:lnTo>
                      <a:pt x="177" y="725"/>
                    </a:lnTo>
                    <a:lnTo>
                      <a:pt x="184" y="729"/>
                    </a:lnTo>
                    <a:lnTo>
                      <a:pt x="187" y="733"/>
                    </a:lnTo>
                    <a:lnTo>
                      <a:pt x="190" y="736"/>
                    </a:lnTo>
                    <a:lnTo>
                      <a:pt x="192" y="733"/>
                    </a:lnTo>
                    <a:lnTo>
                      <a:pt x="195" y="736"/>
                    </a:lnTo>
                    <a:lnTo>
                      <a:pt x="195" y="736"/>
                    </a:lnTo>
                    <a:lnTo>
                      <a:pt x="199" y="736"/>
                    </a:lnTo>
                    <a:lnTo>
                      <a:pt x="202" y="736"/>
                    </a:lnTo>
                    <a:lnTo>
                      <a:pt x="200" y="740"/>
                    </a:lnTo>
                    <a:lnTo>
                      <a:pt x="199" y="740"/>
                    </a:lnTo>
                    <a:lnTo>
                      <a:pt x="198" y="737"/>
                    </a:lnTo>
                    <a:lnTo>
                      <a:pt x="198" y="737"/>
                    </a:lnTo>
                    <a:lnTo>
                      <a:pt x="196" y="738"/>
                    </a:lnTo>
                    <a:lnTo>
                      <a:pt x="195" y="741"/>
                    </a:lnTo>
                    <a:lnTo>
                      <a:pt x="196" y="744"/>
                    </a:lnTo>
                    <a:lnTo>
                      <a:pt x="194" y="747"/>
                    </a:lnTo>
                    <a:lnTo>
                      <a:pt x="192" y="747"/>
                    </a:lnTo>
                    <a:lnTo>
                      <a:pt x="191" y="748"/>
                    </a:lnTo>
                    <a:lnTo>
                      <a:pt x="190" y="749"/>
                    </a:lnTo>
                    <a:lnTo>
                      <a:pt x="181" y="744"/>
                    </a:lnTo>
                    <a:lnTo>
                      <a:pt x="180" y="744"/>
                    </a:lnTo>
                    <a:lnTo>
                      <a:pt x="179" y="745"/>
                    </a:lnTo>
                    <a:lnTo>
                      <a:pt x="179" y="747"/>
                    </a:lnTo>
                    <a:lnTo>
                      <a:pt x="179" y="747"/>
                    </a:lnTo>
                    <a:lnTo>
                      <a:pt x="187" y="749"/>
                    </a:lnTo>
                    <a:lnTo>
                      <a:pt x="191" y="752"/>
                    </a:lnTo>
                    <a:lnTo>
                      <a:pt x="194" y="756"/>
                    </a:lnTo>
                    <a:lnTo>
                      <a:pt x="194" y="760"/>
                    </a:lnTo>
                    <a:lnTo>
                      <a:pt x="196" y="760"/>
                    </a:lnTo>
                    <a:lnTo>
                      <a:pt x="199" y="763"/>
                    </a:lnTo>
                    <a:lnTo>
                      <a:pt x="199" y="764"/>
                    </a:lnTo>
                    <a:lnTo>
                      <a:pt x="198" y="767"/>
                    </a:lnTo>
                    <a:lnTo>
                      <a:pt x="190" y="761"/>
                    </a:lnTo>
                    <a:lnTo>
                      <a:pt x="188" y="763"/>
                    </a:lnTo>
                    <a:lnTo>
                      <a:pt x="188" y="768"/>
                    </a:lnTo>
                    <a:lnTo>
                      <a:pt x="188" y="768"/>
                    </a:lnTo>
                    <a:lnTo>
                      <a:pt x="192" y="772"/>
                    </a:lnTo>
                    <a:lnTo>
                      <a:pt x="196" y="778"/>
                    </a:lnTo>
                    <a:lnTo>
                      <a:pt x="198" y="778"/>
                    </a:lnTo>
                    <a:lnTo>
                      <a:pt x="199" y="774"/>
                    </a:lnTo>
                    <a:lnTo>
                      <a:pt x="200" y="774"/>
                    </a:lnTo>
                    <a:lnTo>
                      <a:pt x="203" y="775"/>
                    </a:lnTo>
                    <a:lnTo>
                      <a:pt x="204" y="779"/>
                    </a:lnTo>
                    <a:lnTo>
                      <a:pt x="207" y="780"/>
                    </a:lnTo>
                    <a:lnTo>
                      <a:pt x="210" y="784"/>
                    </a:lnTo>
                    <a:lnTo>
                      <a:pt x="210" y="784"/>
                    </a:lnTo>
                    <a:lnTo>
                      <a:pt x="206" y="784"/>
                    </a:lnTo>
                    <a:lnTo>
                      <a:pt x="202" y="783"/>
                    </a:lnTo>
                    <a:lnTo>
                      <a:pt x="202" y="786"/>
                    </a:lnTo>
                    <a:lnTo>
                      <a:pt x="200" y="786"/>
                    </a:lnTo>
                    <a:lnTo>
                      <a:pt x="199" y="783"/>
                    </a:lnTo>
                    <a:lnTo>
                      <a:pt x="198" y="782"/>
                    </a:lnTo>
                    <a:lnTo>
                      <a:pt x="196" y="782"/>
                    </a:lnTo>
                    <a:lnTo>
                      <a:pt x="195" y="787"/>
                    </a:lnTo>
                    <a:lnTo>
                      <a:pt x="195" y="787"/>
                    </a:lnTo>
                    <a:lnTo>
                      <a:pt x="190" y="790"/>
                    </a:lnTo>
                    <a:lnTo>
                      <a:pt x="184" y="790"/>
                    </a:lnTo>
                    <a:lnTo>
                      <a:pt x="181" y="791"/>
                    </a:lnTo>
                    <a:lnTo>
                      <a:pt x="179" y="791"/>
                    </a:lnTo>
                    <a:lnTo>
                      <a:pt x="176" y="793"/>
                    </a:lnTo>
                    <a:lnTo>
                      <a:pt x="176" y="794"/>
                    </a:lnTo>
                    <a:lnTo>
                      <a:pt x="176" y="794"/>
                    </a:lnTo>
                    <a:lnTo>
                      <a:pt x="179" y="795"/>
                    </a:lnTo>
                    <a:lnTo>
                      <a:pt x="181" y="798"/>
                    </a:lnTo>
                    <a:lnTo>
                      <a:pt x="181" y="798"/>
                    </a:lnTo>
                    <a:lnTo>
                      <a:pt x="181" y="801"/>
                    </a:lnTo>
                    <a:lnTo>
                      <a:pt x="183" y="805"/>
                    </a:lnTo>
                    <a:lnTo>
                      <a:pt x="184" y="808"/>
                    </a:lnTo>
                    <a:lnTo>
                      <a:pt x="185" y="812"/>
                    </a:lnTo>
                    <a:lnTo>
                      <a:pt x="183" y="818"/>
                    </a:lnTo>
                    <a:lnTo>
                      <a:pt x="188" y="818"/>
                    </a:lnTo>
                    <a:lnTo>
                      <a:pt x="190" y="816"/>
                    </a:lnTo>
                    <a:lnTo>
                      <a:pt x="190" y="816"/>
                    </a:lnTo>
                    <a:lnTo>
                      <a:pt x="194" y="817"/>
                    </a:lnTo>
                    <a:lnTo>
                      <a:pt x="196" y="818"/>
                    </a:lnTo>
                    <a:lnTo>
                      <a:pt x="198" y="818"/>
                    </a:lnTo>
                    <a:lnTo>
                      <a:pt x="200" y="816"/>
                    </a:lnTo>
                    <a:lnTo>
                      <a:pt x="200" y="816"/>
                    </a:lnTo>
                    <a:lnTo>
                      <a:pt x="206" y="814"/>
                    </a:lnTo>
                    <a:lnTo>
                      <a:pt x="210" y="812"/>
                    </a:lnTo>
                    <a:lnTo>
                      <a:pt x="211" y="810"/>
                    </a:lnTo>
                    <a:lnTo>
                      <a:pt x="210" y="808"/>
                    </a:lnTo>
                    <a:lnTo>
                      <a:pt x="213" y="806"/>
                    </a:lnTo>
                    <a:lnTo>
                      <a:pt x="213" y="803"/>
                    </a:lnTo>
                    <a:lnTo>
                      <a:pt x="210" y="802"/>
                    </a:lnTo>
                    <a:lnTo>
                      <a:pt x="208" y="799"/>
                    </a:lnTo>
                    <a:lnTo>
                      <a:pt x="208" y="797"/>
                    </a:lnTo>
                    <a:lnTo>
                      <a:pt x="214" y="797"/>
                    </a:lnTo>
                    <a:lnTo>
                      <a:pt x="213" y="801"/>
                    </a:lnTo>
                    <a:lnTo>
                      <a:pt x="214" y="802"/>
                    </a:lnTo>
                    <a:lnTo>
                      <a:pt x="215" y="802"/>
                    </a:lnTo>
                    <a:lnTo>
                      <a:pt x="215" y="799"/>
                    </a:lnTo>
                    <a:lnTo>
                      <a:pt x="217" y="799"/>
                    </a:lnTo>
                    <a:lnTo>
                      <a:pt x="215" y="797"/>
                    </a:lnTo>
                    <a:lnTo>
                      <a:pt x="218" y="795"/>
                    </a:lnTo>
                    <a:lnTo>
                      <a:pt x="219" y="793"/>
                    </a:lnTo>
                    <a:lnTo>
                      <a:pt x="218" y="790"/>
                    </a:lnTo>
                    <a:lnTo>
                      <a:pt x="219" y="789"/>
                    </a:lnTo>
                    <a:lnTo>
                      <a:pt x="218" y="787"/>
                    </a:lnTo>
                    <a:lnTo>
                      <a:pt x="219" y="786"/>
                    </a:lnTo>
                    <a:lnTo>
                      <a:pt x="223" y="787"/>
                    </a:lnTo>
                    <a:lnTo>
                      <a:pt x="226" y="786"/>
                    </a:lnTo>
                    <a:lnTo>
                      <a:pt x="227" y="789"/>
                    </a:lnTo>
                    <a:lnTo>
                      <a:pt x="230" y="789"/>
                    </a:lnTo>
                    <a:lnTo>
                      <a:pt x="233" y="787"/>
                    </a:lnTo>
                    <a:lnTo>
                      <a:pt x="232" y="784"/>
                    </a:lnTo>
                    <a:lnTo>
                      <a:pt x="234" y="779"/>
                    </a:lnTo>
                    <a:lnTo>
                      <a:pt x="234" y="779"/>
                    </a:lnTo>
                    <a:lnTo>
                      <a:pt x="234" y="782"/>
                    </a:lnTo>
                    <a:lnTo>
                      <a:pt x="234" y="786"/>
                    </a:lnTo>
                    <a:lnTo>
                      <a:pt x="237" y="790"/>
                    </a:lnTo>
                    <a:lnTo>
                      <a:pt x="237" y="790"/>
                    </a:lnTo>
                    <a:lnTo>
                      <a:pt x="234" y="790"/>
                    </a:lnTo>
                    <a:lnTo>
                      <a:pt x="230" y="790"/>
                    </a:lnTo>
                    <a:lnTo>
                      <a:pt x="223" y="791"/>
                    </a:lnTo>
                    <a:lnTo>
                      <a:pt x="227" y="794"/>
                    </a:lnTo>
                    <a:lnTo>
                      <a:pt x="227" y="798"/>
                    </a:lnTo>
                    <a:lnTo>
                      <a:pt x="232" y="799"/>
                    </a:lnTo>
                    <a:lnTo>
                      <a:pt x="229" y="803"/>
                    </a:lnTo>
                    <a:lnTo>
                      <a:pt x="222" y="803"/>
                    </a:lnTo>
                    <a:lnTo>
                      <a:pt x="219" y="805"/>
                    </a:lnTo>
                    <a:lnTo>
                      <a:pt x="221" y="808"/>
                    </a:lnTo>
                    <a:lnTo>
                      <a:pt x="219" y="812"/>
                    </a:lnTo>
                    <a:lnTo>
                      <a:pt x="218" y="813"/>
                    </a:lnTo>
                    <a:lnTo>
                      <a:pt x="222" y="813"/>
                    </a:lnTo>
                    <a:lnTo>
                      <a:pt x="226" y="812"/>
                    </a:lnTo>
                    <a:lnTo>
                      <a:pt x="229" y="812"/>
                    </a:lnTo>
                    <a:lnTo>
                      <a:pt x="229" y="813"/>
                    </a:lnTo>
                    <a:lnTo>
                      <a:pt x="225" y="814"/>
                    </a:lnTo>
                    <a:lnTo>
                      <a:pt x="225" y="817"/>
                    </a:lnTo>
                    <a:lnTo>
                      <a:pt x="221" y="820"/>
                    </a:lnTo>
                    <a:lnTo>
                      <a:pt x="223" y="821"/>
                    </a:lnTo>
                    <a:lnTo>
                      <a:pt x="221" y="824"/>
                    </a:lnTo>
                    <a:lnTo>
                      <a:pt x="219" y="821"/>
                    </a:lnTo>
                    <a:lnTo>
                      <a:pt x="217" y="821"/>
                    </a:lnTo>
                    <a:lnTo>
                      <a:pt x="217" y="821"/>
                    </a:lnTo>
                    <a:lnTo>
                      <a:pt x="217" y="817"/>
                    </a:lnTo>
                    <a:lnTo>
                      <a:pt x="214" y="814"/>
                    </a:lnTo>
                    <a:lnTo>
                      <a:pt x="211" y="817"/>
                    </a:lnTo>
                    <a:lnTo>
                      <a:pt x="211" y="824"/>
                    </a:lnTo>
                    <a:lnTo>
                      <a:pt x="210" y="827"/>
                    </a:lnTo>
                    <a:lnTo>
                      <a:pt x="206" y="828"/>
                    </a:lnTo>
                    <a:lnTo>
                      <a:pt x="206" y="828"/>
                    </a:lnTo>
                    <a:lnTo>
                      <a:pt x="206" y="829"/>
                    </a:lnTo>
                    <a:lnTo>
                      <a:pt x="206" y="833"/>
                    </a:lnTo>
                    <a:lnTo>
                      <a:pt x="210" y="839"/>
                    </a:lnTo>
                    <a:lnTo>
                      <a:pt x="210" y="839"/>
                    </a:lnTo>
                    <a:lnTo>
                      <a:pt x="210" y="843"/>
                    </a:lnTo>
                    <a:lnTo>
                      <a:pt x="211" y="848"/>
                    </a:lnTo>
                    <a:lnTo>
                      <a:pt x="211" y="848"/>
                    </a:lnTo>
                    <a:lnTo>
                      <a:pt x="213" y="846"/>
                    </a:lnTo>
                    <a:lnTo>
                      <a:pt x="213" y="844"/>
                    </a:lnTo>
                    <a:lnTo>
                      <a:pt x="210" y="841"/>
                    </a:lnTo>
                    <a:lnTo>
                      <a:pt x="211" y="841"/>
                    </a:lnTo>
                    <a:lnTo>
                      <a:pt x="211" y="841"/>
                    </a:lnTo>
                    <a:lnTo>
                      <a:pt x="213" y="843"/>
                    </a:lnTo>
                    <a:lnTo>
                      <a:pt x="215" y="843"/>
                    </a:lnTo>
                    <a:lnTo>
                      <a:pt x="215" y="846"/>
                    </a:lnTo>
                    <a:lnTo>
                      <a:pt x="219" y="844"/>
                    </a:lnTo>
                    <a:lnTo>
                      <a:pt x="218" y="847"/>
                    </a:lnTo>
                    <a:lnTo>
                      <a:pt x="214" y="848"/>
                    </a:lnTo>
                    <a:lnTo>
                      <a:pt x="214" y="848"/>
                    </a:lnTo>
                    <a:lnTo>
                      <a:pt x="217" y="851"/>
                    </a:lnTo>
                    <a:lnTo>
                      <a:pt x="219" y="854"/>
                    </a:lnTo>
                    <a:lnTo>
                      <a:pt x="225" y="856"/>
                    </a:lnTo>
                    <a:lnTo>
                      <a:pt x="226" y="855"/>
                    </a:lnTo>
                    <a:lnTo>
                      <a:pt x="226" y="850"/>
                    </a:lnTo>
                    <a:lnTo>
                      <a:pt x="226" y="850"/>
                    </a:lnTo>
                    <a:lnTo>
                      <a:pt x="229" y="854"/>
                    </a:lnTo>
                    <a:lnTo>
                      <a:pt x="230" y="858"/>
                    </a:lnTo>
                    <a:lnTo>
                      <a:pt x="236" y="863"/>
                    </a:lnTo>
                    <a:lnTo>
                      <a:pt x="236" y="865"/>
                    </a:lnTo>
                    <a:lnTo>
                      <a:pt x="233" y="866"/>
                    </a:lnTo>
                    <a:lnTo>
                      <a:pt x="233" y="862"/>
                    </a:lnTo>
                    <a:lnTo>
                      <a:pt x="229" y="860"/>
                    </a:lnTo>
                    <a:lnTo>
                      <a:pt x="227" y="860"/>
                    </a:lnTo>
                    <a:lnTo>
                      <a:pt x="227" y="860"/>
                    </a:lnTo>
                    <a:lnTo>
                      <a:pt x="227" y="867"/>
                    </a:lnTo>
                    <a:lnTo>
                      <a:pt x="227" y="873"/>
                    </a:lnTo>
                    <a:lnTo>
                      <a:pt x="226" y="875"/>
                    </a:lnTo>
                    <a:lnTo>
                      <a:pt x="227" y="878"/>
                    </a:lnTo>
                    <a:lnTo>
                      <a:pt x="229" y="881"/>
                    </a:lnTo>
                    <a:lnTo>
                      <a:pt x="232" y="881"/>
                    </a:lnTo>
                    <a:lnTo>
                      <a:pt x="232" y="878"/>
                    </a:lnTo>
                    <a:lnTo>
                      <a:pt x="233" y="877"/>
                    </a:lnTo>
                    <a:lnTo>
                      <a:pt x="234" y="878"/>
                    </a:lnTo>
                    <a:lnTo>
                      <a:pt x="234" y="879"/>
                    </a:lnTo>
                    <a:lnTo>
                      <a:pt x="238" y="884"/>
                    </a:lnTo>
                    <a:lnTo>
                      <a:pt x="238" y="888"/>
                    </a:lnTo>
                    <a:lnTo>
                      <a:pt x="240" y="886"/>
                    </a:lnTo>
                    <a:lnTo>
                      <a:pt x="240" y="886"/>
                    </a:lnTo>
                    <a:lnTo>
                      <a:pt x="240" y="884"/>
                    </a:lnTo>
                    <a:lnTo>
                      <a:pt x="238" y="881"/>
                    </a:lnTo>
                    <a:lnTo>
                      <a:pt x="237" y="879"/>
                    </a:lnTo>
                    <a:lnTo>
                      <a:pt x="236" y="878"/>
                    </a:lnTo>
                    <a:lnTo>
                      <a:pt x="237" y="878"/>
                    </a:lnTo>
                    <a:lnTo>
                      <a:pt x="241" y="879"/>
                    </a:lnTo>
                    <a:lnTo>
                      <a:pt x="242" y="878"/>
                    </a:lnTo>
                    <a:lnTo>
                      <a:pt x="242" y="874"/>
                    </a:lnTo>
                    <a:lnTo>
                      <a:pt x="246" y="874"/>
                    </a:lnTo>
                    <a:lnTo>
                      <a:pt x="245" y="877"/>
                    </a:lnTo>
                    <a:lnTo>
                      <a:pt x="245" y="878"/>
                    </a:lnTo>
                    <a:lnTo>
                      <a:pt x="245" y="881"/>
                    </a:lnTo>
                    <a:lnTo>
                      <a:pt x="242" y="882"/>
                    </a:lnTo>
                    <a:lnTo>
                      <a:pt x="244" y="884"/>
                    </a:lnTo>
                    <a:lnTo>
                      <a:pt x="245" y="882"/>
                    </a:lnTo>
                    <a:lnTo>
                      <a:pt x="246" y="884"/>
                    </a:lnTo>
                    <a:lnTo>
                      <a:pt x="246" y="889"/>
                    </a:lnTo>
                    <a:lnTo>
                      <a:pt x="249" y="892"/>
                    </a:lnTo>
                    <a:lnTo>
                      <a:pt x="249" y="892"/>
                    </a:lnTo>
                    <a:lnTo>
                      <a:pt x="248" y="893"/>
                    </a:lnTo>
                    <a:lnTo>
                      <a:pt x="248" y="897"/>
                    </a:lnTo>
                    <a:lnTo>
                      <a:pt x="248" y="900"/>
                    </a:lnTo>
                    <a:lnTo>
                      <a:pt x="249" y="902"/>
                    </a:lnTo>
                    <a:lnTo>
                      <a:pt x="248" y="902"/>
                    </a:lnTo>
                    <a:lnTo>
                      <a:pt x="248" y="904"/>
                    </a:lnTo>
                    <a:lnTo>
                      <a:pt x="246" y="905"/>
                    </a:lnTo>
                    <a:lnTo>
                      <a:pt x="248" y="912"/>
                    </a:lnTo>
                    <a:lnTo>
                      <a:pt x="244" y="911"/>
                    </a:lnTo>
                    <a:lnTo>
                      <a:pt x="244" y="911"/>
                    </a:lnTo>
                    <a:lnTo>
                      <a:pt x="242" y="905"/>
                    </a:lnTo>
                    <a:lnTo>
                      <a:pt x="240" y="901"/>
                    </a:lnTo>
                    <a:lnTo>
                      <a:pt x="242" y="901"/>
                    </a:lnTo>
                    <a:lnTo>
                      <a:pt x="244" y="902"/>
                    </a:lnTo>
                    <a:lnTo>
                      <a:pt x="244" y="902"/>
                    </a:lnTo>
                    <a:lnTo>
                      <a:pt x="246" y="901"/>
                    </a:lnTo>
                    <a:lnTo>
                      <a:pt x="245" y="896"/>
                    </a:lnTo>
                    <a:lnTo>
                      <a:pt x="246" y="894"/>
                    </a:lnTo>
                    <a:lnTo>
                      <a:pt x="245" y="889"/>
                    </a:lnTo>
                    <a:lnTo>
                      <a:pt x="244" y="888"/>
                    </a:lnTo>
                    <a:lnTo>
                      <a:pt x="240" y="890"/>
                    </a:lnTo>
                    <a:lnTo>
                      <a:pt x="237" y="889"/>
                    </a:lnTo>
                    <a:lnTo>
                      <a:pt x="234" y="889"/>
                    </a:lnTo>
                    <a:lnTo>
                      <a:pt x="234" y="889"/>
                    </a:lnTo>
                    <a:lnTo>
                      <a:pt x="233" y="886"/>
                    </a:lnTo>
                    <a:lnTo>
                      <a:pt x="233" y="884"/>
                    </a:lnTo>
                    <a:lnTo>
                      <a:pt x="230" y="882"/>
                    </a:lnTo>
                    <a:lnTo>
                      <a:pt x="229" y="884"/>
                    </a:lnTo>
                    <a:lnTo>
                      <a:pt x="219" y="884"/>
                    </a:lnTo>
                    <a:lnTo>
                      <a:pt x="218" y="885"/>
                    </a:lnTo>
                    <a:lnTo>
                      <a:pt x="215" y="884"/>
                    </a:lnTo>
                    <a:lnTo>
                      <a:pt x="214" y="884"/>
                    </a:lnTo>
                    <a:lnTo>
                      <a:pt x="214" y="886"/>
                    </a:lnTo>
                    <a:lnTo>
                      <a:pt x="211" y="888"/>
                    </a:lnTo>
                    <a:lnTo>
                      <a:pt x="210" y="885"/>
                    </a:lnTo>
                    <a:lnTo>
                      <a:pt x="207" y="886"/>
                    </a:lnTo>
                    <a:lnTo>
                      <a:pt x="207" y="885"/>
                    </a:lnTo>
                    <a:lnTo>
                      <a:pt x="206" y="886"/>
                    </a:lnTo>
                    <a:lnTo>
                      <a:pt x="206" y="886"/>
                    </a:lnTo>
                    <a:lnTo>
                      <a:pt x="207" y="889"/>
                    </a:lnTo>
                    <a:lnTo>
                      <a:pt x="207" y="892"/>
                    </a:lnTo>
                    <a:lnTo>
                      <a:pt x="206" y="893"/>
                    </a:lnTo>
                    <a:lnTo>
                      <a:pt x="204" y="893"/>
                    </a:lnTo>
                    <a:lnTo>
                      <a:pt x="204" y="892"/>
                    </a:lnTo>
                    <a:lnTo>
                      <a:pt x="203" y="893"/>
                    </a:lnTo>
                    <a:lnTo>
                      <a:pt x="203" y="897"/>
                    </a:lnTo>
                    <a:lnTo>
                      <a:pt x="202" y="898"/>
                    </a:lnTo>
                    <a:lnTo>
                      <a:pt x="206" y="898"/>
                    </a:lnTo>
                    <a:lnTo>
                      <a:pt x="207" y="897"/>
                    </a:lnTo>
                    <a:lnTo>
                      <a:pt x="208" y="900"/>
                    </a:lnTo>
                    <a:lnTo>
                      <a:pt x="203" y="907"/>
                    </a:lnTo>
                    <a:lnTo>
                      <a:pt x="204" y="908"/>
                    </a:lnTo>
                    <a:lnTo>
                      <a:pt x="198" y="912"/>
                    </a:lnTo>
                    <a:lnTo>
                      <a:pt x="198" y="912"/>
                    </a:lnTo>
                    <a:lnTo>
                      <a:pt x="198" y="917"/>
                    </a:lnTo>
                    <a:lnTo>
                      <a:pt x="199" y="921"/>
                    </a:lnTo>
                    <a:lnTo>
                      <a:pt x="200" y="924"/>
                    </a:lnTo>
                    <a:lnTo>
                      <a:pt x="200" y="927"/>
                    </a:lnTo>
                    <a:lnTo>
                      <a:pt x="196" y="930"/>
                    </a:lnTo>
                    <a:lnTo>
                      <a:pt x="198" y="932"/>
                    </a:lnTo>
                    <a:lnTo>
                      <a:pt x="194" y="935"/>
                    </a:lnTo>
                    <a:lnTo>
                      <a:pt x="195" y="936"/>
                    </a:lnTo>
                    <a:lnTo>
                      <a:pt x="194" y="938"/>
                    </a:lnTo>
                    <a:lnTo>
                      <a:pt x="194" y="938"/>
                    </a:lnTo>
                    <a:lnTo>
                      <a:pt x="202" y="939"/>
                    </a:lnTo>
                    <a:lnTo>
                      <a:pt x="208" y="943"/>
                    </a:lnTo>
                    <a:lnTo>
                      <a:pt x="213" y="940"/>
                    </a:lnTo>
                    <a:lnTo>
                      <a:pt x="213" y="940"/>
                    </a:lnTo>
                    <a:lnTo>
                      <a:pt x="218" y="942"/>
                    </a:lnTo>
                    <a:lnTo>
                      <a:pt x="222" y="940"/>
                    </a:lnTo>
                    <a:lnTo>
                      <a:pt x="230" y="936"/>
                    </a:lnTo>
                    <a:lnTo>
                      <a:pt x="230" y="936"/>
                    </a:lnTo>
                    <a:lnTo>
                      <a:pt x="233" y="936"/>
                    </a:lnTo>
                    <a:lnTo>
                      <a:pt x="236" y="936"/>
                    </a:lnTo>
                    <a:lnTo>
                      <a:pt x="241" y="932"/>
                    </a:lnTo>
                    <a:lnTo>
                      <a:pt x="246" y="927"/>
                    </a:lnTo>
                    <a:lnTo>
                      <a:pt x="248" y="923"/>
                    </a:lnTo>
                    <a:lnTo>
                      <a:pt x="253" y="921"/>
                    </a:lnTo>
                    <a:lnTo>
                      <a:pt x="252" y="917"/>
                    </a:lnTo>
                    <a:lnTo>
                      <a:pt x="253" y="916"/>
                    </a:lnTo>
                    <a:lnTo>
                      <a:pt x="256" y="917"/>
                    </a:lnTo>
                    <a:lnTo>
                      <a:pt x="256" y="919"/>
                    </a:lnTo>
                    <a:lnTo>
                      <a:pt x="263" y="921"/>
                    </a:lnTo>
                    <a:lnTo>
                      <a:pt x="264" y="924"/>
                    </a:lnTo>
                    <a:lnTo>
                      <a:pt x="267" y="924"/>
                    </a:lnTo>
                    <a:lnTo>
                      <a:pt x="264" y="919"/>
                    </a:lnTo>
                    <a:lnTo>
                      <a:pt x="265" y="919"/>
                    </a:lnTo>
                    <a:lnTo>
                      <a:pt x="276" y="921"/>
                    </a:lnTo>
                    <a:lnTo>
                      <a:pt x="278" y="919"/>
                    </a:lnTo>
                    <a:lnTo>
                      <a:pt x="278" y="919"/>
                    </a:lnTo>
                    <a:lnTo>
                      <a:pt x="283" y="920"/>
                    </a:lnTo>
                    <a:lnTo>
                      <a:pt x="290" y="919"/>
                    </a:lnTo>
                    <a:lnTo>
                      <a:pt x="289" y="921"/>
                    </a:lnTo>
                    <a:lnTo>
                      <a:pt x="294" y="923"/>
                    </a:lnTo>
                    <a:lnTo>
                      <a:pt x="293" y="924"/>
                    </a:lnTo>
                    <a:lnTo>
                      <a:pt x="293" y="926"/>
                    </a:lnTo>
                    <a:lnTo>
                      <a:pt x="294" y="926"/>
                    </a:lnTo>
                    <a:lnTo>
                      <a:pt x="295" y="923"/>
                    </a:lnTo>
                    <a:lnTo>
                      <a:pt x="298" y="921"/>
                    </a:lnTo>
                    <a:lnTo>
                      <a:pt x="298" y="920"/>
                    </a:lnTo>
                    <a:lnTo>
                      <a:pt x="299" y="920"/>
                    </a:lnTo>
                    <a:lnTo>
                      <a:pt x="301" y="921"/>
                    </a:lnTo>
                    <a:lnTo>
                      <a:pt x="297" y="926"/>
                    </a:lnTo>
                    <a:lnTo>
                      <a:pt x="298" y="927"/>
                    </a:lnTo>
                    <a:lnTo>
                      <a:pt x="301" y="927"/>
                    </a:lnTo>
                    <a:lnTo>
                      <a:pt x="302" y="927"/>
                    </a:lnTo>
                    <a:lnTo>
                      <a:pt x="299" y="926"/>
                    </a:lnTo>
                    <a:lnTo>
                      <a:pt x="303" y="924"/>
                    </a:lnTo>
                    <a:lnTo>
                      <a:pt x="305" y="921"/>
                    </a:lnTo>
                    <a:lnTo>
                      <a:pt x="309" y="923"/>
                    </a:lnTo>
                    <a:lnTo>
                      <a:pt x="306" y="926"/>
                    </a:lnTo>
                    <a:lnTo>
                      <a:pt x="308" y="926"/>
                    </a:lnTo>
                    <a:lnTo>
                      <a:pt x="313" y="923"/>
                    </a:lnTo>
                    <a:lnTo>
                      <a:pt x="314" y="924"/>
                    </a:lnTo>
                    <a:lnTo>
                      <a:pt x="314" y="924"/>
                    </a:lnTo>
                    <a:lnTo>
                      <a:pt x="316" y="927"/>
                    </a:lnTo>
                    <a:lnTo>
                      <a:pt x="318" y="927"/>
                    </a:lnTo>
                    <a:lnTo>
                      <a:pt x="316" y="926"/>
                    </a:lnTo>
                    <a:lnTo>
                      <a:pt x="318" y="924"/>
                    </a:lnTo>
                    <a:lnTo>
                      <a:pt x="320" y="923"/>
                    </a:lnTo>
                    <a:lnTo>
                      <a:pt x="322" y="921"/>
                    </a:lnTo>
                    <a:lnTo>
                      <a:pt x="324" y="923"/>
                    </a:lnTo>
                    <a:lnTo>
                      <a:pt x="324" y="924"/>
                    </a:lnTo>
                    <a:lnTo>
                      <a:pt x="321" y="926"/>
                    </a:lnTo>
                    <a:lnTo>
                      <a:pt x="322" y="927"/>
                    </a:lnTo>
                    <a:lnTo>
                      <a:pt x="325" y="924"/>
                    </a:lnTo>
                    <a:lnTo>
                      <a:pt x="325" y="923"/>
                    </a:lnTo>
                    <a:lnTo>
                      <a:pt x="328" y="919"/>
                    </a:lnTo>
                    <a:lnTo>
                      <a:pt x="328" y="917"/>
                    </a:lnTo>
                    <a:lnTo>
                      <a:pt x="328" y="917"/>
                    </a:lnTo>
                    <a:lnTo>
                      <a:pt x="329" y="920"/>
                    </a:lnTo>
                    <a:lnTo>
                      <a:pt x="328" y="921"/>
                    </a:lnTo>
                    <a:lnTo>
                      <a:pt x="328" y="924"/>
                    </a:lnTo>
                    <a:lnTo>
                      <a:pt x="331" y="924"/>
                    </a:lnTo>
                    <a:lnTo>
                      <a:pt x="332" y="926"/>
                    </a:lnTo>
                    <a:lnTo>
                      <a:pt x="332" y="926"/>
                    </a:lnTo>
                    <a:lnTo>
                      <a:pt x="325" y="927"/>
                    </a:lnTo>
                    <a:lnTo>
                      <a:pt x="321" y="928"/>
                    </a:lnTo>
                    <a:lnTo>
                      <a:pt x="318" y="930"/>
                    </a:lnTo>
                    <a:lnTo>
                      <a:pt x="318" y="930"/>
                    </a:lnTo>
                    <a:lnTo>
                      <a:pt x="327" y="928"/>
                    </a:lnTo>
                    <a:lnTo>
                      <a:pt x="336" y="926"/>
                    </a:lnTo>
                    <a:lnTo>
                      <a:pt x="335" y="927"/>
                    </a:lnTo>
                    <a:lnTo>
                      <a:pt x="335" y="927"/>
                    </a:lnTo>
                    <a:lnTo>
                      <a:pt x="337" y="930"/>
                    </a:lnTo>
                    <a:lnTo>
                      <a:pt x="336" y="930"/>
                    </a:lnTo>
                    <a:lnTo>
                      <a:pt x="332" y="928"/>
                    </a:lnTo>
                    <a:lnTo>
                      <a:pt x="328" y="930"/>
                    </a:lnTo>
                    <a:lnTo>
                      <a:pt x="327" y="931"/>
                    </a:lnTo>
                    <a:lnTo>
                      <a:pt x="328" y="932"/>
                    </a:lnTo>
                    <a:lnTo>
                      <a:pt x="333" y="931"/>
                    </a:lnTo>
                    <a:lnTo>
                      <a:pt x="332" y="934"/>
                    </a:lnTo>
                    <a:lnTo>
                      <a:pt x="331" y="934"/>
                    </a:lnTo>
                    <a:lnTo>
                      <a:pt x="328" y="932"/>
                    </a:lnTo>
                    <a:lnTo>
                      <a:pt x="327" y="934"/>
                    </a:lnTo>
                    <a:lnTo>
                      <a:pt x="324" y="934"/>
                    </a:lnTo>
                    <a:lnTo>
                      <a:pt x="324" y="935"/>
                    </a:lnTo>
                    <a:lnTo>
                      <a:pt x="324" y="935"/>
                    </a:lnTo>
                    <a:lnTo>
                      <a:pt x="327" y="935"/>
                    </a:lnTo>
                    <a:lnTo>
                      <a:pt x="329" y="935"/>
                    </a:lnTo>
                    <a:lnTo>
                      <a:pt x="336" y="934"/>
                    </a:lnTo>
                    <a:lnTo>
                      <a:pt x="336" y="935"/>
                    </a:lnTo>
                    <a:lnTo>
                      <a:pt x="336" y="935"/>
                    </a:lnTo>
                    <a:lnTo>
                      <a:pt x="333" y="936"/>
                    </a:lnTo>
                    <a:lnTo>
                      <a:pt x="329" y="936"/>
                    </a:lnTo>
                    <a:lnTo>
                      <a:pt x="327" y="938"/>
                    </a:lnTo>
                    <a:lnTo>
                      <a:pt x="328" y="939"/>
                    </a:lnTo>
                    <a:lnTo>
                      <a:pt x="331" y="938"/>
                    </a:lnTo>
                    <a:lnTo>
                      <a:pt x="329" y="939"/>
                    </a:lnTo>
                    <a:lnTo>
                      <a:pt x="333" y="940"/>
                    </a:lnTo>
                    <a:lnTo>
                      <a:pt x="328" y="942"/>
                    </a:lnTo>
                    <a:lnTo>
                      <a:pt x="328" y="943"/>
                    </a:lnTo>
                    <a:lnTo>
                      <a:pt x="331" y="943"/>
                    </a:lnTo>
                    <a:lnTo>
                      <a:pt x="333" y="945"/>
                    </a:lnTo>
                    <a:lnTo>
                      <a:pt x="333" y="945"/>
                    </a:lnTo>
                    <a:lnTo>
                      <a:pt x="329" y="945"/>
                    </a:lnTo>
                    <a:lnTo>
                      <a:pt x="325" y="945"/>
                    </a:lnTo>
                    <a:lnTo>
                      <a:pt x="325" y="946"/>
                    </a:lnTo>
                    <a:lnTo>
                      <a:pt x="332" y="947"/>
                    </a:lnTo>
                    <a:lnTo>
                      <a:pt x="331" y="947"/>
                    </a:lnTo>
                    <a:lnTo>
                      <a:pt x="332" y="950"/>
                    </a:lnTo>
                    <a:lnTo>
                      <a:pt x="332" y="950"/>
                    </a:lnTo>
                    <a:lnTo>
                      <a:pt x="327" y="949"/>
                    </a:lnTo>
                    <a:lnTo>
                      <a:pt x="327" y="950"/>
                    </a:lnTo>
                    <a:lnTo>
                      <a:pt x="331" y="953"/>
                    </a:lnTo>
                    <a:lnTo>
                      <a:pt x="322" y="954"/>
                    </a:lnTo>
                    <a:lnTo>
                      <a:pt x="321" y="951"/>
                    </a:lnTo>
                    <a:lnTo>
                      <a:pt x="320" y="951"/>
                    </a:lnTo>
                    <a:lnTo>
                      <a:pt x="318" y="954"/>
                    </a:lnTo>
                    <a:lnTo>
                      <a:pt x="316" y="951"/>
                    </a:lnTo>
                    <a:lnTo>
                      <a:pt x="312" y="955"/>
                    </a:lnTo>
                    <a:lnTo>
                      <a:pt x="312" y="957"/>
                    </a:lnTo>
                    <a:lnTo>
                      <a:pt x="313" y="957"/>
                    </a:lnTo>
                    <a:lnTo>
                      <a:pt x="316" y="958"/>
                    </a:lnTo>
                    <a:lnTo>
                      <a:pt x="312" y="961"/>
                    </a:lnTo>
                    <a:lnTo>
                      <a:pt x="314" y="962"/>
                    </a:lnTo>
                    <a:lnTo>
                      <a:pt x="317" y="959"/>
                    </a:lnTo>
                    <a:lnTo>
                      <a:pt x="320" y="961"/>
                    </a:lnTo>
                    <a:lnTo>
                      <a:pt x="320" y="962"/>
                    </a:lnTo>
                    <a:lnTo>
                      <a:pt x="312" y="964"/>
                    </a:lnTo>
                    <a:lnTo>
                      <a:pt x="316" y="966"/>
                    </a:lnTo>
                    <a:lnTo>
                      <a:pt x="317" y="968"/>
                    </a:lnTo>
                    <a:lnTo>
                      <a:pt x="313" y="968"/>
                    </a:lnTo>
                    <a:lnTo>
                      <a:pt x="310" y="965"/>
                    </a:lnTo>
                    <a:lnTo>
                      <a:pt x="309" y="966"/>
                    </a:lnTo>
                    <a:lnTo>
                      <a:pt x="309" y="968"/>
                    </a:lnTo>
                    <a:lnTo>
                      <a:pt x="309" y="968"/>
                    </a:lnTo>
                    <a:lnTo>
                      <a:pt x="313" y="969"/>
                    </a:lnTo>
                    <a:lnTo>
                      <a:pt x="318" y="972"/>
                    </a:lnTo>
                    <a:lnTo>
                      <a:pt x="316" y="973"/>
                    </a:lnTo>
                    <a:lnTo>
                      <a:pt x="313" y="970"/>
                    </a:lnTo>
                    <a:lnTo>
                      <a:pt x="310" y="972"/>
                    </a:lnTo>
                    <a:lnTo>
                      <a:pt x="310" y="973"/>
                    </a:lnTo>
                    <a:lnTo>
                      <a:pt x="310" y="973"/>
                    </a:lnTo>
                    <a:lnTo>
                      <a:pt x="314" y="974"/>
                    </a:lnTo>
                    <a:lnTo>
                      <a:pt x="318" y="976"/>
                    </a:lnTo>
                    <a:lnTo>
                      <a:pt x="318" y="974"/>
                    </a:lnTo>
                    <a:lnTo>
                      <a:pt x="322" y="974"/>
                    </a:lnTo>
                    <a:lnTo>
                      <a:pt x="324" y="976"/>
                    </a:lnTo>
                    <a:lnTo>
                      <a:pt x="320" y="978"/>
                    </a:lnTo>
                    <a:lnTo>
                      <a:pt x="320" y="978"/>
                    </a:lnTo>
                    <a:lnTo>
                      <a:pt x="322" y="980"/>
                    </a:lnTo>
                    <a:lnTo>
                      <a:pt x="322" y="977"/>
                    </a:lnTo>
                    <a:lnTo>
                      <a:pt x="329" y="978"/>
                    </a:lnTo>
                    <a:lnTo>
                      <a:pt x="329" y="977"/>
                    </a:lnTo>
                    <a:lnTo>
                      <a:pt x="329" y="977"/>
                    </a:lnTo>
                    <a:lnTo>
                      <a:pt x="333" y="977"/>
                    </a:lnTo>
                    <a:lnTo>
                      <a:pt x="337" y="978"/>
                    </a:lnTo>
                    <a:lnTo>
                      <a:pt x="336" y="980"/>
                    </a:lnTo>
                    <a:lnTo>
                      <a:pt x="339" y="981"/>
                    </a:lnTo>
                    <a:lnTo>
                      <a:pt x="336" y="984"/>
                    </a:lnTo>
                    <a:lnTo>
                      <a:pt x="333" y="983"/>
                    </a:lnTo>
                    <a:lnTo>
                      <a:pt x="331" y="983"/>
                    </a:lnTo>
                    <a:lnTo>
                      <a:pt x="333" y="985"/>
                    </a:lnTo>
                    <a:lnTo>
                      <a:pt x="333" y="985"/>
                    </a:lnTo>
                    <a:lnTo>
                      <a:pt x="331" y="987"/>
                    </a:lnTo>
                    <a:lnTo>
                      <a:pt x="327" y="987"/>
                    </a:lnTo>
                    <a:lnTo>
                      <a:pt x="327" y="988"/>
                    </a:lnTo>
                    <a:lnTo>
                      <a:pt x="329" y="988"/>
                    </a:lnTo>
                    <a:lnTo>
                      <a:pt x="329" y="989"/>
                    </a:lnTo>
                    <a:lnTo>
                      <a:pt x="325" y="991"/>
                    </a:lnTo>
                    <a:lnTo>
                      <a:pt x="327" y="993"/>
                    </a:lnTo>
                    <a:lnTo>
                      <a:pt x="316" y="992"/>
                    </a:lnTo>
                    <a:lnTo>
                      <a:pt x="316" y="995"/>
                    </a:lnTo>
                    <a:lnTo>
                      <a:pt x="310" y="995"/>
                    </a:lnTo>
                    <a:lnTo>
                      <a:pt x="310" y="993"/>
                    </a:lnTo>
                    <a:lnTo>
                      <a:pt x="313" y="993"/>
                    </a:lnTo>
                    <a:lnTo>
                      <a:pt x="314" y="992"/>
                    </a:lnTo>
                    <a:lnTo>
                      <a:pt x="312" y="991"/>
                    </a:lnTo>
                    <a:lnTo>
                      <a:pt x="309" y="992"/>
                    </a:lnTo>
                    <a:lnTo>
                      <a:pt x="308" y="989"/>
                    </a:lnTo>
                    <a:lnTo>
                      <a:pt x="303" y="989"/>
                    </a:lnTo>
                    <a:lnTo>
                      <a:pt x="302" y="989"/>
                    </a:lnTo>
                    <a:lnTo>
                      <a:pt x="305" y="992"/>
                    </a:lnTo>
                    <a:lnTo>
                      <a:pt x="305" y="992"/>
                    </a:lnTo>
                    <a:lnTo>
                      <a:pt x="297" y="993"/>
                    </a:lnTo>
                    <a:lnTo>
                      <a:pt x="297" y="989"/>
                    </a:lnTo>
                    <a:lnTo>
                      <a:pt x="295" y="988"/>
                    </a:lnTo>
                    <a:lnTo>
                      <a:pt x="290" y="992"/>
                    </a:lnTo>
                    <a:lnTo>
                      <a:pt x="287" y="991"/>
                    </a:lnTo>
                    <a:lnTo>
                      <a:pt x="287" y="991"/>
                    </a:lnTo>
                    <a:lnTo>
                      <a:pt x="284" y="993"/>
                    </a:lnTo>
                    <a:lnTo>
                      <a:pt x="282" y="996"/>
                    </a:lnTo>
                    <a:lnTo>
                      <a:pt x="282" y="996"/>
                    </a:lnTo>
                    <a:lnTo>
                      <a:pt x="271" y="997"/>
                    </a:lnTo>
                    <a:lnTo>
                      <a:pt x="259" y="997"/>
                    </a:lnTo>
                    <a:lnTo>
                      <a:pt x="257" y="996"/>
                    </a:lnTo>
                    <a:lnTo>
                      <a:pt x="256" y="993"/>
                    </a:lnTo>
                    <a:lnTo>
                      <a:pt x="256" y="993"/>
                    </a:lnTo>
                    <a:lnTo>
                      <a:pt x="251" y="993"/>
                    </a:lnTo>
                    <a:lnTo>
                      <a:pt x="244" y="995"/>
                    </a:lnTo>
                    <a:lnTo>
                      <a:pt x="242" y="997"/>
                    </a:lnTo>
                    <a:lnTo>
                      <a:pt x="240" y="999"/>
                    </a:lnTo>
                    <a:lnTo>
                      <a:pt x="238" y="1000"/>
                    </a:lnTo>
                    <a:lnTo>
                      <a:pt x="238" y="1000"/>
                    </a:lnTo>
                    <a:lnTo>
                      <a:pt x="230" y="1000"/>
                    </a:lnTo>
                    <a:lnTo>
                      <a:pt x="222" y="1002"/>
                    </a:lnTo>
                    <a:lnTo>
                      <a:pt x="221" y="1003"/>
                    </a:lnTo>
                    <a:lnTo>
                      <a:pt x="221" y="1003"/>
                    </a:lnTo>
                    <a:lnTo>
                      <a:pt x="215" y="1004"/>
                    </a:lnTo>
                    <a:lnTo>
                      <a:pt x="210" y="1003"/>
                    </a:lnTo>
                    <a:lnTo>
                      <a:pt x="207" y="1006"/>
                    </a:lnTo>
                    <a:lnTo>
                      <a:pt x="206" y="1011"/>
                    </a:lnTo>
                    <a:lnTo>
                      <a:pt x="210" y="1012"/>
                    </a:lnTo>
                    <a:lnTo>
                      <a:pt x="210" y="1012"/>
                    </a:lnTo>
                    <a:lnTo>
                      <a:pt x="210" y="1016"/>
                    </a:lnTo>
                    <a:lnTo>
                      <a:pt x="211" y="1019"/>
                    </a:lnTo>
                    <a:lnTo>
                      <a:pt x="211" y="1019"/>
                    </a:lnTo>
                    <a:lnTo>
                      <a:pt x="211" y="1023"/>
                    </a:lnTo>
                    <a:lnTo>
                      <a:pt x="210" y="1029"/>
                    </a:lnTo>
                    <a:lnTo>
                      <a:pt x="207" y="1033"/>
                    </a:lnTo>
                    <a:lnTo>
                      <a:pt x="204" y="1037"/>
                    </a:lnTo>
                    <a:lnTo>
                      <a:pt x="204" y="1044"/>
                    </a:lnTo>
                    <a:lnTo>
                      <a:pt x="202" y="1045"/>
                    </a:lnTo>
                    <a:lnTo>
                      <a:pt x="202" y="1050"/>
                    </a:lnTo>
                    <a:lnTo>
                      <a:pt x="202" y="1050"/>
                    </a:lnTo>
                    <a:lnTo>
                      <a:pt x="204" y="1054"/>
                    </a:lnTo>
                    <a:lnTo>
                      <a:pt x="206" y="1057"/>
                    </a:lnTo>
                    <a:lnTo>
                      <a:pt x="206" y="1060"/>
                    </a:lnTo>
                    <a:lnTo>
                      <a:pt x="203" y="1065"/>
                    </a:lnTo>
                    <a:lnTo>
                      <a:pt x="203" y="1065"/>
                    </a:lnTo>
                    <a:lnTo>
                      <a:pt x="204" y="1069"/>
                    </a:lnTo>
                    <a:lnTo>
                      <a:pt x="204" y="1073"/>
                    </a:lnTo>
                    <a:lnTo>
                      <a:pt x="215" y="1076"/>
                    </a:lnTo>
                    <a:lnTo>
                      <a:pt x="214" y="1077"/>
                    </a:lnTo>
                    <a:lnTo>
                      <a:pt x="214" y="1079"/>
                    </a:lnTo>
                    <a:lnTo>
                      <a:pt x="217" y="1080"/>
                    </a:lnTo>
                    <a:lnTo>
                      <a:pt x="217" y="1084"/>
                    </a:lnTo>
                    <a:lnTo>
                      <a:pt x="217" y="1084"/>
                    </a:lnTo>
                    <a:lnTo>
                      <a:pt x="221" y="1087"/>
                    </a:lnTo>
                    <a:lnTo>
                      <a:pt x="223" y="1088"/>
                    </a:lnTo>
                    <a:lnTo>
                      <a:pt x="225" y="1090"/>
                    </a:lnTo>
                    <a:lnTo>
                      <a:pt x="225" y="1090"/>
                    </a:lnTo>
                    <a:lnTo>
                      <a:pt x="230" y="1091"/>
                    </a:lnTo>
                    <a:lnTo>
                      <a:pt x="233" y="1092"/>
                    </a:lnTo>
                    <a:lnTo>
                      <a:pt x="237" y="1095"/>
                    </a:lnTo>
                    <a:lnTo>
                      <a:pt x="241" y="1096"/>
                    </a:lnTo>
                    <a:lnTo>
                      <a:pt x="249" y="1102"/>
                    </a:lnTo>
                    <a:lnTo>
                      <a:pt x="259" y="1105"/>
                    </a:lnTo>
                    <a:lnTo>
                      <a:pt x="259" y="1105"/>
                    </a:lnTo>
                    <a:lnTo>
                      <a:pt x="261" y="1103"/>
                    </a:lnTo>
                    <a:lnTo>
                      <a:pt x="264" y="1102"/>
                    </a:lnTo>
                    <a:lnTo>
                      <a:pt x="264" y="1103"/>
                    </a:lnTo>
                    <a:lnTo>
                      <a:pt x="271" y="1105"/>
                    </a:lnTo>
                    <a:lnTo>
                      <a:pt x="271" y="1105"/>
                    </a:lnTo>
                    <a:lnTo>
                      <a:pt x="274" y="1103"/>
                    </a:lnTo>
                    <a:lnTo>
                      <a:pt x="278" y="1103"/>
                    </a:lnTo>
                    <a:lnTo>
                      <a:pt x="282" y="1103"/>
                    </a:lnTo>
                    <a:lnTo>
                      <a:pt x="284" y="1102"/>
                    </a:lnTo>
                    <a:lnTo>
                      <a:pt x="284" y="1107"/>
                    </a:lnTo>
                    <a:lnTo>
                      <a:pt x="283" y="1109"/>
                    </a:lnTo>
                    <a:lnTo>
                      <a:pt x="283" y="1109"/>
                    </a:lnTo>
                    <a:lnTo>
                      <a:pt x="280" y="1109"/>
                    </a:lnTo>
                    <a:lnTo>
                      <a:pt x="278" y="1107"/>
                    </a:lnTo>
                    <a:lnTo>
                      <a:pt x="272" y="1106"/>
                    </a:lnTo>
                    <a:lnTo>
                      <a:pt x="252" y="1109"/>
                    </a:lnTo>
                    <a:lnTo>
                      <a:pt x="251" y="1110"/>
                    </a:lnTo>
                    <a:lnTo>
                      <a:pt x="248" y="1106"/>
                    </a:lnTo>
                    <a:lnTo>
                      <a:pt x="244" y="1105"/>
                    </a:lnTo>
                    <a:lnTo>
                      <a:pt x="242" y="1102"/>
                    </a:lnTo>
                    <a:lnTo>
                      <a:pt x="242" y="1102"/>
                    </a:lnTo>
                    <a:lnTo>
                      <a:pt x="236" y="1099"/>
                    </a:lnTo>
                    <a:lnTo>
                      <a:pt x="230" y="1094"/>
                    </a:lnTo>
                    <a:lnTo>
                      <a:pt x="227" y="1095"/>
                    </a:lnTo>
                    <a:lnTo>
                      <a:pt x="227" y="1095"/>
                    </a:lnTo>
                    <a:lnTo>
                      <a:pt x="219" y="1090"/>
                    </a:lnTo>
                    <a:lnTo>
                      <a:pt x="218" y="1087"/>
                    </a:lnTo>
                    <a:lnTo>
                      <a:pt x="218" y="1087"/>
                    </a:lnTo>
                    <a:lnTo>
                      <a:pt x="215" y="1087"/>
                    </a:lnTo>
                    <a:lnTo>
                      <a:pt x="218" y="1090"/>
                    </a:lnTo>
                    <a:lnTo>
                      <a:pt x="217" y="1090"/>
                    </a:lnTo>
                    <a:lnTo>
                      <a:pt x="222" y="1094"/>
                    </a:lnTo>
                    <a:lnTo>
                      <a:pt x="222" y="1095"/>
                    </a:lnTo>
                    <a:lnTo>
                      <a:pt x="225" y="1095"/>
                    </a:lnTo>
                    <a:lnTo>
                      <a:pt x="227" y="1098"/>
                    </a:lnTo>
                    <a:lnTo>
                      <a:pt x="227" y="1099"/>
                    </a:lnTo>
                    <a:lnTo>
                      <a:pt x="227" y="1099"/>
                    </a:lnTo>
                    <a:lnTo>
                      <a:pt x="223" y="1096"/>
                    </a:lnTo>
                    <a:lnTo>
                      <a:pt x="219" y="1095"/>
                    </a:lnTo>
                    <a:lnTo>
                      <a:pt x="217" y="1096"/>
                    </a:lnTo>
                    <a:lnTo>
                      <a:pt x="215" y="1096"/>
                    </a:lnTo>
                    <a:lnTo>
                      <a:pt x="213" y="1098"/>
                    </a:lnTo>
                    <a:lnTo>
                      <a:pt x="208" y="1096"/>
                    </a:lnTo>
                    <a:lnTo>
                      <a:pt x="208" y="1098"/>
                    </a:lnTo>
                    <a:lnTo>
                      <a:pt x="208" y="1099"/>
                    </a:lnTo>
                    <a:lnTo>
                      <a:pt x="211" y="1101"/>
                    </a:lnTo>
                    <a:lnTo>
                      <a:pt x="210" y="1102"/>
                    </a:lnTo>
                    <a:lnTo>
                      <a:pt x="207" y="1101"/>
                    </a:lnTo>
                    <a:lnTo>
                      <a:pt x="206" y="1103"/>
                    </a:lnTo>
                    <a:lnTo>
                      <a:pt x="206" y="1103"/>
                    </a:lnTo>
                    <a:lnTo>
                      <a:pt x="202" y="1106"/>
                    </a:lnTo>
                    <a:lnTo>
                      <a:pt x="198" y="1107"/>
                    </a:lnTo>
                    <a:lnTo>
                      <a:pt x="198" y="1107"/>
                    </a:lnTo>
                    <a:lnTo>
                      <a:pt x="195" y="1106"/>
                    </a:lnTo>
                    <a:lnTo>
                      <a:pt x="191" y="1105"/>
                    </a:lnTo>
                    <a:lnTo>
                      <a:pt x="184" y="1105"/>
                    </a:lnTo>
                    <a:lnTo>
                      <a:pt x="181" y="1103"/>
                    </a:lnTo>
                    <a:lnTo>
                      <a:pt x="181" y="1101"/>
                    </a:lnTo>
                    <a:lnTo>
                      <a:pt x="179" y="1102"/>
                    </a:lnTo>
                    <a:lnTo>
                      <a:pt x="176" y="1101"/>
                    </a:lnTo>
                    <a:lnTo>
                      <a:pt x="175" y="1099"/>
                    </a:lnTo>
                    <a:lnTo>
                      <a:pt x="175" y="1099"/>
                    </a:lnTo>
                    <a:lnTo>
                      <a:pt x="169" y="1098"/>
                    </a:lnTo>
                    <a:lnTo>
                      <a:pt x="169" y="1101"/>
                    </a:lnTo>
                    <a:lnTo>
                      <a:pt x="166" y="1102"/>
                    </a:lnTo>
                    <a:lnTo>
                      <a:pt x="166" y="1102"/>
                    </a:lnTo>
                    <a:lnTo>
                      <a:pt x="162" y="1101"/>
                    </a:lnTo>
                    <a:lnTo>
                      <a:pt x="158" y="1099"/>
                    </a:lnTo>
                    <a:lnTo>
                      <a:pt x="157" y="1099"/>
                    </a:lnTo>
                    <a:lnTo>
                      <a:pt x="154" y="1099"/>
                    </a:lnTo>
                    <a:lnTo>
                      <a:pt x="156" y="1102"/>
                    </a:lnTo>
                    <a:lnTo>
                      <a:pt x="154" y="1103"/>
                    </a:lnTo>
                    <a:lnTo>
                      <a:pt x="157" y="1105"/>
                    </a:lnTo>
                    <a:lnTo>
                      <a:pt x="157" y="1110"/>
                    </a:lnTo>
                    <a:lnTo>
                      <a:pt x="160" y="1111"/>
                    </a:lnTo>
                    <a:lnTo>
                      <a:pt x="160" y="1114"/>
                    </a:lnTo>
                    <a:lnTo>
                      <a:pt x="164" y="1117"/>
                    </a:lnTo>
                    <a:lnTo>
                      <a:pt x="164" y="1118"/>
                    </a:lnTo>
                    <a:lnTo>
                      <a:pt x="164" y="1118"/>
                    </a:lnTo>
                    <a:lnTo>
                      <a:pt x="172" y="1121"/>
                    </a:lnTo>
                    <a:lnTo>
                      <a:pt x="181" y="1124"/>
                    </a:lnTo>
                    <a:lnTo>
                      <a:pt x="184" y="1122"/>
                    </a:lnTo>
                    <a:lnTo>
                      <a:pt x="187" y="1124"/>
                    </a:lnTo>
                    <a:lnTo>
                      <a:pt x="183" y="1126"/>
                    </a:lnTo>
                    <a:lnTo>
                      <a:pt x="181" y="1125"/>
                    </a:lnTo>
                    <a:lnTo>
                      <a:pt x="180" y="1126"/>
                    </a:lnTo>
                    <a:lnTo>
                      <a:pt x="181" y="1129"/>
                    </a:lnTo>
                    <a:lnTo>
                      <a:pt x="181" y="1129"/>
                    </a:lnTo>
                    <a:lnTo>
                      <a:pt x="181" y="1129"/>
                    </a:lnTo>
                    <a:lnTo>
                      <a:pt x="185" y="1132"/>
                    </a:lnTo>
                    <a:lnTo>
                      <a:pt x="188" y="1136"/>
                    </a:lnTo>
                    <a:lnTo>
                      <a:pt x="183" y="1136"/>
                    </a:lnTo>
                    <a:lnTo>
                      <a:pt x="181" y="1133"/>
                    </a:lnTo>
                    <a:lnTo>
                      <a:pt x="180" y="1133"/>
                    </a:lnTo>
                    <a:lnTo>
                      <a:pt x="179" y="1134"/>
                    </a:lnTo>
                    <a:lnTo>
                      <a:pt x="177" y="1136"/>
                    </a:lnTo>
                    <a:lnTo>
                      <a:pt x="176" y="1137"/>
                    </a:lnTo>
                    <a:lnTo>
                      <a:pt x="172" y="1139"/>
                    </a:lnTo>
                    <a:lnTo>
                      <a:pt x="171" y="1139"/>
                    </a:lnTo>
                    <a:lnTo>
                      <a:pt x="171" y="1136"/>
                    </a:lnTo>
                    <a:lnTo>
                      <a:pt x="169" y="1136"/>
                    </a:lnTo>
                    <a:lnTo>
                      <a:pt x="169" y="1132"/>
                    </a:lnTo>
                    <a:lnTo>
                      <a:pt x="165" y="1130"/>
                    </a:lnTo>
                    <a:lnTo>
                      <a:pt x="165" y="1129"/>
                    </a:lnTo>
                    <a:lnTo>
                      <a:pt x="169" y="1129"/>
                    </a:lnTo>
                    <a:lnTo>
                      <a:pt x="168" y="1126"/>
                    </a:lnTo>
                    <a:lnTo>
                      <a:pt x="168" y="1126"/>
                    </a:lnTo>
                    <a:lnTo>
                      <a:pt x="161" y="1124"/>
                    </a:lnTo>
                    <a:lnTo>
                      <a:pt x="156" y="1121"/>
                    </a:lnTo>
                    <a:lnTo>
                      <a:pt x="154" y="1124"/>
                    </a:lnTo>
                    <a:lnTo>
                      <a:pt x="153" y="1124"/>
                    </a:lnTo>
                    <a:lnTo>
                      <a:pt x="152" y="1124"/>
                    </a:lnTo>
                    <a:lnTo>
                      <a:pt x="147" y="1124"/>
                    </a:lnTo>
                    <a:lnTo>
                      <a:pt x="147" y="1122"/>
                    </a:lnTo>
                    <a:lnTo>
                      <a:pt x="143" y="1121"/>
                    </a:lnTo>
                    <a:lnTo>
                      <a:pt x="138" y="1122"/>
                    </a:lnTo>
                    <a:lnTo>
                      <a:pt x="135" y="1120"/>
                    </a:lnTo>
                    <a:lnTo>
                      <a:pt x="133" y="1121"/>
                    </a:lnTo>
                    <a:lnTo>
                      <a:pt x="131" y="1121"/>
                    </a:lnTo>
                    <a:lnTo>
                      <a:pt x="130" y="1121"/>
                    </a:lnTo>
                    <a:lnTo>
                      <a:pt x="127" y="1120"/>
                    </a:lnTo>
                    <a:lnTo>
                      <a:pt x="126" y="1121"/>
                    </a:lnTo>
                    <a:lnTo>
                      <a:pt x="126" y="1121"/>
                    </a:lnTo>
                    <a:lnTo>
                      <a:pt x="134" y="1128"/>
                    </a:lnTo>
                    <a:lnTo>
                      <a:pt x="138" y="1132"/>
                    </a:lnTo>
                    <a:lnTo>
                      <a:pt x="142" y="1133"/>
                    </a:lnTo>
                    <a:lnTo>
                      <a:pt x="133" y="1133"/>
                    </a:lnTo>
                    <a:lnTo>
                      <a:pt x="133" y="1133"/>
                    </a:lnTo>
                    <a:lnTo>
                      <a:pt x="130" y="1130"/>
                    </a:lnTo>
                    <a:lnTo>
                      <a:pt x="126" y="1129"/>
                    </a:lnTo>
                    <a:lnTo>
                      <a:pt x="124" y="1132"/>
                    </a:lnTo>
                    <a:lnTo>
                      <a:pt x="124" y="1132"/>
                    </a:lnTo>
                    <a:lnTo>
                      <a:pt x="123" y="1130"/>
                    </a:lnTo>
                    <a:lnTo>
                      <a:pt x="120" y="1129"/>
                    </a:lnTo>
                    <a:lnTo>
                      <a:pt x="120" y="1128"/>
                    </a:lnTo>
                    <a:lnTo>
                      <a:pt x="118" y="1126"/>
                    </a:lnTo>
                    <a:lnTo>
                      <a:pt x="116" y="1126"/>
                    </a:lnTo>
                    <a:lnTo>
                      <a:pt x="118" y="1129"/>
                    </a:lnTo>
                    <a:lnTo>
                      <a:pt x="115" y="1129"/>
                    </a:lnTo>
                    <a:lnTo>
                      <a:pt x="115" y="1132"/>
                    </a:lnTo>
                    <a:lnTo>
                      <a:pt x="111" y="1129"/>
                    </a:lnTo>
                    <a:lnTo>
                      <a:pt x="107" y="1132"/>
                    </a:lnTo>
                    <a:lnTo>
                      <a:pt x="105" y="1133"/>
                    </a:lnTo>
                    <a:lnTo>
                      <a:pt x="104" y="1132"/>
                    </a:lnTo>
                    <a:lnTo>
                      <a:pt x="103" y="1134"/>
                    </a:lnTo>
                    <a:lnTo>
                      <a:pt x="104" y="1136"/>
                    </a:lnTo>
                    <a:lnTo>
                      <a:pt x="99" y="1139"/>
                    </a:lnTo>
                    <a:lnTo>
                      <a:pt x="99" y="1139"/>
                    </a:lnTo>
                    <a:lnTo>
                      <a:pt x="103" y="1140"/>
                    </a:lnTo>
                    <a:lnTo>
                      <a:pt x="105" y="1140"/>
                    </a:lnTo>
                    <a:lnTo>
                      <a:pt x="108" y="1143"/>
                    </a:lnTo>
                    <a:lnTo>
                      <a:pt x="108" y="1141"/>
                    </a:lnTo>
                    <a:lnTo>
                      <a:pt x="120" y="1141"/>
                    </a:lnTo>
                    <a:lnTo>
                      <a:pt x="120" y="1148"/>
                    </a:lnTo>
                    <a:lnTo>
                      <a:pt x="123" y="1149"/>
                    </a:lnTo>
                    <a:lnTo>
                      <a:pt x="123" y="1152"/>
                    </a:lnTo>
                    <a:lnTo>
                      <a:pt x="137" y="1155"/>
                    </a:lnTo>
                    <a:lnTo>
                      <a:pt x="138" y="1156"/>
                    </a:lnTo>
                    <a:lnTo>
                      <a:pt x="141" y="1156"/>
                    </a:lnTo>
                    <a:lnTo>
                      <a:pt x="143" y="1158"/>
                    </a:lnTo>
                    <a:lnTo>
                      <a:pt x="143" y="1158"/>
                    </a:lnTo>
                    <a:lnTo>
                      <a:pt x="145" y="1156"/>
                    </a:lnTo>
                    <a:lnTo>
                      <a:pt x="145" y="1156"/>
                    </a:lnTo>
                    <a:lnTo>
                      <a:pt x="147" y="1158"/>
                    </a:lnTo>
                    <a:lnTo>
                      <a:pt x="149" y="1160"/>
                    </a:lnTo>
                    <a:lnTo>
                      <a:pt x="153" y="1160"/>
                    </a:lnTo>
                    <a:lnTo>
                      <a:pt x="154" y="1162"/>
                    </a:lnTo>
                    <a:lnTo>
                      <a:pt x="156" y="1160"/>
                    </a:lnTo>
                    <a:lnTo>
                      <a:pt x="157" y="1160"/>
                    </a:lnTo>
                    <a:lnTo>
                      <a:pt x="157" y="1163"/>
                    </a:lnTo>
                    <a:lnTo>
                      <a:pt x="157" y="1163"/>
                    </a:lnTo>
                    <a:lnTo>
                      <a:pt x="150" y="1164"/>
                    </a:lnTo>
                    <a:lnTo>
                      <a:pt x="147" y="1164"/>
                    </a:lnTo>
                    <a:lnTo>
                      <a:pt x="145" y="1163"/>
                    </a:lnTo>
                    <a:lnTo>
                      <a:pt x="142" y="1162"/>
                    </a:lnTo>
                    <a:lnTo>
                      <a:pt x="145" y="1162"/>
                    </a:lnTo>
                    <a:lnTo>
                      <a:pt x="141" y="1159"/>
                    </a:lnTo>
                    <a:lnTo>
                      <a:pt x="138" y="1159"/>
                    </a:lnTo>
                    <a:lnTo>
                      <a:pt x="139" y="1158"/>
                    </a:lnTo>
                    <a:lnTo>
                      <a:pt x="138" y="1156"/>
                    </a:lnTo>
                    <a:lnTo>
                      <a:pt x="138" y="1156"/>
                    </a:lnTo>
                    <a:lnTo>
                      <a:pt x="130" y="1155"/>
                    </a:lnTo>
                    <a:lnTo>
                      <a:pt x="123" y="1153"/>
                    </a:lnTo>
                    <a:lnTo>
                      <a:pt x="122" y="1155"/>
                    </a:lnTo>
                    <a:lnTo>
                      <a:pt x="123" y="1156"/>
                    </a:lnTo>
                    <a:lnTo>
                      <a:pt x="126" y="1155"/>
                    </a:lnTo>
                    <a:lnTo>
                      <a:pt x="134" y="1160"/>
                    </a:lnTo>
                    <a:lnTo>
                      <a:pt x="134" y="1160"/>
                    </a:lnTo>
                    <a:lnTo>
                      <a:pt x="128" y="1159"/>
                    </a:lnTo>
                    <a:lnTo>
                      <a:pt x="124" y="1158"/>
                    </a:lnTo>
                    <a:lnTo>
                      <a:pt x="123" y="1158"/>
                    </a:lnTo>
                    <a:lnTo>
                      <a:pt x="122" y="1162"/>
                    </a:lnTo>
                    <a:lnTo>
                      <a:pt x="126" y="1162"/>
                    </a:lnTo>
                    <a:lnTo>
                      <a:pt x="126" y="1160"/>
                    </a:lnTo>
                    <a:lnTo>
                      <a:pt x="127" y="1160"/>
                    </a:lnTo>
                    <a:lnTo>
                      <a:pt x="130" y="1162"/>
                    </a:lnTo>
                    <a:lnTo>
                      <a:pt x="130" y="1164"/>
                    </a:lnTo>
                    <a:lnTo>
                      <a:pt x="127" y="1164"/>
                    </a:lnTo>
                    <a:lnTo>
                      <a:pt x="127" y="1166"/>
                    </a:lnTo>
                    <a:lnTo>
                      <a:pt x="131" y="1166"/>
                    </a:lnTo>
                    <a:lnTo>
                      <a:pt x="133" y="1168"/>
                    </a:lnTo>
                    <a:lnTo>
                      <a:pt x="135" y="1170"/>
                    </a:lnTo>
                    <a:lnTo>
                      <a:pt x="135" y="1170"/>
                    </a:lnTo>
                    <a:lnTo>
                      <a:pt x="139" y="1170"/>
                    </a:lnTo>
                    <a:lnTo>
                      <a:pt x="143" y="1170"/>
                    </a:lnTo>
                    <a:lnTo>
                      <a:pt x="152" y="1174"/>
                    </a:lnTo>
                    <a:lnTo>
                      <a:pt x="158" y="1177"/>
                    </a:lnTo>
                    <a:lnTo>
                      <a:pt x="161" y="1177"/>
                    </a:lnTo>
                    <a:lnTo>
                      <a:pt x="164" y="1175"/>
                    </a:lnTo>
                    <a:lnTo>
                      <a:pt x="162" y="1178"/>
                    </a:lnTo>
                    <a:lnTo>
                      <a:pt x="160" y="1177"/>
                    </a:lnTo>
                    <a:lnTo>
                      <a:pt x="156" y="1178"/>
                    </a:lnTo>
                    <a:lnTo>
                      <a:pt x="158" y="1181"/>
                    </a:lnTo>
                    <a:lnTo>
                      <a:pt x="158" y="1183"/>
                    </a:lnTo>
                    <a:lnTo>
                      <a:pt x="165" y="1182"/>
                    </a:lnTo>
                    <a:lnTo>
                      <a:pt x="165" y="1186"/>
                    </a:lnTo>
                    <a:lnTo>
                      <a:pt x="165" y="1187"/>
                    </a:lnTo>
                    <a:lnTo>
                      <a:pt x="156" y="1182"/>
                    </a:lnTo>
                    <a:lnTo>
                      <a:pt x="154" y="1181"/>
                    </a:lnTo>
                    <a:lnTo>
                      <a:pt x="150" y="1179"/>
                    </a:lnTo>
                    <a:lnTo>
                      <a:pt x="152" y="1178"/>
                    </a:lnTo>
                    <a:lnTo>
                      <a:pt x="152" y="1178"/>
                    </a:lnTo>
                    <a:lnTo>
                      <a:pt x="147" y="1178"/>
                    </a:lnTo>
                    <a:lnTo>
                      <a:pt x="145" y="1174"/>
                    </a:lnTo>
                    <a:lnTo>
                      <a:pt x="142" y="1174"/>
                    </a:lnTo>
                    <a:lnTo>
                      <a:pt x="141" y="1175"/>
                    </a:lnTo>
                    <a:lnTo>
                      <a:pt x="141" y="1177"/>
                    </a:lnTo>
                    <a:lnTo>
                      <a:pt x="137" y="1179"/>
                    </a:lnTo>
                    <a:lnTo>
                      <a:pt x="137" y="1179"/>
                    </a:lnTo>
                    <a:lnTo>
                      <a:pt x="141" y="1181"/>
                    </a:lnTo>
                    <a:lnTo>
                      <a:pt x="143" y="1183"/>
                    </a:lnTo>
                    <a:lnTo>
                      <a:pt x="143" y="1183"/>
                    </a:lnTo>
                    <a:lnTo>
                      <a:pt x="139" y="1186"/>
                    </a:lnTo>
                    <a:lnTo>
                      <a:pt x="141" y="1187"/>
                    </a:lnTo>
                    <a:lnTo>
                      <a:pt x="142" y="1186"/>
                    </a:lnTo>
                    <a:lnTo>
                      <a:pt x="145" y="1187"/>
                    </a:lnTo>
                    <a:lnTo>
                      <a:pt x="146" y="1185"/>
                    </a:lnTo>
                    <a:lnTo>
                      <a:pt x="152" y="1186"/>
                    </a:lnTo>
                    <a:lnTo>
                      <a:pt x="152" y="1189"/>
                    </a:lnTo>
                    <a:lnTo>
                      <a:pt x="150" y="1187"/>
                    </a:lnTo>
                    <a:lnTo>
                      <a:pt x="147" y="1187"/>
                    </a:lnTo>
                    <a:lnTo>
                      <a:pt x="147" y="1187"/>
                    </a:lnTo>
                    <a:lnTo>
                      <a:pt x="150" y="1189"/>
                    </a:lnTo>
                    <a:lnTo>
                      <a:pt x="153" y="1190"/>
                    </a:lnTo>
                    <a:lnTo>
                      <a:pt x="156" y="1189"/>
                    </a:lnTo>
                    <a:lnTo>
                      <a:pt x="160" y="1190"/>
                    </a:lnTo>
                    <a:lnTo>
                      <a:pt x="160" y="1191"/>
                    </a:lnTo>
                    <a:lnTo>
                      <a:pt x="154" y="1194"/>
                    </a:lnTo>
                    <a:lnTo>
                      <a:pt x="153" y="1193"/>
                    </a:lnTo>
                    <a:lnTo>
                      <a:pt x="152" y="1193"/>
                    </a:lnTo>
                    <a:lnTo>
                      <a:pt x="152" y="1196"/>
                    </a:lnTo>
                    <a:lnTo>
                      <a:pt x="150" y="1197"/>
                    </a:lnTo>
                    <a:lnTo>
                      <a:pt x="150" y="1197"/>
                    </a:lnTo>
                    <a:lnTo>
                      <a:pt x="150" y="1200"/>
                    </a:lnTo>
                    <a:lnTo>
                      <a:pt x="150" y="1202"/>
                    </a:lnTo>
                    <a:lnTo>
                      <a:pt x="147" y="1202"/>
                    </a:lnTo>
                    <a:lnTo>
                      <a:pt x="146" y="1205"/>
                    </a:lnTo>
                    <a:lnTo>
                      <a:pt x="143" y="1202"/>
                    </a:lnTo>
                    <a:lnTo>
                      <a:pt x="142" y="1201"/>
                    </a:lnTo>
                    <a:lnTo>
                      <a:pt x="141" y="1200"/>
                    </a:lnTo>
                    <a:lnTo>
                      <a:pt x="139" y="1201"/>
                    </a:lnTo>
                    <a:lnTo>
                      <a:pt x="141" y="1201"/>
                    </a:lnTo>
                    <a:lnTo>
                      <a:pt x="142" y="1202"/>
                    </a:lnTo>
                    <a:lnTo>
                      <a:pt x="141" y="1205"/>
                    </a:lnTo>
                    <a:lnTo>
                      <a:pt x="141" y="1202"/>
                    </a:lnTo>
                    <a:lnTo>
                      <a:pt x="138" y="1201"/>
                    </a:lnTo>
                    <a:lnTo>
                      <a:pt x="138" y="1200"/>
                    </a:lnTo>
                    <a:lnTo>
                      <a:pt x="138" y="1200"/>
                    </a:lnTo>
                    <a:lnTo>
                      <a:pt x="135" y="1197"/>
                    </a:lnTo>
                    <a:lnTo>
                      <a:pt x="135" y="1197"/>
                    </a:lnTo>
                    <a:lnTo>
                      <a:pt x="131" y="1197"/>
                    </a:lnTo>
                    <a:lnTo>
                      <a:pt x="127" y="1196"/>
                    </a:lnTo>
                    <a:lnTo>
                      <a:pt x="126" y="1193"/>
                    </a:lnTo>
                    <a:lnTo>
                      <a:pt x="124" y="1193"/>
                    </a:lnTo>
                    <a:lnTo>
                      <a:pt x="123" y="1196"/>
                    </a:lnTo>
                    <a:lnTo>
                      <a:pt x="124" y="1197"/>
                    </a:lnTo>
                    <a:lnTo>
                      <a:pt x="122" y="1200"/>
                    </a:lnTo>
                    <a:lnTo>
                      <a:pt x="122" y="1202"/>
                    </a:lnTo>
                    <a:lnTo>
                      <a:pt x="120" y="1204"/>
                    </a:lnTo>
                    <a:lnTo>
                      <a:pt x="119" y="1206"/>
                    </a:lnTo>
                    <a:lnTo>
                      <a:pt x="120" y="1208"/>
                    </a:lnTo>
                    <a:lnTo>
                      <a:pt x="122" y="1210"/>
                    </a:lnTo>
                    <a:lnTo>
                      <a:pt x="120" y="1212"/>
                    </a:lnTo>
                    <a:lnTo>
                      <a:pt x="119" y="1208"/>
                    </a:lnTo>
                    <a:lnTo>
                      <a:pt x="119" y="1202"/>
                    </a:lnTo>
                    <a:lnTo>
                      <a:pt x="119" y="1202"/>
                    </a:lnTo>
                    <a:lnTo>
                      <a:pt x="116" y="1201"/>
                    </a:lnTo>
                    <a:lnTo>
                      <a:pt x="114" y="1202"/>
                    </a:lnTo>
                    <a:lnTo>
                      <a:pt x="118" y="1202"/>
                    </a:lnTo>
                    <a:lnTo>
                      <a:pt x="116" y="1206"/>
                    </a:lnTo>
                    <a:lnTo>
                      <a:pt x="114" y="1209"/>
                    </a:lnTo>
                    <a:lnTo>
                      <a:pt x="114" y="1210"/>
                    </a:lnTo>
                    <a:lnTo>
                      <a:pt x="105" y="1220"/>
                    </a:lnTo>
                    <a:lnTo>
                      <a:pt x="107" y="1223"/>
                    </a:lnTo>
                    <a:lnTo>
                      <a:pt x="105" y="1224"/>
                    </a:lnTo>
                    <a:lnTo>
                      <a:pt x="108" y="1224"/>
                    </a:lnTo>
                    <a:lnTo>
                      <a:pt x="109" y="1221"/>
                    </a:lnTo>
                    <a:lnTo>
                      <a:pt x="109" y="1221"/>
                    </a:lnTo>
                    <a:lnTo>
                      <a:pt x="114" y="1219"/>
                    </a:lnTo>
                    <a:lnTo>
                      <a:pt x="119" y="1216"/>
                    </a:lnTo>
                    <a:lnTo>
                      <a:pt x="122" y="1219"/>
                    </a:lnTo>
                    <a:lnTo>
                      <a:pt x="123" y="1221"/>
                    </a:lnTo>
                    <a:lnTo>
                      <a:pt x="130" y="1228"/>
                    </a:lnTo>
                    <a:lnTo>
                      <a:pt x="130" y="1227"/>
                    </a:lnTo>
                    <a:lnTo>
                      <a:pt x="128" y="1224"/>
                    </a:lnTo>
                    <a:lnTo>
                      <a:pt x="131" y="1221"/>
                    </a:lnTo>
                    <a:lnTo>
                      <a:pt x="134" y="1221"/>
                    </a:lnTo>
                    <a:lnTo>
                      <a:pt x="133" y="1223"/>
                    </a:lnTo>
                    <a:lnTo>
                      <a:pt x="135" y="1224"/>
                    </a:lnTo>
                    <a:lnTo>
                      <a:pt x="135" y="1223"/>
                    </a:lnTo>
                    <a:lnTo>
                      <a:pt x="141" y="1220"/>
                    </a:lnTo>
                    <a:lnTo>
                      <a:pt x="142" y="1220"/>
                    </a:lnTo>
                    <a:lnTo>
                      <a:pt x="142" y="1221"/>
                    </a:lnTo>
                    <a:lnTo>
                      <a:pt x="143" y="1221"/>
                    </a:lnTo>
                    <a:lnTo>
                      <a:pt x="145" y="1220"/>
                    </a:lnTo>
                    <a:lnTo>
                      <a:pt x="143" y="1217"/>
                    </a:lnTo>
                    <a:lnTo>
                      <a:pt x="146" y="1214"/>
                    </a:lnTo>
                    <a:lnTo>
                      <a:pt x="149" y="1216"/>
                    </a:lnTo>
                    <a:lnTo>
                      <a:pt x="150" y="1219"/>
                    </a:lnTo>
                    <a:lnTo>
                      <a:pt x="150" y="1219"/>
                    </a:lnTo>
                    <a:lnTo>
                      <a:pt x="153" y="1219"/>
                    </a:lnTo>
                    <a:lnTo>
                      <a:pt x="157" y="1221"/>
                    </a:lnTo>
                    <a:lnTo>
                      <a:pt x="160" y="1223"/>
                    </a:lnTo>
                    <a:lnTo>
                      <a:pt x="161" y="1227"/>
                    </a:lnTo>
                    <a:lnTo>
                      <a:pt x="161" y="1227"/>
                    </a:lnTo>
                    <a:lnTo>
                      <a:pt x="160" y="1231"/>
                    </a:lnTo>
                    <a:lnTo>
                      <a:pt x="160" y="1233"/>
                    </a:lnTo>
                    <a:lnTo>
                      <a:pt x="161" y="1235"/>
                    </a:lnTo>
                    <a:lnTo>
                      <a:pt x="162" y="1238"/>
                    </a:lnTo>
                    <a:lnTo>
                      <a:pt x="166" y="1238"/>
                    </a:lnTo>
                    <a:lnTo>
                      <a:pt x="169" y="1242"/>
                    </a:lnTo>
                    <a:lnTo>
                      <a:pt x="172" y="1239"/>
                    </a:lnTo>
                    <a:lnTo>
                      <a:pt x="179" y="1242"/>
                    </a:lnTo>
                    <a:lnTo>
                      <a:pt x="183" y="1239"/>
                    </a:lnTo>
                    <a:lnTo>
                      <a:pt x="185" y="1239"/>
                    </a:lnTo>
                    <a:lnTo>
                      <a:pt x="185" y="1243"/>
                    </a:lnTo>
                    <a:lnTo>
                      <a:pt x="183" y="1242"/>
                    </a:lnTo>
                    <a:lnTo>
                      <a:pt x="180" y="1244"/>
                    </a:lnTo>
                    <a:lnTo>
                      <a:pt x="183" y="1246"/>
                    </a:lnTo>
                    <a:lnTo>
                      <a:pt x="184" y="1244"/>
                    </a:lnTo>
                    <a:lnTo>
                      <a:pt x="187" y="1248"/>
                    </a:lnTo>
                    <a:lnTo>
                      <a:pt x="188" y="1248"/>
                    </a:lnTo>
                    <a:lnTo>
                      <a:pt x="190" y="1247"/>
                    </a:lnTo>
                    <a:lnTo>
                      <a:pt x="187" y="1246"/>
                    </a:lnTo>
                    <a:lnTo>
                      <a:pt x="187" y="1244"/>
                    </a:lnTo>
                    <a:lnTo>
                      <a:pt x="188" y="1240"/>
                    </a:lnTo>
                    <a:lnTo>
                      <a:pt x="191" y="1240"/>
                    </a:lnTo>
                    <a:lnTo>
                      <a:pt x="195" y="1242"/>
                    </a:lnTo>
                    <a:lnTo>
                      <a:pt x="195" y="1242"/>
                    </a:lnTo>
                    <a:lnTo>
                      <a:pt x="199" y="1239"/>
                    </a:lnTo>
                    <a:lnTo>
                      <a:pt x="202" y="1236"/>
                    </a:lnTo>
                    <a:lnTo>
                      <a:pt x="203" y="1235"/>
                    </a:lnTo>
                    <a:lnTo>
                      <a:pt x="202" y="1225"/>
                    </a:lnTo>
                    <a:lnTo>
                      <a:pt x="202" y="1225"/>
                    </a:lnTo>
                    <a:lnTo>
                      <a:pt x="203" y="1223"/>
                    </a:lnTo>
                    <a:lnTo>
                      <a:pt x="203" y="1220"/>
                    </a:lnTo>
                    <a:lnTo>
                      <a:pt x="203" y="1220"/>
                    </a:lnTo>
                    <a:lnTo>
                      <a:pt x="207" y="1217"/>
                    </a:lnTo>
                    <a:lnTo>
                      <a:pt x="210" y="1213"/>
                    </a:lnTo>
                    <a:lnTo>
                      <a:pt x="211" y="1213"/>
                    </a:lnTo>
                    <a:lnTo>
                      <a:pt x="210" y="1216"/>
                    </a:lnTo>
                    <a:lnTo>
                      <a:pt x="210" y="1216"/>
                    </a:lnTo>
                    <a:lnTo>
                      <a:pt x="214" y="1219"/>
                    </a:lnTo>
                    <a:lnTo>
                      <a:pt x="221" y="1214"/>
                    </a:lnTo>
                    <a:lnTo>
                      <a:pt x="222" y="1214"/>
                    </a:lnTo>
                    <a:lnTo>
                      <a:pt x="226" y="1210"/>
                    </a:lnTo>
                    <a:lnTo>
                      <a:pt x="223" y="1209"/>
                    </a:lnTo>
                    <a:lnTo>
                      <a:pt x="222" y="1210"/>
                    </a:lnTo>
                    <a:lnTo>
                      <a:pt x="221" y="1208"/>
                    </a:lnTo>
                    <a:lnTo>
                      <a:pt x="221" y="1206"/>
                    </a:lnTo>
                    <a:lnTo>
                      <a:pt x="221" y="1206"/>
                    </a:lnTo>
                    <a:lnTo>
                      <a:pt x="226" y="1209"/>
                    </a:lnTo>
                    <a:lnTo>
                      <a:pt x="229" y="1210"/>
                    </a:lnTo>
                    <a:lnTo>
                      <a:pt x="230" y="1212"/>
                    </a:lnTo>
                    <a:lnTo>
                      <a:pt x="232" y="1210"/>
                    </a:lnTo>
                    <a:lnTo>
                      <a:pt x="233" y="1213"/>
                    </a:lnTo>
                    <a:lnTo>
                      <a:pt x="236" y="1213"/>
                    </a:lnTo>
                    <a:lnTo>
                      <a:pt x="234" y="1216"/>
                    </a:lnTo>
                    <a:lnTo>
                      <a:pt x="234" y="1216"/>
                    </a:lnTo>
                    <a:lnTo>
                      <a:pt x="230" y="1216"/>
                    </a:lnTo>
                    <a:lnTo>
                      <a:pt x="230" y="1214"/>
                    </a:lnTo>
                    <a:lnTo>
                      <a:pt x="226" y="1214"/>
                    </a:lnTo>
                    <a:lnTo>
                      <a:pt x="227" y="1217"/>
                    </a:lnTo>
                    <a:lnTo>
                      <a:pt x="222" y="1219"/>
                    </a:lnTo>
                    <a:lnTo>
                      <a:pt x="219" y="1217"/>
                    </a:lnTo>
                    <a:lnTo>
                      <a:pt x="214" y="1221"/>
                    </a:lnTo>
                    <a:lnTo>
                      <a:pt x="217" y="1233"/>
                    </a:lnTo>
                    <a:lnTo>
                      <a:pt x="217" y="1233"/>
                    </a:lnTo>
                    <a:lnTo>
                      <a:pt x="219" y="1233"/>
                    </a:lnTo>
                    <a:lnTo>
                      <a:pt x="221" y="1236"/>
                    </a:lnTo>
                    <a:lnTo>
                      <a:pt x="223" y="1233"/>
                    </a:lnTo>
                    <a:lnTo>
                      <a:pt x="223" y="1228"/>
                    </a:lnTo>
                    <a:lnTo>
                      <a:pt x="226" y="1227"/>
                    </a:lnTo>
                    <a:lnTo>
                      <a:pt x="226" y="1228"/>
                    </a:lnTo>
                    <a:lnTo>
                      <a:pt x="225" y="1231"/>
                    </a:lnTo>
                    <a:lnTo>
                      <a:pt x="227" y="1232"/>
                    </a:lnTo>
                    <a:lnTo>
                      <a:pt x="229" y="1231"/>
                    </a:lnTo>
                    <a:lnTo>
                      <a:pt x="227" y="1228"/>
                    </a:lnTo>
                    <a:lnTo>
                      <a:pt x="229" y="1225"/>
                    </a:lnTo>
                    <a:lnTo>
                      <a:pt x="230" y="1225"/>
                    </a:lnTo>
                    <a:lnTo>
                      <a:pt x="232" y="1227"/>
                    </a:lnTo>
                    <a:lnTo>
                      <a:pt x="233" y="1225"/>
                    </a:lnTo>
                    <a:lnTo>
                      <a:pt x="233" y="1221"/>
                    </a:lnTo>
                    <a:lnTo>
                      <a:pt x="236" y="1221"/>
                    </a:lnTo>
                    <a:lnTo>
                      <a:pt x="236" y="1221"/>
                    </a:lnTo>
                    <a:lnTo>
                      <a:pt x="237" y="1219"/>
                    </a:lnTo>
                    <a:lnTo>
                      <a:pt x="238" y="1217"/>
                    </a:lnTo>
                    <a:lnTo>
                      <a:pt x="241" y="1219"/>
                    </a:lnTo>
                    <a:lnTo>
                      <a:pt x="244" y="1217"/>
                    </a:lnTo>
                    <a:lnTo>
                      <a:pt x="248" y="1219"/>
                    </a:lnTo>
                    <a:lnTo>
                      <a:pt x="245" y="1221"/>
                    </a:lnTo>
                    <a:lnTo>
                      <a:pt x="242" y="1220"/>
                    </a:lnTo>
                    <a:lnTo>
                      <a:pt x="238" y="1221"/>
                    </a:lnTo>
                    <a:lnTo>
                      <a:pt x="237" y="1224"/>
                    </a:lnTo>
                    <a:lnTo>
                      <a:pt x="241" y="1228"/>
                    </a:lnTo>
                    <a:lnTo>
                      <a:pt x="246" y="1224"/>
                    </a:lnTo>
                    <a:lnTo>
                      <a:pt x="249" y="1224"/>
                    </a:lnTo>
                    <a:lnTo>
                      <a:pt x="251" y="1225"/>
                    </a:lnTo>
                    <a:lnTo>
                      <a:pt x="246" y="1225"/>
                    </a:lnTo>
                    <a:lnTo>
                      <a:pt x="245" y="1232"/>
                    </a:lnTo>
                    <a:lnTo>
                      <a:pt x="248" y="1231"/>
                    </a:lnTo>
                    <a:lnTo>
                      <a:pt x="251" y="1233"/>
                    </a:lnTo>
                    <a:lnTo>
                      <a:pt x="248" y="1235"/>
                    </a:lnTo>
                    <a:lnTo>
                      <a:pt x="248" y="1236"/>
                    </a:lnTo>
                    <a:lnTo>
                      <a:pt x="244" y="1236"/>
                    </a:lnTo>
                    <a:lnTo>
                      <a:pt x="244" y="1236"/>
                    </a:lnTo>
                    <a:lnTo>
                      <a:pt x="240" y="1240"/>
                    </a:lnTo>
                    <a:lnTo>
                      <a:pt x="237" y="1244"/>
                    </a:lnTo>
                    <a:lnTo>
                      <a:pt x="237" y="1242"/>
                    </a:lnTo>
                    <a:lnTo>
                      <a:pt x="232" y="1242"/>
                    </a:lnTo>
                    <a:lnTo>
                      <a:pt x="232" y="1243"/>
                    </a:lnTo>
                    <a:lnTo>
                      <a:pt x="227" y="1246"/>
                    </a:lnTo>
                    <a:lnTo>
                      <a:pt x="225" y="1244"/>
                    </a:lnTo>
                    <a:lnTo>
                      <a:pt x="222" y="1247"/>
                    </a:lnTo>
                    <a:lnTo>
                      <a:pt x="221" y="1248"/>
                    </a:lnTo>
                    <a:lnTo>
                      <a:pt x="221" y="1248"/>
                    </a:lnTo>
                    <a:lnTo>
                      <a:pt x="215" y="1248"/>
                    </a:lnTo>
                    <a:lnTo>
                      <a:pt x="214" y="1250"/>
                    </a:lnTo>
                    <a:lnTo>
                      <a:pt x="211" y="1251"/>
                    </a:lnTo>
                    <a:lnTo>
                      <a:pt x="213" y="1252"/>
                    </a:lnTo>
                    <a:lnTo>
                      <a:pt x="214" y="1254"/>
                    </a:lnTo>
                    <a:lnTo>
                      <a:pt x="214" y="1255"/>
                    </a:lnTo>
                    <a:lnTo>
                      <a:pt x="211" y="1257"/>
                    </a:lnTo>
                    <a:lnTo>
                      <a:pt x="211" y="1258"/>
                    </a:lnTo>
                    <a:lnTo>
                      <a:pt x="214" y="1258"/>
                    </a:lnTo>
                    <a:lnTo>
                      <a:pt x="217" y="1257"/>
                    </a:lnTo>
                    <a:lnTo>
                      <a:pt x="218" y="1257"/>
                    </a:lnTo>
                    <a:lnTo>
                      <a:pt x="217" y="1261"/>
                    </a:lnTo>
                    <a:lnTo>
                      <a:pt x="214" y="1261"/>
                    </a:lnTo>
                    <a:lnTo>
                      <a:pt x="214" y="1263"/>
                    </a:lnTo>
                    <a:lnTo>
                      <a:pt x="217" y="1265"/>
                    </a:lnTo>
                    <a:lnTo>
                      <a:pt x="215" y="1266"/>
                    </a:lnTo>
                    <a:lnTo>
                      <a:pt x="214" y="1267"/>
                    </a:lnTo>
                    <a:lnTo>
                      <a:pt x="211" y="1266"/>
                    </a:lnTo>
                    <a:lnTo>
                      <a:pt x="210" y="1266"/>
                    </a:lnTo>
                    <a:lnTo>
                      <a:pt x="210" y="1269"/>
                    </a:lnTo>
                    <a:lnTo>
                      <a:pt x="210" y="1273"/>
                    </a:lnTo>
                    <a:lnTo>
                      <a:pt x="207" y="1276"/>
                    </a:lnTo>
                    <a:lnTo>
                      <a:pt x="211" y="1281"/>
                    </a:lnTo>
                    <a:lnTo>
                      <a:pt x="213" y="1278"/>
                    </a:lnTo>
                    <a:lnTo>
                      <a:pt x="214" y="1278"/>
                    </a:lnTo>
                    <a:lnTo>
                      <a:pt x="214" y="1281"/>
                    </a:lnTo>
                    <a:lnTo>
                      <a:pt x="217" y="1284"/>
                    </a:lnTo>
                    <a:lnTo>
                      <a:pt x="218" y="1282"/>
                    </a:lnTo>
                    <a:lnTo>
                      <a:pt x="219" y="1284"/>
                    </a:lnTo>
                    <a:lnTo>
                      <a:pt x="221" y="1282"/>
                    </a:lnTo>
                    <a:lnTo>
                      <a:pt x="222" y="1280"/>
                    </a:lnTo>
                    <a:lnTo>
                      <a:pt x="223" y="1278"/>
                    </a:lnTo>
                    <a:lnTo>
                      <a:pt x="221" y="1273"/>
                    </a:lnTo>
                    <a:lnTo>
                      <a:pt x="222" y="1271"/>
                    </a:lnTo>
                    <a:lnTo>
                      <a:pt x="226" y="1276"/>
                    </a:lnTo>
                    <a:lnTo>
                      <a:pt x="225" y="1278"/>
                    </a:lnTo>
                    <a:lnTo>
                      <a:pt x="226" y="1278"/>
                    </a:lnTo>
                    <a:lnTo>
                      <a:pt x="232" y="1277"/>
                    </a:lnTo>
                    <a:lnTo>
                      <a:pt x="233" y="1281"/>
                    </a:lnTo>
                    <a:lnTo>
                      <a:pt x="232" y="1282"/>
                    </a:lnTo>
                    <a:lnTo>
                      <a:pt x="230" y="1286"/>
                    </a:lnTo>
                    <a:lnTo>
                      <a:pt x="234" y="1285"/>
                    </a:lnTo>
                    <a:lnTo>
                      <a:pt x="236" y="1282"/>
                    </a:lnTo>
                    <a:lnTo>
                      <a:pt x="237" y="1285"/>
                    </a:lnTo>
                    <a:lnTo>
                      <a:pt x="238" y="1285"/>
                    </a:lnTo>
                    <a:lnTo>
                      <a:pt x="237" y="1278"/>
                    </a:lnTo>
                    <a:lnTo>
                      <a:pt x="240" y="1277"/>
                    </a:lnTo>
                    <a:lnTo>
                      <a:pt x="241" y="1278"/>
                    </a:lnTo>
                    <a:lnTo>
                      <a:pt x="241" y="1278"/>
                    </a:lnTo>
                    <a:lnTo>
                      <a:pt x="241" y="1282"/>
                    </a:lnTo>
                    <a:lnTo>
                      <a:pt x="241" y="1285"/>
                    </a:lnTo>
                    <a:lnTo>
                      <a:pt x="241" y="1285"/>
                    </a:lnTo>
                    <a:lnTo>
                      <a:pt x="245" y="1288"/>
                    </a:lnTo>
                    <a:lnTo>
                      <a:pt x="249" y="1288"/>
                    </a:lnTo>
                    <a:lnTo>
                      <a:pt x="251" y="1290"/>
                    </a:lnTo>
                    <a:lnTo>
                      <a:pt x="253" y="1290"/>
                    </a:lnTo>
                    <a:lnTo>
                      <a:pt x="253" y="1293"/>
                    </a:lnTo>
                    <a:lnTo>
                      <a:pt x="256" y="1295"/>
                    </a:lnTo>
                    <a:lnTo>
                      <a:pt x="256" y="1295"/>
                    </a:lnTo>
                    <a:lnTo>
                      <a:pt x="255" y="1290"/>
                    </a:lnTo>
                    <a:lnTo>
                      <a:pt x="255" y="1290"/>
                    </a:lnTo>
                    <a:lnTo>
                      <a:pt x="257" y="1289"/>
                    </a:lnTo>
                    <a:lnTo>
                      <a:pt x="259" y="1288"/>
                    </a:lnTo>
                    <a:lnTo>
                      <a:pt x="267" y="1286"/>
                    </a:lnTo>
                    <a:lnTo>
                      <a:pt x="267" y="1288"/>
                    </a:lnTo>
                    <a:lnTo>
                      <a:pt x="268" y="1288"/>
                    </a:lnTo>
                    <a:lnTo>
                      <a:pt x="268" y="1288"/>
                    </a:lnTo>
                    <a:lnTo>
                      <a:pt x="271" y="1285"/>
                    </a:lnTo>
                    <a:lnTo>
                      <a:pt x="271" y="1282"/>
                    </a:lnTo>
                    <a:lnTo>
                      <a:pt x="271" y="1276"/>
                    </a:lnTo>
                    <a:lnTo>
                      <a:pt x="275" y="1273"/>
                    </a:lnTo>
                    <a:lnTo>
                      <a:pt x="275" y="1270"/>
                    </a:lnTo>
                    <a:lnTo>
                      <a:pt x="278" y="1271"/>
                    </a:lnTo>
                    <a:lnTo>
                      <a:pt x="280" y="1269"/>
                    </a:lnTo>
                    <a:lnTo>
                      <a:pt x="279" y="1269"/>
                    </a:lnTo>
                    <a:lnTo>
                      <a:pt x="278" y="1267"/>
                    </a:lnTo>
                    <a:lnTo>
                      <a:pt x="278" y="1266"/>
                    </a:lnTo>
                    <a:lnTo>
                      <a:pt x="279" y="1266"/>
                    </a:lnTo>
                    <a:lnTo>
                      <a:pt x="279" y="1266"/>
                    </a:lnTo>
                    <a:lnTo>
                      <a:pt x="280" y="1262"/>
                    </a:lnTo>
                    <a:lnTo>
                      <a:pt x="283" y="1261"/>
                    </a:lnTo>
                    <a:lnTo>
                      <a:pt x="282" y="1255"/>
                    </a:lnTo>
                    <a:lnTo>
                      <a:pt x="289" y="1251"/>
                    </a:lnTo>
                    <a:lnTo>
                      <a:pt x="287" y="1248"/>
                    </a:lnTo>
                    <a:lnTo>
                      <a:pt x="284" y="1248"/>
                    </a:lnTo>
                    <a:lnTo>
                      <a:pt x="283" y="1247"/>
                    </a:lnTo>
                    <a:lnTo>
                      <a:pt x="284" y="1246"/>
                    </a:lnTo>
                    <a:lnTo>
                      <a:pt x="286" y="1246"/>
                    </a:lnTo>
                    <a:lnTo>
                      <a:pt x="286" y="1246"/>
                    </a:lnTo>
                    <a:lnTo>
                      <a:pt x="290" y="1250"/>
                    </a:lnTo>
                    <a:lnTo>
                      <a:pt x="291" y="1250"/>
                    </a:lnTo>
                    <a:lnTo>
                      <a:pt x="294" y="1247"/>
                    </a:lnTo>
                    <a:lnTo>
                      <a:pt x="295" y="1244"/>
                    </a:lnTo>
                    <a:lnTo>
                      <a:pt x="294" y="1243"/>
                    </a:lnTo>
                    <a:lnTo>
                      <a:pt x="298" y="1240"/>
                    </a:lnTo>
                    <a:lnTo>
                      <a:pt x="298" y="1239"/>
                    </a:lnTo>
                    <a:lnTo>
                      <a:pt x="297" y="1238"/>
                    </a:lnTo>
                    <a:lnTo>
                      <a:pt x="301" y="1236"/>
                    </a:lnTo>
                    <a:lnTo>
                      <a:pt x="302" y="1238"/>
                    </a:lnTo>
                    <a:lnTo>
                      <a:pt x="305" y="1236"/>
                    </a:lnTo>
                    <a:lnTo>
                      <a:pt x="305" y="1238"/>
                    </a:lnTo>
                    <a:lnTo>
                      <a:pt x="306" y="1238"/>
                    </a:lnTo>
                    <a:lnTo>
                      <a:pt x="306" y="1238"/>
                    </a:lnTo>
                    <a:lnTo>
                      <a:pt x="305" y="1240"/>
                    </a:lnTo>
                    <a:lnTo>
                      <a:pt x="303" y="1243"/>
                    </a:lnTo>
                    <a:lnTo>
                      <a:pt x="303" y="1244"/>
                    </a:lnTo>
                    <a:lnTo>
                      <a:pt x="308" y="1242"/>
                    </a:lnTo>
                    <a:lnTo>
                      <a:pt x="309" y="1242"/>
                    </a:lnTo>
                    <a:lnTo>
                      <a:pt x="310" y="1246"/>
                    </a:lnTo>
                    <a:lnTo>
                      <a:pt x="308" y="1246"/>
                    </a:lnTo>
                    <a:lnTo>
                      <a:pt x="308" y="1244"/>
                    </a:lnTo>
                    <a:lnTo>
                      <a:pt x="305" y="1246"/>
                    </a:lnTo>
                    <a:lnTo>
                      <a:pt x="306" y="1251"/>
                    </a:lnTo>
                    <a:lnTo>
                      <a:pt x="309" y="1252"/>
                    </a:lnTo>
                    <a:lnTo>
                      <a:pt x="303" y="1258"/>
                    </a:lnTo>
                    <a:lnTo>
                      <a:pt x="302" y="1257"/>
                    </a:lnTo>
                    <a:lnTo>
                      <a:pt x="302" y="1261"/>
                    </a:lnTo>
                    <a:lnTo>
                      <a:pt x="303" y="1261"/>
                    </a:lnTo>
                    <a:lnTo>
                      <a:pt x="309" y="1261"/>
                    </a:lnTo>
                    <a:lnTo>
                      <a:pt x="309" y="1262"/>
                    </a:lnTo>
                    <a:lnTo>
                      <a:pt x="306" y="1265"/>
                    </a:lnTo>
                    <a:lnTo>
                      <a:pt x="302" y="1265"/>
                    </a:lnTo>
                    <a:lnTo>
                      <a:pt x="299" y="1263"/>
                    </a:lnTo>
                    <a:lnTo>
                      <a:pt x="294" y="1266"/>
                    </a:lnTo>
                    <a:lnTo>
                      <a:pt x="294" y="1266"/>
                    </a:lnTo>
                    <a:lnTo>
                      <a:pt x="302" y="1270"/>
                    </a:lnTo>
                    <a:lnTo>
                      <a:pt x="302" y="1271"/>
                    </a:lnTo>
                    <a:lnTo>
                      <a:pt x="302" y="1271"/>
                    </a:lnTo>
                    <a:lnTo>
                      <a:pt x="305" y="1271"/>
                    </a:lnTo>
                    <a:lnTo>
                      <a:pt x="308" y="1270"/>
                    </a:lnTo>
                    <a:lnTo>
                      <a:pt x="309" y="1271"/>
                    </a:lnTo>
                    <a:lnTo>
                      <a:pt x="312" y="1270"/>
                    </a:lnTo>
                    <a:lnTo>
                      <a:pt x="312" y="1270"/>
                    </a:lnTo>
                    <a:lnTo>
                      <a:pt x="314" y="1270"/>
                    </a:lnTo>
                    <a:lnTo>
                      <a:pt x="318" y="1269"/>
                    </a:lnTo>
                    <a:lnTo>
                      <a:pt x="320" y="1269"/>
                    </a:lnTo>
                    <a:lnTo>
                      <a:pt x="320" y="1265"/>
                    </a:lnTo>
                    <a:lnTo>
                      <a:pt x="317" y="1262"/>
                    </a:lnTo>
                    <a:lnTo>
                      <a:pt x="313" y="1262"/>
                    </a:lnTo>
                    <a:lnTo>
                      <a:pt x="314" y="1261"/>
                    </a:lnTo>
                    <a:lnTo>
                      <a:pt x="317" y="1261"/>
                    </a:lnTo>
                    <a:lnTo>
                      <a:pt x="318" y="1258"/>
                    </a:lnTo>
                    <a:lnTo>
                      <a:pt x="317" y="1252"/>
                    </a:lnTo>
                    <a:lnTo>
                      <a:pt x="320" y="1250"/>
                    </a:lnTo>
                    <a:lnTo>
                      <a:pt x="316" y="1247"/>
                    </a:lnTo>
                    <a:lnTo>
                      <a:pt x="313" y="1242"/>
                    </a:lnTo>
                    <a:lnTo>
                      <a:pt x="316" y="1240"/>
                    </a:lnTo>
                    <a:lnTo>
                      <a:pt x="317" y="1240"/>
                    </a:lnTo>
                    <a:lnTo>
                      <a:pt x="317" y="1243"/>
                    </a:lnTo>
                    <a:lnTo>
                      <a:pt x="320" y="1243"/>
                    </a:lnTo>
                    <a:lnTo>
                      <a:pt x="320" y="1240"/>
                    </a:lnTo>
                    <a:lnTo>
                      <a:pt x="320" y="1240"/>
                    </a:lnTo>
                    <a:lnTo>
                      <a:pt x="324" y="1240"/>
                    </a:lnTo>
                    <a:lnTo>
                      <a:pt x="327" y="1242"/>
                    </a:lnTo>
                    <a:lnTo>
                      <a:pt x="327" y="1239"/>
                    </a:lnTo>
                    <a:lnTo>
                      <a:pt x="331" y="1242"/>
                    </a:lnTo>
                    <a:lnTo>
                      <a:pt x="332" y="1239"/>
                    </a:lnTo>
                    <a:lnTo>
                      <a:pt x="335" y="1239"/>
                    </a:lnTo>
                    <a:lnTo>
                      <a:pt x="335" y="1239"/>
                    </a:lnTo>
                    <a:lnTo>
                      <a:pt x="337" y="1240"/>
                    </a:lnTo>
                    <a:lnTo>
                      <a:pt x="339" y="1243"/>
                    </a:lnTo>
                    <a:lnTo>
                      <a:pt x="337" y="1243"/>
                    </a:lnTo>
                    <a:lnTo>
                      <a:pt x="335" y="1240"/>
                    </a:lnTo>
                    <a:lnTo>
                      <a:pt x="335" y="1243"/>
                    </a:lnTo>
                    <a:lnTo>
                      <a:pt x="328" y="1242"/>
                    </a:lnTo>
                    <a:lnTo>
                      <a:pt x="325" y="1246"/>
                    </a:lnTo>
                    <a:lnTo>
                      <a:pt x="320" y="1246"/>
                    </a:lnTo>
                    <a:lnTo>
                      <a:pt x="321" y="1248"/>
                    </a:lnTo>
                    <a:lnTo>
                      <a:pt x="320" y="1251"/>
                    </a:lnTo>
                    <a:lnTo>
                      <a:pt x="320" y="1255"/>
                    </a:lnTo>
                    <a:lnTo>
                      <a:pt x="324" y="1258"/>
                    </a:lnTo>
                    <a:lnTo>
                      <a:pt x="327" y="1258"/>
                    </a:lnTo>
                    <a:lnTo>
                      <a:pt x="327" y="1262"/>
                    </a:lnTo>
                    <a:lnTo>
                      <a:pt x="328" y="1262"/>
                    </a:lnTo>
                    <a:lnTo>
                      <a:pt x="329" y="1261"/>
                    </a:lnTo>
                    <a:lnTo>
                      <a:pt x="331" y="1259"/>
                    </a:lnTo>
                    <a:lnTo>
                      <a:pt x="333" y="1263"/>
                    </a:lnTo>
                    <a:lnTo>
                      <a:pt x="337" y="1263"/>
                    </a:lnTo>
                    <a:lnTo>
                      <a:pt x="337" y="1265"/>
                    </a:lnTo>
                    <a:lnTo>
                      <a:pt x="332" y="1270"/>
                    </a:lnTo>
                    <a:lnTo>
                      <a:pt x="332" y="1266"/>
                    </a:lnTo>
                    <a:lnTo>
                      <a:pt x="329" y="1263"/>
                    </a:lnTo>
                    <a:lnTo>
                      <a:pt x="329" y="1263"/>
                    </a:lnTo>
                    <a:lnTo>
                      <a:pt x="328" y="1266"/>
                    </a:lnTo>
                    <a:lnTo>
                      <a:pt x="331" y="1269"/>
                    </a:lnTo>
                    <a:lnTo>
                      <a:pt x="329" y="1271"/>
                    </a:lnTo>
                    <a:lnTo>
                      <a:pt x="328" y="1271"/>
                    </a:lnTo>
                    <a:lnTo>
                      <a:pt x="325" y="1270"/>
                    </a:lnTo>
                    <a:lnTo>
                      <a:pt x="324" y="1274"/>
                    </a:lnTo>
                    <a:lnTo>
                      <a:pt x="321" y="1273"/>
                    </a:lnTo>
                    <a:lnTo>
                      <a:pt x="318" y="1276"/>
                    </a:lnTo>
                    <a:lnTo>
                      <a:pt x="316" y="1274"/>
                    </a:lnTo>
                    <a:lnTo>
                      <a:pt x="310" y="1274"/>
                    </a:lnTo>
                    <a:lnTo>
                      <a:pt x="312" y="1277"/>
                    </a:lnTo>
                    <a:lnTo>
                      <a:pt x="310" y="1280"/>
                    </a:lnTo>
                    <a:lnTo>
                      <a:pt x="310" y="1281"/>
                    </a:lnTo>
                    <a:lnTo>
                      <a:pt x="310" y="1281"/>
                    </a:lnTo>
                    <a:lnTo>
                      <a:pt x="313" y="1284"/>
                    </a:lnTo>
                    <a:lnTo>
                      <a:pt x="316" y="1284"/>
                    </a:lnTo>
                    <a:lnTo>
                      <a:pt x="313" y="1286"/>
                    </a:lnTo>
                    <a:lnTo>
                      <a:pt x="313" y="1286"/>
                    </a:lnTo>
                    <a:lnTo>
                      <a:pt x="314" y="1289"/>
                    </a:lnTo>
                    <a:lnTo>
                      <a:pt x="317" y="1290"/>
                    </a:lnTo>
                    <a:lnTo>
                      <a:pt x="314" y="1293"/>
                    </a:lnTo>
                    <a:lnTo>
                      <a:pt x="317" y="1295"/>
                    </a:lnTo>
                    <a:lnTo>
                      <a:pt x="318" y="1295"/>
                    </a:lnTo>
                    <a:lnTo>
                      <a:pt x="320" y="1297"/>
                    </a:lnTo>
                    <a:lnTo>
                      <a:pt x="317" y="1299"/>
                    </a:lnTo>
                    <a:lnTo>
                      <a:pt x="317" y="1299"/>
                    </a:lnTo>
                    <a:lnTo>
                      <a:pt x="318" y="1301"/>
                    </a:lnTo>
                    <a:lnTo>
                      <a:pt x="320" y="1304"/>
                    </a:lnTo>
                    <a:lnTo>
                      <a:pt x="316" y="1307"/>
                    </a:lnTo>
                    <a:lnTo>
                      <a:pt x="317" y="1308"/>
                    </a:lnTo>
                    <a:lnTo>
                      <a:pt x="316" y="1309"/>
                    </a:lnTo>
                    <a:lnTo>
                      <a:pt x="312" y="1311"/>
                    </a:lnTo>
                    <a:lnTo>
                      <a:pt x="312" y="1311"/>
                    </a:lnTo>
                    <a:lnTo>
                      <a:pt x="309" y="1316"/>
                    </a:lnTo>
                    <a:lnTo>
                      <a:pt x="308" y="1320"/>
                    </a:lnTo>
                    <a:lnTo>
                      <a:pt x="308" y="1324"/>
                    </a:lnTo>
                    <a:lnTo>
                      <a:pt x="309" y="1330"/>
                    </a:lnTo>
                    <a:lnTo>
                      <a:pt x="309" y="1330"/>
                    </a:lnTo>
                    <a:lnTo>
                      <a:pt x="312" y="1331"/>
                    </a:lnTo>
                    <a:lnTo>
                      <a:pt x="313" y="1334"/>
                    </a:lnTo>
                    <a:lnTo>
                      <a:pt x="317" y="1328"/>
                    </a:lnTo>
                    <a:lnTo>
                      <a:pt x="320" y="1328"/>
                    </a:lnTo>
                    <a:lnTo>
                      <a:pt x="321" y="1330"/>
                    </a:lnTo>
                    <a:lnTo>
                      <a:pt x="321" y="1331"/>
                    </a:lnTo>
                    <a:lnTo>
                      <a:pt x="322" y="1331"/>
                    </a:lnTo>
                    <a:lnTo>
                      <a:pt x="322" y="1331"/>
                    </a:lnTo>
                    <a:lnTo>
                      <a:pt x="324" y="1328"/>
                    </a:lnTo>
                    <a:lnTo>
                      <a:pt x="324" y="1327"/>
                    </a:lnTo>
                    <a:lnTo>
                      <a:pt x="328" y="1324"/>
                    </a:lnTo>
                    <a:lnTo>
                      <a:pt x="327" y="1319"/>
                    </a:lnTo>
                    <a:lnTo>
                      <a:pt x="329" y="1315"/>
                    </a:lnTo>
                    <a:lnTo>
                      <a:pt x="329" y="1315"/>
                    </a:lnTo>
                    <a:lnTo>
                      <a:pt x="327" y="1312"/>
                    </a:lnTo>
                    <a:lnTo>
                      <a:pt x="325" y="1308"/>
                    </a:lnTo>
                    <a:lnTo>
                      <a:pt x="325" y="1308"/>
                    </a:lnTo>
                    <a:lnTo>
                      <a:pt x="328" y="1304"/>
                    </a:lnTo>
                    <a:lnTo>
                      <a:pt x="333" y="1301"/>
                    </a:lnTo>
                    <a:lnTo>
                      <a:pt x="337" y="1303"/>
                    </a:lnTo>
                    <a:lnTo>
                      <a:pt x="337" y="1301"/>
                    </a:lnTo>
                    <a:lnTo>
                      <a:pt x="333" y="1300"/>
                    </a:lnTo>
                    <a:lnTo>
                      <a:pt x="335" y="1297"/>
                    </a:lnTo>
                    <a:lnTo>
                      <a:pt x="340" y="1301"/>
                    </a:lnTo>
                    <a:lnTo>
                      <a:pt x="341" y="1304"/>
                    </a:lnTo>
                    <a:lnTo>
                      <a:pt x="339" y="1307"/>
                    </a:lnTo>
                    <a:lnTo>
                      <a:pt x="336" y="1307"/>
                    </a:lnTo>
                    <a:lnTo>
                      <a:pt x="336" y="1307"/>
                    </a:lnTo>
                    <a:lnTo>
                      <a:pt x="335" y="1309"/>
                    </a:lnTo>
                    <a:lnTo>
                      <a:pt x="333" y="1314"/>
                    </a:lnTo>
                    <a:lnTo>
                      <a:pt x="331" y="1312"/>
                    </a:lnTo>
                    <a:lnTo>
                      <a:pt x="331" y="1312"/>
                    </a:lnTo>
                    <a:lnTo>
                      <a:pt x="332" y="1316"/>
                    </a:lnTo>
                    <a:lnTo>
                      <a:pt x="333" y="1320"/>
                    </a:lnTo>
                    <a:lnTo>
                      <a:pt x="335" y="1322"/>
                    </a:lnTo>
                    <a:lnTo>
                      <a:pt x="336" y="1320"/>
                    </a:lnTo>
                    <a:lnTo>
                      <a:pt x="336" y="1316"/>
                    </a:lnTo>
                    <a:lnTo>
                      <a:pt x="337" y="1315"/>
                    </a:lnTo>
                    <a:lnTo>
                      <a:pt x="339" y="1318"/>
                    </a:lnTo>
                    <a:lnTo>
                      <a:pt x="336" y="1323"/>
                    </a:lnTo>
                    <a:lnTo>
                      <a:pt x="340" y="1326"/>
                    </a:lnTo>
                    <a:lnTo>
                      <a:pt x="340" y="1327"/>
                    </a:lnTo>
                    <a:lnTo>
                      <a:pt x="337" y="1327"/>
                    </a:lnTo>
                    <a:lnTo>
                      <a:pt x="335" y="1330"/>
                    </a:lnTo>
                    <a:lnTo>
                      <a:pt x="337" y="1331"/>
                    </a:lnTo>
                    <a:lnTo>
                      <a:pt x="340" y="1335"/>
                    </a:lnTo>
                    <a:lnTo>
                      <a:pt x="343" y="1335"/>
                    </a:lnTo>
                    <a:lnTo>
                      <a:pt x="344" y="1335"/>
                    </a:lnTo>
                    <a:lnTo>
                      <a:pt x="346" y="1339"/>
                    </a:lnTo>
                    <a:lnTo>
                      <a:pt x="347" y="1339"/>
                    </a:lnTo>
                    <a:lnTo>
                      <a:pt x="350" y="1339"/>
                    </a:lnTo>
                    <a:lnTo>
                      <a:pt x="352" y="1339"/>
                    </a:lnTo>
                    <a:lnTo>
                      <a:pt x="354" y="1338"/>
                    </a:lnTo>
                    <a:lnTo>
                      <a:pt x="354" y="1338"/>
                    </a:lnTo>
                    <a:lnTo>
                      <a:pt x="359" y="1338"/>
                    </a:lnTo>
                    <a:lnTo>
                      <a:pt x="363" y="1335"/>
                    </a:lnTo>
                    <a:lnTo>
                      <a:pt x="367" y="1338"/>
                    </a:lnTo>
                    <a:lnTo>
                      <a:pt x="374" y="1333"/>
                    </a:lnTo>
                    <a:lnTo>
                      <a:pt x="374" y="1333"/>
                    </a:lnTo>
                    <a:lnTo>
                      <a:pt x="384" y="1333"/>
                    </a:lnTo>
                    <a:lnTo>
                      <a:pt x="384" y="1333"/>
                    </a:lnTo>
                    <a:lnTo>
                      <a:pt x="389" y="1333"/>
                    </a:lnTo>
                    <a:lnTo>
                      <a:pt x="392" y="1331"/>
                    </a:lnTo>
                    <a:lnTo>
                      <a:pt x="394" y="1333"/>
                    </a:lnTo>
                    <a:lnTo>
                      <a:pt x="394" y="1333"/>
                    </a:lnTo>
                    <a:lnTo>
                      <a:pt x="400" y="1330"/>
                    </a:lnTo>
                    <a:lnTo>
                      <a:pt x="404" y="1328"/>
                    </a:lnTo>
                    <a:lnTo>
                      <a:pt x="409" y="1328"/>
                    </a:lnTo>
                    <a:lnTo>
                      <a:pt x="415" y="1330"/>
                    </a:lnTo>
                    <a:lnTo>
                      <a:pt x="415" y="1330"/>
                    </a:lnTo>
                    <a:lnTo>
                      <a:pt x="417" y="1328"/>
                    </a:lnTo>
                    <a:lnTo>
                      <a:pt x="422" y="1330"/>
                    </a:lnTo>
                    <a:lnTo>
                      <a:pt x="426" y="1326"/>
                    </a:lnTo>
                    <a:lnTo>
                      <a:pt x="426" y="1326"/>
                    </a:lnTo>
                    <a:lnTo>
                      <a:pt x="442" y="1326"/>
                    </a:lnTo>
                    <a:lnTo>
                      <a:pt x="450" y="1324"/>
                    </a:lnTo>
                    <a:lnTo>
                      <a:pt x="457" y="1323"/>
                    </a:lnTo>
                    <a:lnTo>
                      <a:pt x="458" y="1323"/>
                    </a:lnTo>
                    <a:lnTo>
                      <a:pt x="458" y="1324"/>
                    </a:lnTo>
                    <a:lnTo>
                      <a:pt x="458" y="1324"/>
                    </a:lnTo>
                    <a:lnTo>
                      <a:pt x="461" y="1323"/>
                    </a:lnTo>
                    <a:lnTo>
                      <a:pt x="465" y="1323"/>
                    </a:lnTo>
                    <a:lnTo>
                      <a:pt x="472" y="1324"/>
                    </a:lnTo>
                    <a:lnTo>
                      <a:pt x="478" y="1324"/>
                    </a:lnTo>
                    <a:lnTo>
                      <a:pt x="481" y="1323"/>
                    </a:lnTo>
                    <a:lnTo>
                      <a:pt x="484" y="1322"/>
                    </a:lnTo>
                    <a:lnTo>
                      <a:pt x="488" y="1323"/>
                    </a:lnTo>
                    <a:lnTo>
                      <a:pt x="492" y="1320"/>
                    </a:lnTo>
                    <a:lnTo>
                      <a:pt x="491" y="1319"/>
                    </a:lnTo>
                    <a:lnTo>
                      <a:pt x="491" y="1318"/>
                    </a:lnTo>
                    <a:lnTo>
                      <a:pt x="497" y="1316"/>
                    </a:lnTo>
                    <a:lnTo>
                      <a:pt x="497" y="1318"/>
                    </a:lnTo>
                    <a:lnTo>
                      <a:pt x="496" y="1319"/>
                    </a:lnTo>
                    <a:lnTo>
                      <a:pt x="499" y="1320"/>
                    </a:lnTo>
                    <a:lnTo>
                      <a:pt x="500" y="1319"/>
                    </a:lnTo>
                    <a:lnTo>
                      <a:pt x="500" y="1319"/>
                    </a:lnTo>
                    <a:lnTo>
                      <a:pt x="503" y="1319"/>
                    </a:lnTo>
                    <a:lnTo>
                      <a:pt x="504" y="1319"/>
                    </a:lnTo>
                    <a:lnTo>
                      <a:pt x="507" y="1318"/>
                    </a:lnTo>
                    <a:lnTo>
                      <a:pt x="510" y="1318"/>
                    </a:lnTo>
                    <a:lnTo>
                      <a:pt x="510" y="1318"/>
                    </a:lnTo>
                    <a:lnTo>
                      <a:pt x="514" y="1315"/>
                    </a:lnTo>
                    <a:lnTo>
                      <a:pt x="521" y="1314"/>
                    </a:lnTo>
                    <a:lnTo>
                      <a:pt x="519" y="1309"/>
                    </a:lnTo>
                    <a:lnTo>
                      <a:pt x="522" y="1309"/>
                    </a:lnTo>
                    <a:lnTo>
                      <a:pt x="523" y="1311"/>
                    </a:lnTo>
                    <a:lnTo>
                      <a:pt x="526" y="1309"/>
                    </a:lnTo>
                    <a:lnTo>
                      <a:pt x="529" y="1311"/>
                    </a:lnTo>
                    <a:lnTo>
                      <a:pt x="531" y="1309"/>
                    </a:lnTo>
                    <a:lnTo>
                      <a:pt x="533" y="1312"/>
                    </a:lnTo>
                    <a:lnTo>
                      <a:pt x="533" y="1312"/>
                    </a:lnTo>
                    <a:lnTo>
                      <a:pt x="537" y="1311"/>
                    </a:lnTo>
                    <a:lnTo>
                      <a:pt x="541" y="1309"/>
                    </a:lnTo>
                    <a:lnTo>
                      <a:pt x="542" y="1311"/>
                    </a:lnTo>
                    <a:lnTo>
                      <a:pt x="541" y="1312"/>
                    </a:lnTo>
                    <a:lnTo>
                      <a:pt x="540" y="1312"/>
                    </a:lnTo>
                    <a:lnTo>
                      <a:pt x="540" y="1314"/>
                    </a:lnTo>
                    <a:lnTo>
                      <a:pt x="541" y="1315"/>
                    </a:lnTo>
                    <a:lnTo>
                      <a:pt x="545" y="1314"/>
                    </a:lnTo>
                    <a:lnTo>
                      <a:pt x="546" y="1314"/>
                    </a:lnTo>
                    <a:lnTo>
                      <a:pt x="548" y="1311"/>
                    </a:lnTo>
                    <a:lnTo>
                      <a:pt x="549" y="1309"/>
                    </a:lnTo>
                    <a:lnTo>
                      <a:pt x="553" y="1309"/>
                    </a:lnTo>
                    <a:lnTo>
                      <a:pt x="554" y="1308"/>
                    </a:lnTo>
                    <a:lnTo>
                      <a:pt x="557" y="1309"/>
                    </a:lnTo>
                    <a:lnTo>
                      <a:pt x="559" y="1308"/>
                    </a:lnTo>
                    <a:lnTo>
                      <a:pt x="560" y="1309"/>
                    </a:lnTo>
                    <a:lnTo>
                      <a:pt x="561" y="1308"/>
                    </a:lnTo>
                    <a:lnTo>
                      <a:pt x="564" y="1311"/>
                    </a:lnTo>
                    <a:lnTo>
                      <a:pt x="559" y="1314"/>
                    </a:lnTo>
                    <a:lnTo>
                      <a:pt x="560" y="1316"/>
                    </a:lnTo>
                    <a:lnTo>
                      <a:pt x="557" y="1318"/>
                    </a:lnTo>
                    <a:lnTo>
                      <a:pt x="550" y="1319"/>
                    </a:lnTo>
                    <a:lnTo>
                      <a:pt x="549" y="1318"/>
                    </a:lnTo>
                    <a:lnTo>
                      <a:pt x="548" y="1318"/>
                    </a:lnTo>
                    <a:lnTo>
                      <a:pt x="545" y="1320"/>
                    </a:lnTo>
                    <a:lnTo>
                      <a:pt x="545" y="1322"/>
                    </a:lnTo>
                    <a:lnTo>
                      <a:pt x="542" y="1323"/>
                    </a:lnTo>
                    <a:lnTo>
                      <a:pt x="549" y="1326"/>
                    </a:lnTo>
                    <a:lnTo>
                      <a:pt x="552" y="1324"/>
                    </a:lnTo>
                    <a:lnTo>
                      <a:pt x="552" y="1327"/>
                    </a:lnTo>
                    <a:lnTo>
                      <a:pt x="549" y="1328"/>
                    </a:lnTo>
                    <a:lnTo>
                      <a:pt x="548" y="1328"/>
                    </a:lnTo>
                    <a:lnTo>
                      <a:pt x="548" y="1328"/>
                    </a:lnTo>
                    <a:lnTo>
                      <a:pt x="541" y="1330"/>
                    </a:lnTo>
                    <a:lnTo>
                      <a:pt x="535" y="1333"/>
                    </a:lnTo>
                    <a:lnTo>
                      <a:pt x="535" y="1333"/>
                    </a:lnTo>
                    <a:lnTo>
                      <a:pt x="538" y="1333"/>
                    </a:lnTo>
                    <a:lnTo>
                      <a:pt x="542" y="1331"/>
                    </a:lnTo>
                    <a:lnTo>
                      <a:pt x="545" y="1330"/>
                    </a:lnTo>
                    <a:lnTo>
                      <a:pt x="549" y="1330"/>
                    </a:lnTo>
                    <a:lnTo>
                      <a:pt x="550" y="1328"/>
                    </a:lnTo>
                    <a:lnTo>
                      <a:pt x="550" y="1328"/>
                    </a:lnTo>
                    <a:lnTo>
                      <a:pt x="554" y="1328"/>
                    </a:lnTo>
                    <a:lnTo>
                      <a:pt x="557" y="1328"/>
                    </a:lnTo>
                    <a:lnTo>
                      <a:pt x="559" y="1330"/>
                    </a:lnTo>
                    <a:lnTo>
                      <a:pt x="556" y="1331"/>
                    </a:lnTo>
                    <a:lnTo>
                      <a:pt x="552" y="1330"/>
                    </a:lnTo>
                    <a:lnTo>
                      <a:pt x="544" y="1333"/>
                    </a:lnTo>
                    <a:lnTo>
                      <a:pt x="544" y="1334"/>
                    </a:lnTo>
                    <a:lnTo>
                      <a:pt x="538" y="1339"/>
                    </a:lnTo>
                    <a:lnTo>
                      <a:pt x="538" y="1339"/>
                    </a:lnTo>
                    <a:lnTo>
                      <a:pt x="542" y="1338"/>
                    </a:lnTo>
                    <a:lnTo>
                      <a:pt x="546" y="1337"/>
                    </a:lnTo>
                    <a:lnTo>
                      <a:pt x="546" y="1338"/>
                    </a:lnTo>
                    <a:lnTo>
                      <a:pt x="542" y="1341"/>
                    </a:lnTo>
                    <a:lnTo>
                      <a:pt x="542" y="1342"/>
                    </a:lnTo>
                    <a:lnTo>
                      <a:pt x="546" y="1342"/>
                    </a:lnTo>
                    <a:lnTo>
                      <a:pt x="548" y="1343"/>
                    </a:lnTo>
                    <a:lnTo>
                      <a:pt x="548" y="1343"/>
                    </a:lnTo>
                    <a:lnTo>
                      <a:pt x="541" y="1345"/>
                    </a:lnTo>
                    <a:lnTo>
                      <a:pt x="534" y="1345"/>
                    </a:lnTo>
                    <a:lnTo>
                      <a:pt x="535" y="1346"/>
                    </a:lnTo>
                    <a:lnTo>
                      <a:pt x="535" y="1346"/>
                    </a:lnTo>
                    <a:lnTo>
                      <a:pt x="538" y="1346"/>
                    </a:lnTo>
                    <a:lnTo>
                      <a:pt x="542" y="1347"/>
                    </a:lnTo>
                    <a:lnTo>
                      <a:pt x="546" y="1350"/>
                    </a:lnTo>
                    <a:lnTo>
                      <a:pt x="549" y="1350"/>
                    </a:lnTo>
                    <a:lnTo>
                      <a:pt x="550" y="1350"/>
                    </a:lnTo>
                    <a:lnTo>
                      <a:pt x="550" y="1350"/>
                    </a:lnTo>
                    <a:lnTo>
                      <a:pt x="548" y="1349"/>
                    </a:lnTo>
                    <a:lnTo>
                      <a:pt x="545" y="1346"/>
                    </a:lnTo>
                    <a:lnTo>
                      <a:pt x="542" y="1347"/>
                    </a:lnTo>
                    <a:lnTo>
                      <a:pt x="542" y="1346"/>
                    </a:lnTo>
                    <a:lnTo>
                      <a:pt x="548" y="1345"/>
                    </a:lnTo>
                    <a:lnTo>
                      <a:pt x="553" y="1347"/>
                    </a:lnTo>
                    <a:lnTo>
                      <a:pt x="554" y="1346"/>
                    </a:lnTo>
                    <a:lnTo>
                      <a:pt x="557" y="1347"/>
                    </a:lnTo>
                    <a:lnTo>
                      <a:pt x="561" y="1345"/>
                    </a:lnTo>
                    <a:lnTo>
                      <a:pt x="565" y="1345"/>
                    </a:lnTo>
                    <a:lnTo>
                      <a:pt x="565" y="1345"/>
                    </a:lnTo>
                    <a:lnTo>
                      <a:pt x="568" y="1342"/>
                    </a:lnTo>
                    <a:lnTo>
                      <a:pt x="572" y="1339"/>
                    </a:lnTo>
                    <a:lnTo>
                      <a:pt x="580" y="1335"/>
                    </a:lnTo>
                    <a:lnTo>
                      <a:pt x="580" y="1338"/>
                    </a:lnTo>
                    <a:lnTo>
                      <a:pt x="580" y="1338"/>
                    </a:lnTo>
                    <a:lnTo>
                      <a:pt x="578" y="1339"/>
                    </a:lnTo>
                    <a:lnTo>
                      <a:pt x="575" y="1339"/>
                    </a:lnTo>
                    <a:lnTo>
                      <a:pt x="575" y="1342"/>
                    </a:lnTo>
                    <a:lnTo>
                      <a:pt x="569" y="1345"/>
                    </a:lnTo>
                    <a:lnTo>
                      <a:pt x="573" y="1346"/>
                    </a:lnTo>
                    <a:lnTo>
                      <a:pt x="572" y="1347"/>
                    </a:lnTo>
                    <a:lnTo>
                      <a:pt x="567" y="1347"/>
                    </a:lnTo>
                    <a:lnTo>
                      <a:pt x="563" y="1350"/>
                    </a:lnTo>
                    <a:lnTo>
                      <a:pt x="564" y="1353"/>
                    </a:lnTo>
                    <a:lnTo>
                      <a:pt x="556" y="1357"/>
                    </a:lnTo>
                    <a:lnTo>
                      <a:pt x="556" y="1357"/>
                    </a:lnTo>
                    <a:lnTo>
                      <a:pt x="559" y="1357"/>
                    </a:lnTo>
                    <a:lnTo>
                      <a:pt x="563" y="1354"/>
                    </a:lnTo>
                    <a:lnTo>
                      <a:pt x="563" y="1356"/>
                    </a:lnTo>
                    <a:lnTo>
                      <a:pt x="559" y="1357"/>
                    </a:lnTo>
                    <a:lnTo>
                      <a:pt x="560" y="1362"/>
                    </a:lnTo>
                    <a:lnTo>
                      <a:pt x="557" y="1361"/>
                    </a:lnTo>
                    <a:lnTo>
                      <a:pt x="556" y="1362"/>
                    </a:lnTo>
                    <a:lnTo>
                      <a:pt x="556" y="1365"/>
                    </a:lnTo>
                    <a:lnTo>
                      <a:pt x="554" y="1368"/>
                    </a:lnTo>
                    <a:lnTo>
                      <a:pt x="557" y="1366"/>
                    </a:lnTo>
                    <a:lnTo>
                      <a:pt x="557" y="1368"/>
                    </a:lnTo>
                    <a:lnTo>
                      <a:pt x="556" y="1369"/>
                    </a:lnTo>
                    <a:lnTo>
                      <a:pt x="556" y="1370"/>
                    </a:lnTo>
                    <a:lnTo>
                      <a:pt x="559" y="1372"/>
                    </a:lnTo>
                    <a:lnTo>
                      <a:pt x="563" y="1387"/>
                    </a:lnTo>
                    <a:lnTo>
                      <a:pt x="565" y="1389"/>
                    </a:lnTo>
                    <a:lnTo>
                      <a:pt x="564" y="1391"/>
                    </a:lnTo>
                    <a:lnTo>
                      <a:pt x="560" y="1389"/>
                    </a:lnTo>
                    <a:lnTo>
                      <a:pt x="554" y="1380"/>
                    </a:lnTo>
                    <a:lnTo>
                      <a:pt x="554" y="1380"/>
                    </a:lnTo>
                    <a:lnTo>
                      <a:pt x="549" y="1379"/>
                    </a:lnTo>
                    <a:lnTo>
                      <a:pt x="546" y="1379"/>
                    </a:lnTo>
                    <a:lnTo>
                      <a:pt x="544" y="1376"/>
                    </a:lnTo>
                    <a:lnTo>
                      <a:pt x="544" y="1375"/>
                    </a:lnTo>
                    <a:lnTo>
                      <a:pt x="544" y="1375"/>
                    </a:lnTo>
                    <a:lnTo>
                      <a:pt x="545" y="1375"/>
                    </a:lnTo>
                    <a:lnTo>
                      <a:pt x="548" y="1375"/>
                    </a:lnTo>
                    <a:lnTo>
                      <a:pt x="549" y="1372"/>
                    </a:lnTo>
                    <a:lnTo>
                      <a:pt x="550" y="1373"/>
                    </a:lnTo>
                    <a:lnTo>
                      <a:pt x="550" y="1368"/>
                    </a:lnTo>
                    <a:lnTo>
                      <a:pt x="546" y="1369"/>
                    </a:lnTo>
                    <a:lnTo>
                      <a:pt x="545" y="1369"/>
                    </a:lnTo>
                    <a:lnTo>
                      <a:pt x="542" y="1372"/>
                    </a:lnTo>
                    <a:lnTo>
                      <a:pt x="542" y="1372"/>
                    </a:lnTo>
                    <a:lnTo>
                      <a:pt x="537" y="1372"/>
                    </a:lnTo>
                    <a:lnTo>
                      <a:pt x="533" y="1372"/>
                    </a:lnTo>
                    <a:lnTo>
                      <a:pt x="527" y="1372"/>
                    </a:lnTo>
                    <a:lnTo>
                      <a:pt x="522" y="1373"/>
                    </a:lnTo>
                    <a:lnTo>
                      <a:pt x="521" y="1375"/>
                    </a:lnTo>
                    <a:lnTo>
                      <a:pt x="521" y="1375"/>
                    </a:lnTo>
                    <a:lnTo>
                      <a:pt x="523" y="1377"/>
                    </a:lnTo>
                    <a:lnTo>
                      <a:pt x="527" y="1379"/>
                    </a:lnTo>
                    <a:lnTo>
                      <a:pt x="533" y="1381"/>
                    </a:lnTo>
                    <a:lnTo>
                      <a:pt x="535" y="1380"/>
                    </a:lnTo>
                    <a:lnTo>
                      <a:pt x="535" y="1383"/>
                    </a:lnTo>
                    <a:lnTo>
                      <a:pt x="537" y="1383"/>
                    </a:lnTo>
                    <a:lnTo>
                      <a:pt x="538" y="1380"/>
                    </a:lnTo>
                    <a:lnTo>
                      <a:pt x="540" y="1381"/>
                    </a:lnTo>
                    <a:lnTo>
                      <a:pt x="541" y="1384"/>
                    </a:lnTo>
                    <a:lnTo>
                      <a:pt x="541" y="1385"/>
                    </a:lnTo>
                    <a:lnTo>
                      <a:pt x="542" y="1387"/>
                    </a:lnTo>
                    <a:lnTo>
                      <a:pt x="541" y="1387"/>
                    </a:lnTo>
                    <a:lnTo>
                      <a:pt x="540" y="1388"/>
                    </a:lnTo>
                    <a:lnTo>
                      <a:pt x="538" y="1387"/>
                    </a:lnTo>
                    <a:lnTo>
                      <a:pt x="540" y="1385"/>
                    </a:lnTo>
                    <a:lnTo>
                      <a:pt x="537" y="1384"/>
                    </a:lnTo>
                    <a:lnTo>
                      <a:pt x="535" y="1385"/>
                    </a:lnTo>
                    <a:lnTo>
                      <a:pt x="534" y="1387"/>
                    </a:lnTo>
                    <a:lnTo>
                      <a:pt x="535" y="1389"/>
                    </a:lnTo>
                    <a:lnTo>
                      <a:pt x="534" y="1389"/>
                    </a:lnTo>
                    <a:lnTo>
                      <a:pt x="527" y="1385"/>
                    </a:lnTo>
                    <a:lnTo>
                      <a:pt x="530" y="1385"/>
                    </a:lnTo>
                    <a:lnTo>
                      <a:pt x="527" y="1383"/>
                    </a:lnTo>
                    <a:lnTo>
                      <a:pt x="523" y="1384"/>
                    </a:lnTo>
                    <a:lnTo>
                      <a:pt x="521" y="1380"/>
                    </a:lnTo>
                    <a:lnTo>
                      <a:pt x="521" y="1380"/>
                    </a:lnTo>
                    <a:lnTo>
                      <a:pt x="519" y="1380"/>
                    </a:lnTo>
                    <a:lnTo>
                      <a:pt x="519" y="1380"/>
                    </a:lnTo>
                    <a:lnTo>
                      <a:pt x="510" y="1380"/>
                    </a:lnTo>
                    <a:lnTo>
                      <a:pt x="502" y="1379"/>
                    </a:lnTo>
                    <a:lnTo>
                      <a:pt x="502" y="1379"/>
                    </a:lnTo>
                    <a:lnTo>
                      <a:pt x="496" y="1380"/>
                    </a:lnTo>
                    <a:lnTo>
                      <a:pt x="493" y="1384"/>
                    </a:lnTo>
                    <a:lnTo>
                      <a:pt x="489" y="1384"/>
                    </a:lnTo>
                    <a:lnTo>
                      <a:pt x="489" y="1384"/>
                    </a:lnTo>
                    <a:lnTo>
                      <a:pt x="492" y="1385"/>
                    </a:lnTo>
                    <a:lnTo>
                      <a:pt x="493" y="1387"/>
                    </a:lnTo>
                    <a:lnTo>
                      <a:pt x="495" y="1385"/>
                    </a:lnTo>
                    <a:lnTo>
                      <a:pt x="497" y="1384"/>
                    </a:lnTo>
                    <a:lnTo>
                      <a:pt x="499" y="1385"/>
                    </a:lnTo>
                    <a:lnTo>
                      <a:pt x="500" y="1387"/>
                    </a:lnTo>
                    <a:lnTo>
                      <a:pt x="502" y="1388"/>
                    </a:lnTo>
                    <a:lnTo>
                      <a:pt x="502" y="1388"/>
                    </a:lnTo>
                    <a:lnTo>
                      <a:pt x="500" y="1391"/>
                    </a:lnTo>
                    <a:lnTo>
                      <a:pt x="496" y="1391"/>
                    </a:lnTo>
                    <a:lnTo>
                      <a:pt x="496" y="1391"/>
                    </a:lnTo>
                    <a:lnTo>
                      <a:pt x="492" y="1396"/>
                    </a:lnTo>
                    <a:lnTo>
                      <a:pt x="488" y="1402"/>
                    </a:lnTo>
                    <a:lnTo>
                      <a:pt x="484" y="1402"/>
                    </a:lnTo>
                    <a:lnTo>
                      <a:pt x="483" y="1403"/>
                    </a:lnTo>
                    <a:lnTo>
                      <a:pt x="472" y="1396"/>
                    </a:lnTo>
                    <a:lnTo>
                      <a:pt x="472" y="1394"/>
                    </a:lnTo>
                    <a:lnTo>
                      <a:pt x="472" y="1394"/>
                    </a:lnTo>
                    <a:lnTo>
                      <a:pt x="474" y="1394"/>
                    </a:lnTo>
                    <a:lnTo>
                      <a:pt x="477" y="1394"/>
                    </a:lnTo>
                    <a:lnTo>
                      <a:pt x="478" y="1394"/>
                    </a:lnTo>
                    <a:lnTo>
                      <a:pt x="478" y="1394"/>
                    </a:lnTo>
                    <a:lnTo>
                      <a:pt x="473" y="1392"/>
                    </a:lnTo>
                    <a:lnTo>
                      <a:pt x="469" y="1394"/>
                    </a:lnTo>
                    <a:lnTo>
                      <a:pt x="469" y="1394"/>
                    </a:lnTo>
                    <a:lnTo>
                      <a:pt x="462" y="1391"/>
                    </a:lnTo>
                    <a:lnTo>
                      <a:pt x="457" y="1391"/>
                    </a:lnTo>
                    <a:lnTo>
                      <a:pt x="457" y="1391"/>
                    </a:lnTo>
                    <a:lnTo>
                      <a:pt x="453" y="1387"/>
                    </a:lnTo>
                    <a:lnTo>
                      <a:pt x="449" y="1384"/>
                    </a:lnTo>
                    <a:lnTo>
                      <a:pt x="445" y="1383"/>
                    </a:lnTo>
                    <a:lnTo>
                      <a:pt x="443" y="1381"/>
                    </a:lnTo>
                    <a:lnTo>
                      <a:pt x="443" y="1381"/>
                    </a:lnTo>
                    <a:lnTo>
                      <a:pt x="439" y="1384"/>
                    </a:lnTo>
                    <a:lnTo>
                      <a:pt x="435" y="1388"/>
                    </a:lnTo>
                    <a:lnTo>
                      <a:pt x="435" y="1388"/>
                    </a:lnTo>
                    <a:lnTo>
                      <a:pt x="434" y="1392"/>
                    </a:lnTo>
                    <a:lnTo>
                      <a:pt x="432" y="1396"/>
                    </a:lnTo>
                    <a:lnTo>
                      <a:pt x="432" y="1400"/>
                    </a:lnTo>
                    <a:lnTo>
                      <a:pt x="432" y="1406"/>
                    </a:lnTo>
                    <a:lnTo>
                      <a:pt x="428" y="1411"/>
                    </a:lnTo>
                    <a:lnTo>
                      <a:pt x="428" y="1414"/>
                    </a:lnTo>
                    <a:lnTo>
                      <a:pt x="426" y="1415"/>
                    </a:lnTo>
                    <a:lnTo>
                      <a:pt x="426" y="1415"/>
                    </a:lnTo>
                    <a:lnTo>
                      <a:pt x="424" y="1419"/>
                    </a:lnTo>
                    <a:lnTo>
                      <a:pt x="423" y="1423"/>
                    </a:lnTo>
                    <a:lnTo>
                      <a:pt x="423" y="1423"/>
                    </a:lnTo>
                    <a:lnTo>
                      <a:pt x="419" y="1425"/>
                    </a:lnTo>
                    <a:lnTo>
                      <a:pt x="415" y="1427"/>
                    </a:lnTo>
                    <a:lnTo>
                      <a:pt x="407" y="1433"/>
                    </a:lnTo>
                    <a:lnTo>
                      <a:pt x="407" y="1434"/>
                    </a:lnTo>
                    <a:lnTo>
                      <a:pt x="404" y="1437"/>
                    </a:lnTo>
                    <a:lnTo>
                      <a:pt x="405" y="1440"/>
                    </a:lnTo>
                    <a:lnTo>
                      <a:pt x="404" y="1441"/>
                    </a:lnTo>
                    <a:lnTo>
                      <a:pt x="405" y="1446"/>
                    </a:lnTo>
                    <a:lnTo>
                      <a:pt x="405" y="1446"/>
                    </a:lnTo>
                    <a:lnTo>
                      <a:pt x="401" y="1449"/>
                    </a:lnTo>
                    <a:lnTo>
                      <a:pt x="398" y="1452"/>
                    </a:lnTo>
                    <a:lnTo>
                      <a:pt x="398" y="1452"/>
                    </a:lnTo>
                    <a:lnTo>
                      <a:pt x="396" y="1455"/>
                    </a:lnTo>
                    <a:lnTo>
                      <a:pt x="394" y="1459"/>
                    </a:lnTo>
                    <a:lnTo>
                      <a:pt x="392" y="1463"/>
                    </a:lnTo>
                    <a:lnTo>
                      <a:pt x="389" y="1465"/>
                    </a:lnTo>
                    <a:lnTo>
                      <a:pt x="390" y="1470"/>
                    </a:lnTo>
                    <a:lnTo>
                      <a:pt x="394" y="1471"/>
                    </a:lnTo>
                    <a:lnTo>
                      <a:pt x="394" y="1472"/>
                    </a:lnTo>
                    <a:lnTo>
                      <a:pt x="394" y="1472"/>
                    </a:lnTo>
                    <a:lnTo>
                      <a:pt x="389" y="1476"/>
                    </a:lnTo>
                    <a:lnTo>
                      <a:pt x="386" y="1480"/>
                    </a:lnTo>
                    <a:lnTo>
                      <a:pt x="384" y="1484"/>
                    </a:lnTo>
                    <a:lnTo>
                      <a:pt x="381" y="1487"/>
                    </a:lnTo>
                    <a:lnTo>
                      <a:pt x="382" y="1493"/>
                    </a:lnTo>
                    <a:lnTo>
                      <a:pt x="381" y="1494"/>
                    </a:lnTo>
                    <a:lnTo>
                      <a:pt x="381" y="1495"/>
                    </a:lnTo>
                    <a:lnTo>
                      <a:pt x="381" y="1497"/>
                    </a:lnTo>
                    <a:lnTo>
                      <a:pt x="378" y="1499"/>
                    </a:lnTo>
                    <a:lnTo>
                      <a:pt x="378" y="1501"/>
                    </a:lnTo>
                    <a:lnTo>
                      <a:pt x="378" y="1501"/>
                    </a:lnTo>
                    <a:lnTo>
                      <a:pt x="375" y="1502"/>
                    </a:lnTo>
                    <a:lnTo>
                      <a:pt x="374" y="1503"/>
                    </a:lnTo>
                    <a:lnTo>
                      <a:pt x="371" y="1508"/>
                    </a:lnTo>
                    <a:lnTo>
                      <a:pt x="371" y="1508"/>
                    </a:lnTo>
                    <a:lnTo>
                      <a:pt x="367" y="1510"/>
                    </a:lnTo>
                    <a:lnTo>
                      <a:pt x="365" y="1512"/>
                    </a:lnTo>
                    <a:lnTo>
                      <a:pt x="365" y="1514"/>
                    </a:lnTo>
                    <a:lnTo>
                      <a:pt x="366" y="1516"/>
                    </a:lnTo>
                    <a:lnTo>
                      <a:pt x="365" y="1518"/>
                    </a:lnTo>
                    <a:lnTo>
                      <a:pt x="365" y="1520"/>
                    </a:lnTo>
                    <a:lnTo>
                      <a:pt x="367" y="1521"/>
                    </a:lnTo>
                    <a:lnTo>
                      <a:pt x="367" y="1521"/>
                    </a:lnTo>
                    <a:lnTo>
                      <a:pt x="374" y="1517"/>
                    </a:lnTo>
                    <a:lnTo>
                      <a:pt x="378" y="1517"/>
                    </a:lnTo>
                    <a:lnTo>
                      <a:pt x="381" y="1517"/>
                    </a:lnTo>
                    <a:lnTo>
                      <a:pt x="384" y="1518"/>
                    </a:lnTo>
                    <a:lnTo>
                      <a:pt x="384" y="1518"/>
                    </a:lnTo>
                    <a:lnTo>
                      <a:pt x="389" y="1518"/>
                    </a:lnTo>
                    <a:lnTo>
                      <a:pt x="393" y="1518"/>
                    </a:lnTo>
                    <a:lnTo>
                      <a:pt x="396" y="1516"/>
                    </a:lnTo>
                    <a:lnTo>
                      <a:pt x="407" y="1512"/>
                    </a:lnTo>
                    <a:lnTo>
                      <a:pt x="407" y="1514"/>
                    </a:lnTo>
                    <a:lnTo>
                      <a:pt x="407" y="1514"/>
                    </a:lnTo>
                    <a:lnTo>
                      <a:pt x="409" y="1517"/>
                    </a:lnTo>
                    <a:lnTo>
                      <a:pt x="411" y="1521"/>
                    </a:lnTo>
                    <a:lnTo>
                      <a:pt x="409" y="1528"/>
                    </a:lnTo>
                    <a:lnTo>
                      <a:pt x="407" y="1529"/>
                    </a:lnTo>
                    <a:lnTo>
                      <a:pt x="404" y="1531"/>
                    </a:lnTo>
                    <a:lnTo>
                      <a:pt x="403" y="1533"/>
                    </a:lnTo>
                    <a:lnTo>
                      <a:pt x="403" y="1533"/>
                    </a:lnTo>
                    <a:lnTo>
                      <a:pt x="397" y="1539"/>
                    </a:lnTo>
                    <a:lnTo>
                      <a:pt x="390" y="1543"/>
                    </a:lnTo>
                    <a:lnTo>
                      <a:pt x="385" y="1545"/>
                    </a:lnTo>
                    <a:lnTo>
                      <a:pt x="379" y="1550"/>
                    </a:lnTo>
                    <a:lnTo>
                      <a:pt x="379" y="1550"/>
                    </a:lnTo>
                    <a:lnTo>
                      <a:pt x="378" y="1555"/>
                    </a:lnTo>
                    <a:lnTo>
                      <a:pt x="377" y="1559"/>
                    </a:lnTo>
                    <a:lnTo>
                      <a:pt x="378" y="1560"/>
                    </a:lnTo>
                    <a:lnTo>
                      <a:pt x="381" y="1558"/>
                    </a:lnTo>
                    <a:lnTo>
                      <a:pt x="381" y="1559"/>
                    </a:lnTo>
                    <a:lnTo>
                      <a:pt x="379" y="1562"/>
                    </a:lnTo>
                    <a:lnTo>
                      <a:pt x="379" y="1564"/>
                    </a:lnTo>
                    <a:lnTo>
                      <a:pt x="379" y="1564"/>
                    </a:lnTo>
                    <a:lnTo>
                      <a:pt x="377" y="1567"/>
                    </a:lnTo>
                    <a:lnTo>
                      <a:pt x="375" y="1569"/>
                    </a:lnTo>
                    <a:lnTo>
                      <a:pt x="373" y="1570"/>
                    </a:lnTo>
                    <a:lnTo>
                      <a:pt x="379" y="1574"/>
                    </a:lnTo>
                    <a:lnTo>
                      <a:pt x="379" y="1579"/>
                    </a:lnTo>
                    <a:lnTo>
                      <a:pt x="378" y="1581"/>
                    </a:lnTo>
                    <a:lnTo>
                      <a:pt x="371" y="1581"/>
                    </a:lnTo>
                    <a:lnTo>
                      <a:pt x="371" y="1583"/>
                    </a:lnTo>
                    <a:lnTo>
                      <a:pt x="373" y="1585"/>
                    </a:lnTo>
                    <a:lnTo>
                      <a:pt x="371" y="1588"/>
                    </a:lnTo>
                    <a:lnTo>
                      <a:pt x="371" y="1589"/>
                    </a:lnTo>
                    <a:lnTo>
                      <a:pt x="371" y="1589"/>
                    </a:lnTo>
                    <a:lnTo>
                      <a:pt x="366" y="1593"/>
                    </a:lnTo>
                    <a:lnTo>
                      <a:pt x="360" y="1596"/>
                    </a:lnTo>
                    <a:lnTo>
                      <a:pt x="358" y="1594"/>
                    </a:lnTo>
                    <a:lnTo>
                      <a:pt x="358" y="1594"/>
                    </a:lnTo>
                    <a:lnTo>
                      <a:pt x="359" y="1601"/>
                    </a:lnTo>
                    <a:lnTo>
                      <a:pt x="360" y="1605"/>
                    </a:lnTo>
                    <a:lnTo>
                      <a:pt x="359" y="1608"/>
                    </a:lnTo>
                    <a:lnTo>
                      <a:pt x="362" y="1612"/>
                    </a:lnTo>
                    <a:lnTo>
                      <a:pt x="360" y="1616"/>
                    </a:lnTo>
                    <a:lnTo>
                      <a:pt x="355" y="1619"/>
                    </a:lnTo>
                    <a:lnTo>
                      <a:pt x="355" y="1620"/>
                    </a:lnTo>
                    <a:lnTo>
                      <a:pt x="358" y="1623"/>
                    </a:lnTo>
                    <a:lnTo>
                      <a:pt x="358" y="1623"/>
                    </a:lnTo>
                    <a:lnTo>
                      <a:pt x="358" y="1628"/>
                    </a:lnTo>
                    <a:lnTo>
                      <a:pt x="354" y="1632"/>
                    </a:lnTo>
                    <a:lnTo>
                      <a:pt x="350" y="1634"/>
                    </a:lnTo>
                    <a:lnTo>
                      <a:pt x="344" y="1634"/>
                    </a:lnTo>
                    <a:lnTo>
                      <a:pt x="346" y="1638"/>
                    </a:lnTo>
                    <a:lnTo>
                      <a:pt x="343" y="1640"/>
                    </a:lnTo>
                    <a:lnTo>
                      <a:pt x="341" y="1639"/>
                    </a:lnTo>
                    <a:lnTo>
                      <a:pt x="341" y="1638"/>
                    </a:lnTo>
                    <a:lnTo>
                      <a:pt x="341" y="1638"/>
                    </a:lnTo>
                    <a:lnTo>
                      <a:pt x="339" y="1635"/>
                    </a:lnTo>
                    <a:lnTo>
                      <a:pt x="336" y="1632"/>
                    </a:lnTo>
                    <a:lnTo>
                      <a:pt x="336" y="1631"/>
                    </a:lnTo>
                    <a:lnTo>
                      <a:pt x="336" y="1631"/>
                    </a:lnTo>
                    <a:lnTo>
                      <a:pt x="333" y="1631"/>
                    </a:lnTo>
                    <a:lnTo>
                      <a:pt x="329" y="1631"/>
                    </a:lnTo>
                    <a:lnTo>
                      <a:pt x="321" y="1632"/>
                    </a:lnTo>
                    <a:lnTo>
                      <a:pt x="321" y="1635"/>
                    </a:lnTo>
                    <a:lnTo>
                      <a:pt x="317" y="1635"/>
                    </a:lnTo>
                    <a:lnTo>
                      <a:pt x="316" y="1635"/>
                    </a:lnTo>
                    <a:lnTo>
                      <a:pt x="316" y="1638"/>
                    </a:lnTo>
                    <a:lnTo>
                      <a:pt x="316" y="1640"/>
                    </a:lnTo>
                    <a:lnTo>
                      <a:pt x="309" y="1643"/>
                    </a:lnTo>
                    <a:lnTo>
                      <a:pt x="310" y="1646"/>
                    </a:lnTo>
                    <a:lnTo>
                      <a:pt x="309" y="1646"/>
                    </a:lnTo>
                    <a:lnTo>
                      <a:pt x="306" y="1646"/>
                    </a:lnTo>
                    <a:lnTo>
                      <a:pt x="306" y="1647"/>
                    </a:lnTo>
                    <a:lnTo>
                      <a:pt x="310" y="1649"/>
                    </a:lnTo>
                    <a:lnTo>
                      <a:pt x="312" y="1653"/>
                    </a:lnTo>
                    <a:lnTo>
                      <a:pt x="312" y="1653"/>
                    </a:lnTo>
                    <a:lnTo>
                      <a:pt x="308" y="1654"/>
                    </a:lnTo>
                    <a:lnTo>
                      <a:pt x="303" y="1655"/>
                    </a:lnTo>
                    <a:lnTo>
                      <a:pt x="301" y="1659"/>
                    </a:lnTo>
                    <a:lnTo>
                      <a:pt x="298" y="1664"/>
                    </a:lnTo>
                    <a:lnTo>
                      <a:pt x="299" y="1664"/>
                    </a:lnTo>
                    <a:lnTo>
                      <a:pt x="299" y="1665"/>
                    </a:lnTo>
                    <a:lnTo>
                      <a:pt x="297" y="1666"/>
                    </a:lnTo>
                    <a:lnTo>
                      <a:pt x="299" y="1668"/>
                    </a:lnTo>
                    <a:lnTo>
                      <a:pt x="299" y="1670"/>
                    </a:lnTo>
                    <a:lnTo>
                      <a:pt x="301" y="1673"/>
                    </a:lnTo>
                    <a:lnTo>
                      <a:pt x="301" y="1674"/>
                    </a:lnTo>
                    <a:lnTo>
                      <a:pt x="299" y="1676"/>
                    </a:lnTo>
                    <a:lnTo>
                      <a:pt x="298" y="1676"/>
                    </a:lnTo>
                    <a:lnTo>
                      <a:pt x="298" y="1673"/>
                    </a:lnTo>
                    <a:lnTo>
                      <a:pt x="298" y="1673"/>
                    </a:lnTo>
                    <a:lnTo>
                      <a:pt x="294" y="1673"/>
                    </a:lnTo>
                    <a:lnTo>
                      <a:pt x="290" y="1674"/>
                    </a:lnTo>
                    <a:lnTo>
                      <a:pt x="290" y="1676"/>
                    </a:lnTo>
                    <a:lnTo>
                      <a:pt x="287" y="1678"/>
                    </a:lnTo>
                    <a:lnTo>
                      <a:pt x="284" y="1678"/>
                    </a:lnTo>
                    <a:lnTo>
                      <a:pt x="283" y="1680"/>
                    </a:lnTo>
                    <a:lnTo>
                      <a:pt x="283" y="1682"/>
                    </a:lnTo>
                    <a:lnTo>
                      <a:pt x="283" y="1682"/>
                    </a:lnTo>
                    <a:lnTo>
                      <a:pt x="279" y="1687"/>
                    </a:lnTo>
                    <a:lnTo>
                      <a:pt x="276" y="1688"/>
                    </a:lnTo>
                    <a:lnTo>
                      <a:pt x="274" y="1688"/>
                    </a:lnTo>
                    <a:lnTo>
                      <a:pt x="274" y="1691"/>
                    </a:lnTo>
                    <a:lnTo>
                      <a:pt x="274" y="1691"/>
                    </a:lnTo>
                    <a:lnTo>
                      <a:pt x="271" y="1693"/>
                    </a:lnTo>
                    <a:lnTo>
                      <a:pt x="268" y="1695"/>
                    </a:lnTo>
                    <a:lnTo>
                      <a:pt x="268" y="1696"/>
                    </a:lnTo>
                    <a:lnTo>
                      <a:pt x="268" y="1696"/>
                    </a:lnTo>
                    <a:lnTo>
                      <a:pt x="261" y="1700"/>
                    </a:lnTo>
                    <a:lnTo>
                      <a:pt x="255" y="1703"/>
                    </a:lnTo>
                    <a:lnTo>
                      <a:pt x="255" y="1703"/>
                    </a:lnTo>
                    <a:lnTo>
                      <a:pt x="253" y="1706"/>
                    </a:lnTo>
                    <a:lnTo>
                      <a:pt x="251" y="1707"/>
                    </a:lnTo>
                    <a:lnTo>
                      <a:pt x="248" y="1710"/>
                    </a:lnTo>
                    <a:lnTo>
                      <a:pt x="248" y="1712"/>
                    </a:lnTo>
                    <a:lnTo>
                      <a:pt x="244" y="1714"/>
                    </a:lnTo>
                    <a:lnTo>
                      <a:pt x="242" y="1715"/>
                    </a:lnTo>
                    <a:lnTo>
                      <a:pt x="244" y="1718"/>
                    </a:lnTo>
                    <a:lnTo>
                      <a:pt x="242" y="1719"/>
                    </a:lnTo>
                    <a:lnTo>
                      <a:pt x="242" y="1722"/>
                    </a:lnTo>
                    <a:lnTo>
                      <a:pt x="240" y="1722"/>
                    </a:lnTo>
                    <a:lnTo>
                      <a:pt x="240" y="1723"/>
                    </a:lnTo>
                    <a:lnTo>
                      <a:pt x="236" y="1725"/>
                    </a:lnTo>
                    <a:lnTo>
                      <a:pt x="236" y="1726"/>
                    </a:lnTo>
                    <a:lnTo>
                      <a:pt x="233" y="1723"/>
                    </a:lnTo>
                    <a:lnTo>
                      <a:pt x="232" y="1726"/>
                    </a:lnTo>
                    <a:lnTo>
                      <a:pt x="232" y="1726"/>
                    </a:lnTo>
                    <a:lnTo>
                      <a:pt x="226" y="1727"/>
                    </a:lnTo>
                    <a:lnTo>
                      <a:pt x="221" y="1730"/>
                    </a:lnTo>
                    <a:lnTo>
                      <a:pt x="218" y="1730"/>
                    </a:lnTo>
                    <a:lnTo>
                      <a:pt x="217" y="1730"/>
                    </a:lnTo>
                    <a:lnTo>
                      <a:pt x="217" y="1731"/>
                    </a:lnTo>
                    <a:lnTo>
                      <a:pt x="218" y="1731"/>
                    </a:lnTo>
                    <a:lnTo>
                      <a:pt x="219" y="1733"/>
                    </a:lnTo>
                    <a:lnTo>
                      <a:pt x="219" y="1734"/>
                    </a:lnTo>
                    <a:lnTo>
                      <a:pt x="215" y="1735"/>
                    </a:lnTo>
                    <a:lnTo>
                      <a:pt x="215" y="1737"/>
                    </a:lnTo>
                    <a:lnTo>
                      <a:pt x="214" y="1737"/>
                    </a:lnTo>
                    <a:lnTo>
                      <a:pt x="210" y="1737"/>
                    </a:lnTo>
                    <a:lnTo>
                      <a:pt x="204" y="1739"/>
                    </a:lnTo>
                    <a:lnTo>
                      <a:pt x="200" y="1746"/>
                    </a:lnTo>
                    <a:lnTo>
                      <a:pt x="196" y="1749"/>
                    </a:lnTo>
                    <a:lnTo>
                      <a:pt x="195" y="1750"/>
                    </a:lnTo>
                    <a:lnTo>
                      <a:pt x="198" y="1752"/>
                    </a:lnTo>
                    <a:lnTo>
                      <a:pt x="199" y="1752"/>
                    </a:lnTo>
                    <a:lnTo>
                      <a:pt x="202" y="1752"/>
                    </a:lnTo>
                    <a:lnTo>
                      <a:pt x="206" y="1750"/>
                    </a:lnTo>
                    <a:lnTo>
                      <a:pt x="206" y="1750"/>
                    </a:lnTo>
                    <a:lnTo>
                      <a:pt x="208" y="1752"/>
                    </a:lnTo>
                    <a:lnTo>
                      <a:pt x="211" y="1752"/>
                    </a:lnTo>
                    <a:lnTo>
                      <a:pt x="213" y="1753"/>
                    </a:lnTo>
                    <a:lnTo>
                      <a:pt x="213" y="1753"/>
                    </a:lnTo>
                    <a:lnTo>
                      <a:pt x="214" y="1750"/>
                    </a:lnTo>
                    <a:lnTo>
                      <a:pt x="217" y="1749"/>
                    </a:lnTo>
                    <a:lnTo>
                      <a:pt x="221" y="1748"/>
                    </a:lnTo>
                    <a:lnTo>
                      <a:pt x="222" y="1745"/>
                    </a:lnTo>
                    <a:lnTo>
                      <a:pt x="222" y="1744"/>
                    </a:lnTo>
                    <a:lnTo>
                      <a:pt x="230" y="1742"/>
                    </a:lnTo>
                    <a:lnTo>
                      <a:pt x="233" y="1742"/>
                    </a:lnTo>
                    <a:lnTo>
                      <a:pt x="234" y="1742"/>
                    </a:lnTo>
                    <a:lnTo>
                      <a:pt x="234" y="1742"/>
                    </a:lnTo>
                    <a:lnTo>
                      <a:pt x="238" y="1745"/>
                    </a:lnTo>
                    <a:lnTo>
                      <a:pt x="241" y="1746"/>
                    </a:lnTo>
                    <a:lnTo>
                      <a:pt x="241" y="1746"/>
                    </a:lnTo>
                    <a:lnTo>
                      <a:pt x="251" y="1742"/>
                    </a:lnTo>
                    <a:lnTo>
                      <a:pt x="251" y="1742"/>
                    </a:lnTo>
                    <a:lnTo>
                      <a:pt x="253" y="1742"/>
                    </a:lnTo>
                    <a:lnTo>
                      <a:pt x="257" y="1741"/>
                    </a:lnTo>
                    <a:lnTo>
                      <a:pt x="257" y="1741"/>
                    </a:lnTo>
                    <a:lnTo>
                      <a:pt x="260" y="1738"/>
                    </a:lnTo>
                    <a:lnTo>
                      <a:pt x="260" y="1738"/>
                    </a:lnTo>
                    <a:lnTo>
                      <a:pt x="264" y="1738"/>
                    </a:lnTo>
                    <a:lnTo>
                      <a:pt x="265" y="1737"/>
                    </a:lnTo>
                    <a:lnTo>
                      <a:pt x="265" y="1734"/>
                    </a:lnTo>
                    <a:lnTo>
                      <a:pt x="270" y="1731"/>
                    </a:lnTo>
                    <a:lnTo>
                      <a:pt x="271" y="1733"/>
                    </a:lnTo>
                    <a:lnTo>
                      <a:pt x="271" y="1734"/>
                    </a:lnTo>
                    <a:lnTo>
                      <a:pt x="274" y="1733"/>
                    </a:lnTo>
                    <a:lnTo>
                      <a:pt x="275" y="1735"/>
                    </a:lnTo>
                    <a:lnTo>
                      <a:pt x="278" y="1737"/>
                    </a:lnTo>
                    <a:lnTo>
                      <a:pt x="283" y="1735"/>
                    </a:lnTo>
                    <a:lnTo>
                      <a:pt x="283" y="1733"/>
                    </a:lnTo>
                    <a:lnTo>
                      <a:pt x="280" y="1731"/>
                    </a:lnTo>
                    <a:lnTo>
                      <a:pt x="280" y="1729"/>
                    </a:lnTo>
                    <a:lnTo>
                      <a:pt x="282" y="1725"/>
                    </a:lnTo>
                    <a:lnTo>
                      <a:pt x="279" y="1723"/>
                    </a:lnTo>
                    <a:lnTo>
                      <a:pt x="279" y="1720"/>
                    </a:lnTo>
                    <a:lnTo>
                      <a:pt x="280" y="1718"/>
                    </a:lnTo>
                    <a:lnTo>
                      <a:pt x="280" y="1718"/>
                    </a:lnTo>
                    <a:lnTo>
                      <a:pt x="283" y="1716"/>
                    </a:lnTo>
                    <a:lnTo>
                      <a:pt x="287" y="1715"/>
                    </a:lnTo>
                    <a:lnTo>
                      <a:pt x="291" y="1715"/>
                    </a:lnTo>
                    <a:lnTo>
                      <a:pt x="294" y="1716"/>
                    </a:lnTo>
                    <a:lnTo>
                      <a:pt x="294" y="1716"/>
                    </a:lnTo>
                    <a:lnTo>
                      <a:pt x="301" y="1715"/>
                    </a:lnTo>
                    <a:lnTo>
                      <a:pt x="303" y="1714"/>
                    </a:lnTo>
                    <a:lnTo>
                      <a:pt x="306" y="1712"/>
                    </a:lnTo>
                    <a:lnTo>
                      <a:pt x="306" y="1712"/>
                    </a:lnTo>
                    <a:lnTo>
                      <a:pt x="312" y="1712"/>
                    </a:lnTo>
                    <a:lnTo>
                      <a:pt x="316" y="1712"/>
                    </a:lnTo>
                    <a:lnTo>
                      <a:pt x="318" y="1712"/>
                    </a:lnTo>
                    <a:lnTo>
                      <a:pt x="318" y="1711"/>
                    </a:lnTo>
                    <a:lnTo>
                      <a:pt x="317" y="1711"/>
                    </a:lnTo>
                    <a:lnTo>
                      <a:pt x="321" y="1707"/>
                    </a:lnTo>
                    <a:lnTo>
                      <a:pt x="324" y="1707"/>
                    </a:lnTo>
                    <a:lnTo>
                      <a:pt x="328" y="1704"/>
                    </a:lnTo>
                    <a:lnTo>
                      <a:pt x="328" y="1704"/>
                    </a:lnTo>
                    <a:lnTo>
                      <a:pt x="332" y="1703"/>
                    </a:lnTo>
                    <a:lnTo>
                      <a:pt x="336" y="1701"/>
                    </a:lnTo>
                    <a:lnTo>
                      <a:pt x="337" y="1699"/>
                    </a:lnTo>
                    <a:lnTo>
                      <a:pt x="333" y="1693"/>
                    </a:lnTo>
                    <a:lnTo>
                      <a:pt x="332" y="1691"/>
                    </a:lnTo>
                    <a:lnTo>
                      <a:pt x="332" y="1691"/>
                    </a:lnTo>
                    <a:lnTo>
                      <a:pt x="328" y="1689"/>
                    </a:lnTo>
                    <a:lnTo>
                      <a:pt x="325" y="1688"/>
                    </a:lnTo>
                    <a:lnTo>
                      <a:pt x="324" y="1688"/>
                    </a:lnTo>
                    <a:lnTo>
                      <a:pt x="325" y="1684"/>
                    </a:lnTo>
                    <a:lnTo>
                      <a:pt x="321" y="1684"/>
                    </a:lnTo>
                    <a:lnTo>
                      <a:pt x="321" y="1682"/>
                    </a:lnTo>
                    <a:lnTo>
                      <a:pt x="321" y="1682"/>
                    </a:lnTo>
                    <a:lnTo>
                      <a:pt x="325" y="1682"/>
                    </a:lnTo>
                    <a:lnTo>
                      <a:pt x="329" y="1682"/>
                    </a:lnTo>
                    <a:lnTo>
                      <a:pt x="339" y="1684"/>
                    </a:lnTo>
                    <a:lnTo>
                      <a:pt x="339" y="1682"/>
                    </a:lnTo>
                    <a:lnTo>
                      <a:pt x="340" y="1681"/>
                    </a:lnTo>
                    <a:lnTo>
                      <a:pt x="341" y="1685"/>
                    </a:lnTo>
                    <a:lnTo>
                      <a:pt x="339" y="1687"/>
                    </a:lnTo>
                    <a:lnTo>
                      <a:pt x="339" y="1692"/>
                    </a:lnTo>
                    <a:lnTo>
                      <a:pt x="340" y="1693"/>
                    </a:lnTo>
                    <a:lnTo>
                      <a:pt x="339" y="1697"/>
                    </a:lnTo>
                    <a:lnTo>
                      <a:pt x="341" y="1699"/>
                    </a:lnTo>
                    <a:lnTo>
                      <a:pt x="341" y="1701"/>
                    </a:lnTo>
                    <a:lnTo>
                      <a:pt x="346" y="1701"/>
                    </a:lnTo>
                    <a:lnTo>
                      <a:pt x="346" y="1703"/>
                    </a:lnTo>
                    <a:lnTo>
                      <a:pt x="344" y="1704"/>
                    </a:lnTo>
                    <a:lnTo>
                      <a:pt x="346" y="1706"/>
                    </a:lnTo>
                    <a:lnTo>
                      <a:pt x="350" y="1704"/>
                    </a:lnTo>
                    <a:lnTo>
                      <a:pt x="351" y="1706"/>
                    </a:lnTo>
                    <a:lnTo>
                      <a:pt x="352" y="1703"/>
                    </a:lnTo>
                    <a:lnTo>
                      <a:pt x="358" y="1703"/>
                    </a:lnTo>
                    <a:lnTo>
                      <a:pt x="354" y="1704"/>
                    </a:lnTo>
                    <a:lnTo>
                      <a:pt x="354" y="1704"/>
                    </a:lnTo>
                    <a:lnTo>
                      <a:pt x="358" y="1708"/>
                    </a:lnTo>
                    <a:lnTo>
                      <a:pt x="362" y="1710"/>
                    </a:lnTo>
                    <a:lnTo>
                      <a:pt x="362" y="1712"/>
                    </a:lnTo>
                    <a:lnTo>
                      <a:pt x="366" y="1714"/>
                    </a:lnTo>
                    <a:lnTo>
                      <a:pt x="367" y="1715"/>
                    </a:lnTo>
                    <a:lnTo>
                      <a:pt x="370" y="1716"/>
                    </a:lnTo>
                    <a:lnTo>
                      <a:pt x="374" y="1715"/>
                    </a:lnTo>
                    <a:lnTo>
                      <a:pt x="374" y="1715"/>
                    </a:lnTo>
                    <a:lnTo>
                      <a:pt x="377" y="1716"/>
                    </a:lnTo>
                    <a:lnTo>
                      <a:pt x="381" y="1719"/>
                    </a:lnTo>
                    <a:lnTo>
                      <a:pt x="385" y="1720"/>
                    </a:lnTo>
                    <a:lnTo>
                      <a:pt x="390" y="1722"/>
                    </a:lnTo>
                    <a:lnTo>
                      <a:pt x="397" y="1716"/>
                    </a:lnTo>
                    <a:lnTo>
                      <a:pt x="397" y="1714"/>
                    </a:lnTo>
                    <a:lnTo>
                      <a:pt x="403" y="1715"/>
                    </a:lnTo>
                    <a:lnTo>
                      <a:pt x="405" y="1714"/>
                    </a:lnTo>
                    <a:lnTo>
                      <a:pt x="409" y="1714"/>
                    </a:lnTo>
                    <a:lnTo>
                      <a:pt x="412" y="1711"/>
                    </a:lnTo>
                    <a:lnTo>
                      <a:pt x="411" y="1708"/>
                    </a:lnTo>
                    <a:lnTo>
                      <a:pt x="415" y="1708"/>
                    </a:lnTo>
                    <a:lnTo>
                      <a:pt x="416" y="1707"/>
                    </a:lnTo>
                    <a:lnTo>
                      <a:pt x="423" y="1706"/>
                    </a:lnTo>
                    <a:lnTo>
                      <a:pt x="431" y="1699"/>
                    </a:lnTo>
                    <a:lnTo>
                      <a:pt x="431" y="1699"/>
                    </a:lnTo>
                    <a:lnTo>
                      <a:pt x="432" y="1700"/>
                    </a:lnTo>
                    <a:lnTo>
                      <a:pt x="435" y="1700"/>
                    </a:lnTo>
                    <a:lnTo>
                      <a:pt x="441" y="1699"/>
                    </a:lnTo>
                    <a:lnTo>
                      <a:pt x="441" y="1700"/>
                    </a:lnTo>
                    <a:lnTo>
                      <a:pt x="438" y="1700"/>
                    </a:lnTo>
                    <a:lnTo>
                      <a:pt x="439" y="1701"/>
                    </a:lnTo>
                    <a:lnTo>
                      <a:pt x="439" y="1703"/>
                    </a:lnTo>
                    <a:lnTo>
                      <a:pt x="439" y="1703"/>
                    </a:lnTo>
                    <a:lnTo>
                      <a:pt x="436" y="1704"/>
                    </a:lnTo>
                    <a:lnTo>
                      <a:pt x="434" y="1706"/>
                    </a:lnTo>
                    <a:lnTo>
                      <a:pt x="430" y="1710"/>
                    </a:lnTo>
                    <a:lnTo>
                      <a:pt x="430" y="1710"/>
                    </a:lnTo>
                    <a:lnTo>
                      <a:pt x="420" y="1716"/>
                    </a:lnTo>
                    <a:lnTo>
                      <a:pt x="420" y="1716"/>
                    </a:lnTo>
                    <a:lnTo>
                      <a:pt x="417" y="1720"/>
                    </a:lnTo>
                    <a:lnTo>
                      <a:pt x="415" y="1723"/>
                    </a:lnTo>
                    <a:lnTo>
                      <a:pt x="415" y="1726"/>
                    </a:lnTo>
                    <a:lnTo>
                      <a:pt x="415" y="1726"/>
                    </a:lnTo>
                    <a:lnTo>
                      <a:pt x="417" y="1729"/>
                    </a:lnTo>
                    <a:lnTo>
                      <a:pt x="422" y="1730"/>
                    </a:lnTo>
                    <a:lnTo>
                      <a:pt x="426" y="1731"/>
                    </a:lnTo>
                    <a:lnTo>
                      <a:pt x="430" y="1731"/>
                    </a:lnTo>
                    <a:lnTo>
                      <a:pt x="430" y="1731"/>
                    </a:lnTo>
                    <a:lnTo>
                      <a:pt x="434" y="1730"/>
                    </a:lnTo>
                    <a:lnTo>
                      <a:pt x="438" y="1727"/>
                    </a:lnTo>
                    <a:lnTo>
                      <a:pt x="443" y="1720"/>
                    </a:lnTo>
                    <a:lnTo>
                      <a:pt x="443" y="1718"/>
                    </a:lnTo>
                    <a:lnTo>
                      <a:pt x="445" y="1715"/>
                    </a:lnTo>
                    <a:lnTo>
                      <a:pt x="445" y="1711"/>
                    </a:lnTo>
                    <a:lnTo>
                      <a:pt x="446" y="1711"/>
                    </a:lnTo>
                    <a:lnTo>
                      <a:pt x="447" y="1712"/>
                    </a:lnTo>
                    <a:lnTo>
                      <a:pt x="449" y="1710"/>
                    </a:lnTo>
                    <a:lnTo>
                      <a:pt x="450" y="1711"/>
                    </a:lnTo>
                    <a:lnTo>
                      <a:pt x="451" y="1712"/>
                    </a:lnTo>
                    <a:lnTo>
                      <a:pt x="455" y="1711"/>
                    </a:lnTo>
                    <a:lnTo>
                      <a:pt x="455" y="1711"/>
                    </a:lnTo>
                    <a:lnTo>
                      <a:pt x="464" y="1711"/>
                    </a:lnTo>
                    <a:lnTo>
                      <a:pt x="473" y="1711"/>
                    </a:lnTo>
                    <a:lnTo>
                      <a:pt x="474" y="1710"/>
                    </a:lnTo>
                    <a:lnTo>
                      <a:pt x="478" y="1714"/>
                    </a:lnTo>
                    <a:lnTo>
                      <a:pt x="478" y="1714"/>
                    </a:lnTo>
                    <a:lnTo>
                      <a:pt x="485" y="1706"/>
                    </a:lnTo>
                    <a:lnTo>
                      <a:pt x="491" y="1697"/>
                    </a:lnTo>
                    <a:lnTo>
                      <a:pt x="495" y="1696"/>
                    </a:lnTo>
                    <a:lnTo>
                      <a:pt x="495" y="1696"/>
                    </a:lnTo>
                    <a:lnTo>
                      <a:pt x="496" y="1693"/>
                    </a:lnTo>
                    <a:lnTo>
                      <a:pt x="497" y="1689"/>
                    </a:lnTo>
                    <a:lnTo>
                      <a:pt x="500" y="1687"/>
                    </a:lnTo>
                    <a:lnTo>
                      <a:pt x="502" y="1682"/>
                    </a:lnTo>
                    <a:lnTo>
                      <a:pt x="500" y="1682"/>
                    </a:lnTo>
                    <a:lnTo>
                      <a:pt x="499" y="1681"/>
                    </a:lnTo>
                    <a:lnTo>
                      <a:pt x="503" y="1680"/>
                    </a:lnTo>
                    <a:lnTo>
                      <a:pt x="503" y="1681"/>
                    </a:lnTo>
                    <a:lnTo>
                      <a:pt x="503" y="1682"/>
                    </a:lnTo>
                    <a:lnTo>
                      <a:pt x="506" y="1684"/>
                    </a:lnTo>
                    <a:lnTo>
                      <a:pt x="508" y="1684"/>
                    </a:lnTo>
                    <a:lnTo>
                      <a:pt x="510" y="1681"/>
                    </a:lnTo>
                    <a:lnTo>
                      <a:pt x="510" y="1680"/>
                    </a:lnTo>
                    <a:lnTo>
                      <a:pt x="510" y="1678"/>
                    </a:lnTo>
                    <a:lnTo>
                      <a:pt x="510" y="1674"/>
                    </a:lnTo>
                    <a:lnTo>
                      <a:pt x="510" y="1674"/>
                    </a:lnTo>
                    <a:lnTo>
                      <a:pt x="512" y="1672"/>
                    </a:lnTo>
                    <a:lnTo>
                      <a:pt x="514" y="1669"/>
                    </a:lnTo>
                    <a:lnTo>
                      <a:pt x="515" y="1662"/>
                    </a:lnTo>
                    <a:lnTo>
                      <a:pt x="515" y="1657"/>
                    </a:lnTo>
                    <a:lnTo>
                      <a:pt x="516" y="1655"/>
                    </a:lnTo>
                    <a:lnTo>
                      <a:pt x="518" y="1653"/>
                    </a:lnTo>
                    <a:lnTo>
                      <a:pt x="518" y="1653"/>
                    </a:lnTo>
                    <a:lnTo>
                      <a:pt x="522" y="1650"/>
                    </a:lnTo>
                    <a:lnTo>
                      <a:pt x="526" y="1646"/>
                    </a:lnTo>
                    <a:lnTo>
                      <a:pt x="526" y="1635"/>
                    </a:lnTo>
                    <a:lnTo>
                      <a:pt x="523" y="1634"/>
                    </a:lnTo>
                    <a:lnTo>
                      <a:pt x="522" y="1636"/>
                    </a:lnTo>
                    <a:lnTo>
                      <a:pt x="519" y="1636"/>
                    </a:lnTo>
                    <a:lnTo>
                      <a:pt x="518" y="1639"/>
                    </a:lnTo>
                    <a:lnTo>
                      <a:pt x="516" y="1639"/>
                    </a:lnTo>
                    <a:lnTo>
                      <a:pt x="516" y="1638"/>
                    </a:lnTo>
                    <a:lnTo>
                      <a:pt x="519" y="1635"/>
                    </a:lnTo>
                    <a:lnTo>
                      <a:pt x="521" y="1635"/>
                    </a:lnTo>
                    <a:lnTo>
                      <a:pt x="523" y="1631"/>
                    </a:lnTo>
                    <a:lnTo>
                      <a:pt x="525" y="1632"/>
                    </a:lnTo>
                    <a:lnTo>
                      <a:pt x="527" y="1627"/>
                    </a:lnTo>
                    <a:lnTo>
                      <a:pt x="527" y="1627"/>
                    </a:lnTo>
                    <a:lnTo>
                      <a:pt x="530" y="1627"/>
                    </a:lnTo>
                    <a:lnTo>
                      <a:pt x="533" y="1624"/>
                    </a:lnTo>
                    <a:lnTo>
                      <a:pt x="535" y="1624"/>
                    </a:lnTo>
                    <a:lnTo>
                      <a:pt x="537" y="1623"/>
                    </a:lnTo>
                    <a:lnTo>
                      <a:pt x="544" y="1623"/>
                    </a:lnTo>
                    <a:lnTo>
                      <a:pt x="544" y="1623"/>
                    </a:lnTo>
                    <a:lnTo>
                      <a:pt x="548" y="1620"/>
                    </a:lnTo>
                    <a:lnTo>
                      <a:pt x="553" y="1619"/>
                    </a:lnTo>
                    <a:lnTo>
                      <a:pt x="559" y="1611"/>
                    </a:lnTo>
                    <a:lnTo>
                      <a:pt x="557" y="1609"/>
                    </a:lnTo>
                    <a:lnTo>
                      <a:pt x="553" y="1607"/>
                    </a:lnTo>
                    <a:lnTo>
                      <a:pt x="553" y="1602"/>
                    </a:lnTo>
                    <a:lnTo>
                      <a:pt x="553" y="1602"/>
                    </a:lnTo>
                    <a:lnTo>
                      <a:pt x="556" y="1605"/>
                    </a:lnTo>
                    <a:lnTo>
                      <a:pt x="559" y="1608"/>
                    </a:lnTo>
                    <a:lnTo>
                      <a:pt x="560" y="1607"/>
                    </a:lnTo>
                    <a:lnTo>
                      <a:pt x="563" y="1605"/>
                    </a:lnTo>
                    <a:lnTo>
                      <a:pt x="565" y="1605"/>
                    </a:lnTo>
                    <a:lnTo>
                      <a:pt x="565" y="1607"/>
                    </a:lnTo>
                    <a:lnTo>
                      <a:pt x="561" y="1607"/>
                    </a:lnTo>
                    <a:lnTo>
                      <a:pt x="561" y="1607"/>
                    </a:lnTo>
                    <a:lnTo>
                      <a:pt x="559" y="1612"/>
                    </a:lnTo>
                    <a:lnTo>
                      <a:pt x="559" y="1619"/>
                    </a:lnTo>
                    <a:lnTo>
                      <a:pt x="559" y="1619"/>
                    </a:lnTo>
                    <a:lnTo>
                      <a:pt x="556" y="1621"/>
                    </a:lnTo>
                    <a:lnTo>
                      <a:pt x="552" y="1623"/>
                    </a:lnTo>
                    <a:lnTo>
                      <a:pt x="549" y="1624"/>
                    </a:lnTo>
                    <a:lnTo>
                      <a:pt x="548" y="1626"/>
                    </a:lnTo>
                    <a:lnTo>
                      <a:pt x="548" y="1630"/>
                    </a:lnTo>
                    <a:lnTo>
                      <a:pt x="552" y="1628"/>
                    </a:lnTo>
                    <a:lnTo>
                      <a:pt x="554" y="1631"/>
                    </a:lnTo>
                    <a:lnTo>
                      <a:pt x="556" y="1634"/>
                    </a:lnTo>
                    <a:lnTo>
                      <a:pt x="560" y="1638"/>
                    </a:lnTo>
                    <a:lnTo>
                      <a:pt x="560" y="1642"/>
                    </a:lnTo>
                    <a:lnTo>
                      <a:pt x="559" y="1642"/>
                    </a:lnTo>
                    <a:lnTo>
                      <a:pt x="556" y="1643"/>
                    </a:lnTo>
                    <a:lnTo>
                      <a:pt x="554" y="1643"/>
                    </a:lnTo>
                    <a:lnTo>
                      <a:pt x="556" y="1646"/>
                    </a:lnTo>
                    <a:lnTo>
                      <a:pt x="556" y="1646"/>
                    </a:lnTo>
                    <a:lnTo>
                      <a:pt x="557" y="1649"/>
                    </a:lnTo>
                    <a:lnTo>
                      <a:pt x="559" y="1651"/>
                    </a:lnTo>
                    <a:lnTo>
                      <a:pt x="560" y="1653"/>
                    </a:lnTo>
                    <a:lnTo>
                      <a:pt x="561" y="1651"/>
                    </a:lnTo>
                    <a:lnTo>
                      <a:pt x="563" y="1653"/>
                    </a:lnTo>
                    <a:lnTo>
                      <a:pt x="564" y="1654"/>
                    </a:lnTo>
                    <a:lnTo>
                      <a:pt x="556" y="1662"/>
                    </a:lnTo>
                    <a:lnTo>
                      <a:pt x="553" y="1659"/>
                    </a:lnTo>
                    <a:lnTo>
                      <a:pt x="552" y="1661"/>
                    </a:lnTo>
                    <a:lnTo>
                      <a:pt x="552" y="1665"/>
                    </a:lnTo>
                    <a:lnTo>
                      <a:pt x="553" y="1666"/>
                    </a:lnTo>
                    <a:lnTo>
                      <a:pt x="554" y="1668"/>
                    </a:lnTo>
                    <a:lnTo>
                      <a:pt x="552" y="1669"/>
                    </a:lnTo>
                    <a:lnTo>
                      <a:pt x="552" y="1672"/>
                    </a:lnTo>
                    <a:lnTo>
                      <a:pt x="552" y="1673"/>
                    </a:lnTo>
                    <a:lnTo>
                      <a:pt x="554" y="1672"/>
                    </a:lnTo>
                    <a:lnTo>
                      <a:pt x="563" y="1670"/>
                    </a:lnTo>
                    <a:lnTo>
                      <a:pt x="563" y="1670"/>
                    </a:lnTo>
                    <a:lnTo>
                      <a:pt x="565" y="1672"/>
                    </a:lnTo>
                    <a:lnTo>
                      <a:pt x="568" y="1673"/>
                    </a:lnTo>
                    <a:lnTo>
                      <a:pt x="565" y="1670"/>
                    </a:lnTo>
                    <a:lnTo>
                      <a:pt x="567" y="1669"/>
                    </a:lnTo>
                    <a:lnTo>
                      <a:pt x="569" y="1669"/>
                    </a:lnTo>
                    <a:lnTo>
                      <a:pt x="571" y="1672"/>
                    </a:lnTo>
                    <a:lnTo>
                      <a:pt x="571" y="1669"/>
                    </a:lnTo>
                    <a:lnTo>
                      <a:pt x="575" y="1668"/>
                    </a:lnTo>
                    <a:lnTo>
                      <a:pt x="578" y="1665"/>
                    </a:lnTo>
                    <a:lnTo>
                      <a:pt x="579" y="1665"/>
                    </a:lnTo>
                    <a:lnTo>
                      <a:pt x="579" y="1664"/>
                    </a:lnTo>
                    <a:lnTo>
                      <a:pt x="582" y="1662"/>
                    </a:lnTo>
                    <a:lnTo>
                      <a:pt x="583" y="1664"/>
                    </a:lnTo>
                    <a:lnTo>
                      <a:pt x="584" y="1664"/>
                    </a:lnTo>
                    <a:lnTo>
                      <a:pt x="586" y="1665"/>
                    </a:lnTo>
                    <a:lnTo>
                      <a:pt x="587" y="1664"/>
                    </a:lnTo>
                    <a:lnTo>
                      <a:pt x="590" y="1664"/>
                    </a:lnTo>
                    <a:lnTo>
                      <a:pt x="590" y="1665"/>
                    </a:lnTo>
                    <a:lnTo>
                      <a:pt x="591" y="1666"/>
                    </a:lnTo>
                    <a:lnTo>
                      <a:pt x="592" y="1666"/>
                    </a:lnTo>
                    <a:lnTo>
                      <a:pt x="595" y="1666"/>
                    </a:lnTo>
                    <a:lnTo>
                      <a:pt x="598" y="1672"/>
                    </a:lnTo>
                    <a:lnTo>
                      <a:pt x="601" y="1669"/>
                    </a:lnTo>
                    <a:lnTo>
                      <a:pt x="602" y="1672"/>
                    </a:lnTo>
                    <a:lnTo>
                      <a:pt x="602" y="1672"/>
                    </a:lnTo>
                    <a:lnTo>
                      <a:pt x="603" y="1669"/>
                    </a:lnTo>
                    <a:lnTo>
                      <a:pt x="606" y="1668"/>
                    </a:lnTo>
                    <a:lnTo>
                      <a:pt x="609" y="1666"/>
                    </a:lnTo>
                    <a:lnTo>
                      <a:pt x="607" y="1672"/>
                    </a:lnTo>
                    <a:lnTo>
                      <a:pt x="607" y="1672"/>
                    </a:lnTo>
                    <a:lnTo>
                      <a:pt x="606" y="1673"/>
                    </a:lnTo>
                    <a:lnTo>
                      <a:pt x="607" y="1673"/>
                    </a:lnTo>
                    <a:lnTo>
                      <a:pt x="609" y="1672"/>
                    </a:lnTo>
                    <a:lnTo>
                      <a:pt x="610" y="1672"/>
                    </a:lnTo>
                    <a:lnTo>
                      <a:pt x="610" y="1673"/>
                    </a:lnTo>
                    <a:lnTo>
                      <a:pt x="610" y="1674"/>
                    </a:lnTo>
                    <a:lnTo>
                      <a:pt x="611" y="1674"/>
                    </a:lnTo>
                    <a:lnTo>
                      <a:pt x="611" y="1672"/>
                    </a:lnTo>
                    <a:lnTo>
                      <a:pt x="611" y="1672"/>
                    </a:lnTo>
                    <a:lnTo>
                      <a:pt x="614" y="1673"/>
                    </a:lnTo>
                    <a:lnTo>
                      <a:pt x="616" y="1676"/>
                    </a:lnTo>
                    <a:lnTo>
                      <a:pt x="616" y="1676"/>
                    </a:lnTo>
                    <a:lnTo>
                      <a:pt x="622" y="1674"/>
                    </a:lnTo>
                    <a:lnTo>
                      <a:pt x="632" y="1676"/>
                    </a:lnTo>
                    <a:lnTo>
                      <a:pt x="641" y="1677"/>
                    </a:lnTo>
                    <a:lnTo>
                      <a:pt x="645" y="1678"/>
                    </a:lnTo>
                    <a:lnTo>
                      <a:pt x="647" y="1680"/>
                    </a:lnTo>
                    <a:lnTo>
                      <a:pt x="647" y="1680"/>
                    </a:lnTo>
                    <a:lnTo>
                      <a:pt x="648" y="1684"/>
                    </a:lnTo>
                    <a:lnTo>
                      <a:pt x="648" y="1688"/>
                    </a:lnTo>
                    <a:lnTo>
                      <a:pt x="649" y="1691"/>
                    </a:lnTo>
                    <a:lnTo>
                      <a:pt x="649" y="1691"/>
                    </a:lnTo>
                    <a:lnTo>
                      <a:pt x="652" y="1689"/>
                    </a:lnTo>
                    <a:lnTo>
                      <a:pt x="656" y="1688"/>
                    </a:lnTo>
                    <a:lnTo>
                      <a:pt x="656" y="1688"/>
                    </a:lnTo>
                    <a:lnTo>
                      <a:pt x="663" y="1688"/>
                    </a:lnTo>
                    <a:lnTo>
                      <a:pt x="663" y="1688"/>
                    </a:lnTo>
                    <a:lnTo>
                      <a:pt x="673" y="1684"/>
                    </a:lnTo>
                    <a:lnTo>
                      <a:pt x="674" y="1681"/>
                    </a:lnTo>
                    <a:lnTo>
                      <a:pt x="671" y="1676"/>
                    </a:lnTo>
                    <a:lnTo>
                      <a:pt x="674" y="1673"/>
                    </a:lnTo>
                    <a:lnTo>
                      <a:pt x="674" y="1669"/>
                    </a:lnTo>
                    <a:lnTo>
                      <a:pt x="675" y="1668"/>
                    </a:lnTo>
                    <a:lnTo>
                      <a:pt x="675" y="1668"/>
                    </a:lnTo>
                    <a:lnTo>
                      <a:pt x="675" y="1673"/>
                    </a:lnTo>
                    <a:lnTo>
                      <a:pt x="674" y="1674"/>
                    </a:lnTo>
                    <a:lnTo>
                      <a:pt x="673" y="1677"/>
                    </a:lnTo>
                    <a:lnTo>
                      <a:pt x="675" y="1678"/>
                    </a:lnTo>
                    <a:lnTo>
                      <a:pt x="675" y="1682"/>
                    </a:lnTo>
                    <a:lnTo>
                      <a:pt x="673" y="1685"/>
                    </a:lnTo>
                    <a:lnTo>
                      <a:pt x="673" y="1685"/>
                    </a:lnTo>
                    <a:lnTo>
                      <a:pt x="666" y="1689"/>
                    </a:lnTo>
                    <a:lnTo>
                      <a:pt x="659" y="1689"/>
                    </a:lnTo>
                    <a:lnTo>
                      <a:pt x="654" y="1691"/>
                    </a:lnTo>
                    <a:lnTo>
                      <a:pt x="649" y="1692"/>
                    </a:lnTo>
                    <a:lnTo>
                      <a:pt x="649" y="1692"/>
                    </a:lnTo>
                    <a:lnTo>
                      <a:pt x="647" y="1691"/>
                    </a:lnTo>
                    <a:lnTo>
                      <a:pt x="644" y="1688"/>
                    </a:lnTo>
                    <a:lnTo>
                      <a:pt x="641" y="1681"/>
                    </a:lnTo>
                    <a:lnTo>
                      <a:pt x="629" y="1678"/>
                    </a:lnTo>
                    <a:lnTo>
                      <a:pt x="629" y="1678"/>
                    </a:lnTo>
                    <a:lnTo>
                      <a:pt x="621" y="1682"/>
                    </a:lnTo>
                    <a:lnTo>
                      <a:pt x="613" y="1685"/>
                    </a:lnTo>
                    <a:lnTo>
                      <a:pt x="611" y="1687"/>
                    </a:lnTo>
                    <a:lnTo>
                      <a:pt x="613" y="1688"/>
                    </a:lnTo>
                    <a:lnTo>
                      <a:pt x="616" y="1688"/>
                    </a:lnTo>
                    <a:lnTo>
                      <a:pt x="618" y="1691"/>
                    </a:lnTo>
                    <a:lnTo>
                      <a:pt x="618" y="1691"/>
                    </a:lnTo>
                    <a:lnTo>
                      <a:pt x="617" y="1693"/>
                    </a:lnTo>
                    <a:lnTo>
                      <a:pt x="614" y="1695"/>
                    </a:lnTo>
                    <a:lnTo>
                      <a:pt x="614" y="1695"/>
                    </a:lnTo>
                    <a:lnTo>
                      <a:pt x="617" y="1689"/>
                    </a:lnTo>
                    <a:lnTo>
                      <a:pt x="613" y="1691"/>
                    </a:lnTo>
                    <a:lnTo>
                      <a:pt x="613" y="1691"/>
                    </a:lnTo>
                    <a:lnTo>
                      <a:pt x="610" y="1689"/>
                    </a:lnTo>
                    <a:lnTo>
                      <a:pt x="607" y="1687"/>
                    </a:lnTo>
                    <a:lnTo>
                      <a:pt x="606" y="1682"/>
                    </a:lnTo>
                    <a:lnTo>
                      <a:pt x="606" y="1682"/>
                    </a:lnTo>
                    <a:lnTo>
                      <a:pt x="606" y="1681"/>
                    </a:lnTo>
                    <a:lnTo>
                      <a:pt x="606" y="1681"/>
                    </a:lnTo>
                    <a:lnTo>
                      <a:pt x="598" y="1680"/>
                    </a:lnTo>
                    <a:lnTo>
                      <a:pt x="594" y="1680"/>
                    </a:lnTo>
                    <a:lnTo>
                      <a:pt x="591" y="1681"/>
                    </a:lnTo>
                    <a:lnTo>
                      <a:pt x="584" y="1681"/>
                    </a:lnTo>
                    <a:lnTo>
                      <a:pt x="584" y="1681"/>
                    </a:lnTo>
                    <a:lnTo>
                      <a:pt x="580" y="1682"/>
                    </a:lnTo>
                    <a:lnTo>
                      <a:pt x="579" y="1687"/>
                    </a:lnTo>
                    <a:lnTo>
                      <a:pt x="576" y="1687"/>
                    </a:lnTo>
                    <a:lnTo>
                      <a:pt x="573" y="1685"/>
                    </a:lnTo>
                    <a:lnTo>
                      <a:pt x="573" y="1685"/>
                    </a:lnTo>
                    <a:lnTo>
                      <a:pt x="568" y="1687"/>
                    </a:lnTo>
                    <a:lnTo>
                      <a:pt x="565" y="1688"/>
                    </a:lnTo>
                    <a:lnTo>
                      <a:pt x="563" y="1689"/>
                    </a:lnTo>
                    <a:lnTo>
                      <a:pt x="563" y="1689"/>
                    </a:lnTo>
                    <a:lnTo>
                      <a:pt x="559" y="1688"/>
                    </a:lnTo>
                    <a:lnTo>
                      <a:pt x="554" y="1687"/>
                    </a:lnTo>
                    <a:lnTo>
                      <a:pt x="552" y="1688"/>
                    </a:lnTo>
                    <a:lnTo>
                      <a:pt x="550" y="1691"/>
                    </a:lnTo>
                    <a:lnTo>
                      <a:pt x="549" y="1691"/>
                    </a:lnTo>
                    <a:lnTo>
                      <a:pt x="549" y="1692"/>
                    </a:lnTo>
                    <a:lnTo>
                      <a:pt x="548" y="1693"/>
                    </a:lnTo>
                    <a:lnTo>
                      <a:pt x="546" y="1695"/>
                    </a:lnTo>
                    <a:lnTo>
                      <a:pt x="545" y="1696"/>
                    </a:lnTo>
                    <a:lnTo>
                      <a:pt x="544" y="1696"/>
                    </a:lnTo>
                    <a:lnTo>
                      <a:pt x="542" y="1696"/>
                    </a:lnTo>
                    <a:lnTo>
                      <a:pt x="542" y="1699"/>
                    </a:lnTo>
                    <a:lnTo>
                      <a:pt x="541" y="1700"/>
                    </a:lnTo>
                    <a:lnTo>
                      <a:pt x="540" y="1700"/>
                    </a:lnTo>
                    <a:lnTo>
                      <a:pt x="540" y="1703"/>
                    </a:lnTo>
                    <a:lnTo>
                      <a:pt x="542" y="1704"/>
                    </a:lnTo>
                    <a:lnTo>
                      <a:pt x="542" y="1707"/>
                    </a:lnTo>
                    <a:lnTo>
                      <a:pt x="545" y="1710"/>
                    </a:lnTo>
                    <a:lnTo>
                      <a:pt x="544" y="1710"/>
                    </a:lnTo>
                    <a:lnTo>
                      <a:pt x="542" y="1712"/>
                    </a:lnTo>
                    <a:lnTo>
                      <a:pt x="540" y="1708"/>
                    </a:lnTo>
                    <a:lnTo>
                      <a:pt x="538" y="1708"/>
                    </a:lnTo>
                    <a:lnTo>
                      <a:pt x="535" y="1707"/>
                    </a:lnTo>
                    <a:lnTo>
                      <a:pt x="535" y="1707"/>
                    </a:lnTo>
                    <a:lnTo>
                      <a:pt x="537" y="1706"/>
                    </a:lnTo>
                    <a:lnTo>
                      <a:pt x="538" y="1703"/>
                    </a:lnTo>
                    <a:lnTo>
                      <a:pt x="538" y="1703"/>
                    </a:lnTo>
                    <a:lnTo>
                      <a:pt x="535" y="1703"/>
                    </a:lnTo>
                    <a:lnTo>
                      <a:pt x="534" y="1704"/>
                    </a:lnTo>
                    <a:lnTo>
                      <a:pt x="534" y="1704"/>
                    </a:lnTo>
                    <a:lnTo>
                      <a:pt x="535" y="1710"/>
                    </a:lnTo>
                    <a:lnTo>
                      <a:pt x="538" y="1714"/>
                    </a:lnTo>
                    <a:lnTo>
                      <a:pt x="535" y="1714"/>
                    </a:lnTo>
                    <a:lnTo>
                      <a:pt x="534" y="1714"/>
                    </a:lnTo>
                    <a:lnTo>
                      <a:pt x="534" y="1711"/>
                    </a:lnTo>
                    <a:lnTo>
                      <a:pt x="530" y="1710"/>
                    </a:lnTo>
                    <a:lnTo>
                      <a:pt x="530" y="1706"/>
                    </a:lnTo>
                    <a:lnTo>
                      <a:pt x="527" y="1706"/>
                    </a:lnTo>
                    <a:lnTo>
                      <a:pt x="529" y="1708"/>
                    </a:lnTo>
                    <a:lnTo>
                      <a:pt x="526" y="1710"/>
                    </a:lnTo>
                    <a:lnTo>
                      <a:pt x="526" y="1711"/>
                    </a:lnTo>
                    <a:lnTo>
                      <a:pt x="525" y="1710"/>
                    </a:lnTo>
                    <a:lnTo>
                      <a:pt x="522" y="1708"/>
                    </a:lnTo>
                    <a:lnTo>
                      <a:pt x="522" y="1708"/>
                    </a:lnTo>
                    <a:lnTo>
                      <a:pt x="514" y="1722"/>
                    </a:lnTo>
                    <a:lnTo>
                      <a:pt x="518" y="1723"/>
                    </a:lnTo>
                    <a:lnTo>
                      <a:pt x="518" y="1726"/>
                    </a:lnTo>
                    <a:lnTo>
                      <a:pt x="516" y="1726"/>
                    </a:lnTo>
                    <a:lnTo>
                      <a:pt x="514" y="1723"/>
                    </a:lnTo>
                    <a:lnTo>
                      <a:pt x="514" y="1723"/>
                    </a:lnTo>
                    <a:lnTo>
                      <a:pt x="512" y="1725"/>
                    </a:lnTo>
                    <a:lnTo>
                      <a:pt x="511" y="1726"/>
                    </a:lnTo>
                    <a:lnTo>
                      <a:pt x="510" y="1725"/>
                    </a:lnTo>
                    <a:lnTo>
                      <a:pt x="511" y="1723"/>
                    </a:lnTo>
                    <a:lnTo>
                      <a:pt x="512" y="1723"/>
                    </a:lnTo>
                    <a:lnTo>
                      <a:pt x="506" y="1714"/>
                    </a:lnTo>
                    <a:lnTo>
                      <a:pt x="506" y="1714"/>
                    </a:lnTo>
                    <a:lnTo>
                      <a:pt x="503" y="1715"/>
                    </a:lnTo>
                    <a:lnTo>
                      <a:pt x="500" y="1716"/>
                    </a:lnTo>
                    <a:lnTo>
                      <a:pt x="493" y="1714"/>
                    </a:lnTo>
                    <a:lnTo>
                      <a:pt x="493" y="1714"/>
                    </a:lnTo>
                    <a:lnTo>
                      <a:pt x="491" y="1715"/>
                    </a:lnTo>
                    <a:lnTo>
                      <a:pt x="489" y="1716"/>
                    </a:lnTo>
                    <a:lnTo>
                      <a:pt x="485" y="1719"/>
                    </a:lnTo>
                    <a:lnTo>
                      <a:pt x="485" y="1719"/>
                    </a:lnTo>
                    <a:lnTo>
                      <a:pt x="480" y="1722"/>
                    </a:lnTo>
                    <a:lnTo>
                      <a:pt x="480" y="1722"/>
                    </a:lnTo>
                    <a:lnTo>
                      <a:pt x="469" y="1723"/>
                    </a:lnTo>
                    <a:lnTo>
                      <a:pt x="468" y="1727"/>
                    </a:lnTo>
                    <a:lnTo>
                      <a:pt x="466" y="1727"/>
                    </a:lnTo>
                    <a:lnTo>
                      <a:pt x="465" y="1726"/>
                    </a:lnTo>
                    <a:lnTo>
                      <a:pt x="465" y="1726"/>
                    </a:lnTo>
                    <a:lnTo>
                      <a:pt x="461" y="1727"/>
                    </a:lnTo>
                    <a:lnTo>
                      <a:pt x="461" y="1729"/>
                    </a:lnTo>
                    <a:lnTo>
                      <a:pt x="461" y="1729"/>
                    </a:lnTo>
                    <a:lnTo>
                      <a:pt x="457" y="1729"/>
                    </a:lnTo>
                    <a:lnTo>
                      <a:pt x="454" y="1727"/>
                    </a:lnTo>
                    <a:lnTo>
                      <a:pt x="454" y="1727"/>
                    </a:lnTo>
                    <a:lnTo>
                      <a:pt x="443" y="1735"/>
                    </a:lnTo>
                    <a:lnTo>
                      <a:pt x="443" y="1735"/>
                    </a:lnTo>
                    <a:lnTo>
                      <a:pt x="441" y="1735"/>
                    </a:lnTo>
                    <a:lnTo>
                      <a:pt x="441" y="1735"/>
                    </a:lnTo>
                    <a:lnTo>
                      <a:pt x="438" y="1738"/>
                    </a:lnTo>
                    <a:lnTo>
                      <a:pt x="435" y="1739"/>
                    </a:lnTo>
                    <a:lnTo>
                      <a:pt x="434" y="1739"/>
                    </a:lnTo>
                    <a:lnTo>
                      <a:pt x="432" y="1741"/>
                    </a:lnTo>
                    <a:lnTo>
                      <a:pt x="432" y="1741"/>
                    </a:lnTo>
                    <a:lnTo>
                      <a:pt x="424" y="1741"/>
                    </a:lnTo>
                    <a:lnTo>
                      <a:pt x="420" y="1741"/>
                    </a:lnTo>
                    <a:lnTo>
                      <a:pt x="416" y="1742"/>
                    </a:lnTo>
                    <a:lnTo>
                      <a:pt x="413" y="1739"/>
                    </a:lnTo>
                    <a:lnTo>
                      <a:pt x="413" y="1739"/>
                    </a:lnTo>
                    <a:lnTo>
                      <a:pt x="412" y="1741"/>
                    </a:lnTo>
                    <a:lnTo>
                      <a:pt x="409" y="1741"/>
                    </a:lnTo>
                    <a:lnTo>
                      <a:pt x="404" y="1741"/>
                    </a:lnTo>
                    <a:lnTo>
                      <a:pt x="403" y="1739"/>
                    </a:lnTo>
                    <a:lnTo>
                      <a:pt x="404" y="1737"/>
                    </a:lnTo>
                    <a:lnTo>
                      <a:pt x="405" y="1735"/>
                    </a:lnTo>
                    <a:lnTo>
                      <a:pt x="404" y="1733"/>
                    </a:lnTo>
                    <a:lnTo>
                      <a:pt x="404" y="1733"/>
                    </a:lnTo>
                    <a:lnTo>
                      <a:pt x="401" y="1733"/>
                    </a:lnTo>
                    <a:lnTo>
                      <a:pt x="401" y="1733"/>
                    </a:lnTo>
                    <a:lnTo>
                      <a:pt x="396" y="1734"/>
                    </a:lnTo>
                    <a:lnTo>
                      <a:pt x="390" y="1737"/>
                    </a:lnTo>
                    <a:lnTo>
                      <a:pt x="385" y="1737"/>
                    </a:lnTo>
                    <a:lnTo>
                      <a:pt x="382" y="1735"/>
                    </a:lnTo>
                    <a:lnTo>
                      <a:pt x="381" y="1734"/>
                    </a:lnTo>
                    <a:lnTo>
                      <a:pt x="381" y="1734"/>
                    </a:lnTo>
                    <a:lnTo>
                      <a:pt x="377" y="1735"/>
                    </a:lnTo>
                    <a:lnTo>
                      <a:pt x="373" y="1735"/>
                    </a:lnTo>
                    <a:lnTo>
                      <a:pt x="366" y="1744"/>
                    </a:lnTo>
                    <a:lnTo>
                      <a:pt x="363" y="1745"/>
                    </a:lnTo>
                    <a:lnTo>
                      <a:pt x="363" y="1745"/>
                    </a:lnTo>
                    <a:lnTo>
                      <a:pt x="366" y="1746"/>
                    </a:lnTo>
                    <a:lnTo>
                      <a:pt x="367" y="1749"/>
                    </a:lnTo>
                    <a:lnTo>
                      <a:pt x="366" y="1750"/>
                    </a:lnTo>
                    <a:lnTo>
                      <a:pt x="363" y="1752"/>
                    </a:lnTo>
                    <a:lnTo>
                      <a:pt x="365" y="1753"/>
                    </a:lnTo>
                    <a:lnTo>
                      <a:pt x="363" y="1757"/>
                    </a:lnTo>
                    <a:lnTo>
                      <a:pt x="362" y="1757"/>
                    </a:lnTo>
                    <a:lnTo>
                      <a:pt x="362" y="1756"/>
                    </a:lnTo>
                    <a:lnTo>
                      <a:pt x="363" y="1753"/>
                    </a:lnTo>
                    <a:lnTo>
                      <a:pt x="362" y="1750"/>
                    </a:lnTo>
                    <a:lnTo>
                      <a:pt x="362" y="1750"/>
                    </a:lnTo>
                    <a:lnTo>
                      <a:pt x="365" y="1749"/>
                    </a:lnTo>
                    <a:lnTo>
                      <a:pt x="365" y="1748"/>
                    </a:lnTo>
                    <a:lnTo>
                      <a:pt x="363" y="1749"/>
                    </a:lnTo>
                    <a:lnTo>
                      <a:pt x="360" y="1748"/>
                    </a:lnTo>
                    <a:lnTo>
                      <a:pt x="358" y="1744"/>
                    </a:lnTo>
                    <a:lnTo>
                      <a:pt x="350" y="1741"/>
                    </a:lnTo>
                    <a:lnTo>
                      <a:pt x="350" y="1741"/>
                    </a:lnTo>
                    <a:lnTo>
                      <a:pt x="346" y="1742"/>
                    </a:lnTo>
                    <a:lnTo>
                      <a:pt x="343" y="1744"/>
                    </a:lnTo>
                    <a:lnTo>
                      <a:pt x="336" y="1745"/>
                    </a:lnTo>
                    <a:lnTo>
                      <a:pt x="336" y="1745"/>
                    </a:lnTo>
                    <a:lnTo>
                      <a:pt x="333" y="1742"/>
                    </a:lnTo>
                    <a:lnTo>
                      <a:pt x="331" y="1742"/>
                    </a:lnTo>
                    <a:lnTo>
                      <a:pt x="328" y="1741"/>
                    </a:lnTo>
                    <a:lnTo>
                      <a:pt x="325" y="1739"/>
                    </a:lnTo>
                    <a:lnTo>
                      <a:pt x="325" y="1739"/>
                    </a:lnTo>
                    <a:lnTo>
                      <a:pt x="322" y="1739"/>
                    </a:lnTo>
                    <a:lnTo>
                      <a:pt x="318" y="1738"/>
                    </a:lnTo>
                    <a:lnTo>
                      <a:pt x="313" y="1735"/>
                    </a:lnTo>
                    <a:lnTo>
                      <a:pt x="310" y="1737"/>
                    </a:lnTo>
                    <a:lnTo>
                      <a:pt x="310" y="1737"/>
                    </a:lnTo>
                    <a:lnTo>
                      <a:pt x="306" y="1739"/>
                    </a:lnTo>
                    <a:lnTo>
                      <a:pt x="301" y="1742"/>
                    </a:lnTo>
                    <a:lnTo>
                      <a:pt x="301" y="1744"/>
                    </a:lnTo>
                    <a:lnTo>
                      <a:pt x="301" y="1744"/>
                    </a:lnTo>
                    <a:lnTo>
                      <a:pt x="298" y="1746"/>
                    </a:lnTo>
                    <a:lnTo>
                      <a:pt x="295" y="1749"/>
                    </a:lnTo>
                    <a:lnTo>
                      <a:pt x="295" y="1750"/>
                    </a:lnTo>
                    <a:lnTo>
                      <a:pt x="290" y="1756"/>
                    </a:lnTo>
                    <a:lnTo>
                      <a:pt x="290" y="1758"/>
                    </a:lnTo>
                    <a:lnTo>
                      <a:pt x="293" y="1761"/>
                    </a:lnTo>
                    <a:lnTo>
                      <a:pt x="291" y="1767"/>
                    </a:lnTo>
                    <a:lnTo>
                      <a:pt x="290" y="1767"/>
                    </a:lnTo>
                    <a:lnTo>
                      <a:pt x="289" y="1768"/>
                    </a:lnTo>
                    <a:lnTo>
                      <a:pt x="291" y="1769"/>
                    </a:lnTo>
                    <a:lnTo>
                      <a:pt x="289" y="1772"/>
                    </a:lnTo>
                    <a:lnTo>
                      <a:pt x="290" y="1773"/>
                    </a:lnTo>
                    <a:lnTo>
                      <a:pt x="290" y="1776"/>
                    </a:lnTo>
                    <a:lnTo>
                      <a:pt x="290" y="1779"/>
                    </a:lnTo>
                    <a:lnTo>
                      <a:pt x="289" y="1780"/>
                    </a:lnTo>
                    <a:lnTo>
                      <a:pt x="289" y="1780"/>
                    </a:lnTo>
                    <a:lnTo>
                      <a:pt x="290" y="1784"/>
                    </a:lnTo>
                    <a:lnTo>
                      <a:pt x="289" y="1788"/>
                    </a:lnTo>
                    <a:lnTo>
                      <a:pt x="287" y="1796"/>
                    </a:lnTo>
                    <a:lnTo>
                      <a:pt x="287" y="1796"/>
                    </a:lnTo>
                    <a:lnTo>
                      <a:pt x="293" y="1795"/>
                    </a:lnTo>
                    <a:lnTo>
                      <a:pt x="299" y="1792"/>
                    </a:lnTo>
                    <a:lnTo>
                      <a:pt x="301" y="1795"/>
                    </a:lnTo>
                    <a:lnTo>
                      <a:pt x="299" y="1799"/>
                    </a:lnTo>
                    <a:lnTo>
                      <a:pt x="301" y="1799"/>
                    </a:lnTo>
                    <a:lnTo>
                      <a:pt x="303" y="1796"/>
                    </a:lnTo>
                    <a:lnTo>
                      <a:pt x="305" y="1798"/>
                    </a:lnTo>
                    <a:lnTo>
                      <a:pt x="306" y="1799"/>
                    </a:lnTo>
                    <a:lnTo>
                      <a:pt x="306" y="1806"/>
                    </a:lnTo>
                    <a:lnTo>
                      <a:pt x="306" y="1806"/>
                    </a:lnTo>
                    <a:lnTo>
                      <a:pt x="305" y="1805"/>
                    </a:lnTo>
                    <a:lnTo>
                      <a:pt x="303" y="1801"/>
                    </a:lnTo>
                    <a:lnTo>
                      <a:pt x="302" y="1801"/>
                    </a:lnTo>
                    <a:lnTo>
                      <a:pt x="299" y="1802"/>
                    </a:lnTo>
                    <a:lnTo>
                      <a:pt x="297" y="1801"/>
                    </a:lnTo>
                    <a:lnTo>
                      <a:pt x="297" y="1798"/>
                    </a:lnTo>
                    <a:lnTo>
                      <a:pt x="294" y="1798"/>
                    </a:lnTo>
                    <a:lnTo>
                      <a:pt x="294" y="1798"/>
                    </a:lnTo>
                    <a:lnTo>
                      <a:pt x="290" y="1798"/>
                    </a:lnTo>
                    <a:lnTo>
                      <a:pt x="286" y="1796"/>
                    </a:lnTo>
                    <a:lnTo>
                      <a:pt x="282" y="1799"/>
                    </a:lnTo>
                    <a:lnTo>
                      <a:pt x="279" y="1798"/>
                    </a:lnTo>
                    <a:lnTo>
                      <a:pt x="279" y="1798"/>
                    </a:lnTo>
                    <a:lnTo>
                      <a:pt x="275" y="1801"/>
                    </a:lnTo>
                    <a:lnTo>
                      <a:pt x="271" y="1802"/>
                    </a:lnTo>
                    <a:lnTo>
                      <a:pt x="270" y="1803"/>
                    </a:lnTo>
                    <a:lnTo>
                      <a:pt x="265" y="1806"/>
                    </a:lnTo>
                    <a:lnTo>
                      <a:pt x="263" y="1813"/>
                    </a:lnTo>
                    <a:lnTo>
                      <a:pt x="256" y="1818"/>
                    </a:lnTo>
                    <a:lnTo>
                      <a:pt x="253" y="1817"/>
                    </a:lnTo>
                    <a:lnTo>
                      <a:pt x="252" y="1819"/>
                    </a:lnTo>
                    <a:lnTo>
                      <a:pt x="251" y="1819"/>
                    </a:lnTo>
                    <a:lnTo>
                      <a:pt x="249" y="1819"/>
                    </a:lnTo>
                    <a:lnTo>
                      <a:pt x="246" y="1821"/>
                    </a:lnTo>
                    <a:lnTo>
                      <a:pt x="246" y="1822"/>
                    </a:lnTo>
                    <a:lnTo>
                      <a:pt x="246" y="1822"/>
                    </a:lnTo>
                    <a:lnTo>
                      <a:pt x="242" y="1824"/>
                    </a:lnTo>
                    <a:lnTo>
                      <a:pt x="238" y="1826"/>
                    </a:lnTo>
                    <a:lnTo>
                      <a:pt x="238" y="1826"/>
                    </a:lnTo>
                    <a:lnTo>
                      <a:pt x="233" y="1828"/>
                    </a:lnTo>
                    <a:lnTo>
                      <a:pt x="229" y="1829"/>
                    </a:lnTo>
                    <a:lnTo>
                      <a:pt x="223" y="1830"/>
                    </a:lnTo>
                    <a:lnTo>
                      <a:pt x="221" y="1832"/>
                    </a:lnTo>
                    <a:lnTo>
                      <a:pt x="218" y="1829"/>
                    </a:lnTo>
                    <a:lnTo>
                      <a:pt x="214" y="1830"/>
                    </a:lnTo>
                    <a:lnTo>
                      <a:pt x="213" y="1829"/>
                    </a:lnTo>
                    <a:lnTo>
                      <a:pt x="213" y="1829"/>
                    </a:lnTo>
                    <a:lnTo>
                      <a:pt x="210" y="1829"/>
                    </a:lnTo>
                    <a:lnTo>
                      <a:pt x="206" y="1829"/>
                    </a:lnTo>
                    <a:lnTo>
                      <a:pt x="194" y="1834"/>
                    </a:lnTo>
                    <a:lnTo>
                      <a:pt x="194" y="1840"/>
                    </a:lnTo>
                    <a:lnTo>
                      <a:pt x="191" y="1841"/>
                    </a:lnTo>
                    <a:lnTo>
                      <a:pt x="194" y="1847"/>
                    </a:lnTo>
                    <a:lnTo>
                      <a:pt x="194" y="1847"/>
                    </a:lnTo>
                    <a:lnTo>
                      <a:pt x="199" y="1848"/>
                    </a:lnTo>
                    <a:lnTo>
                      <a:pt x="204" y="1851"/>
                    </a:lnTo>
                    <a:lnTo>
                      <a:pt x="204" y="1851"/>
                    </a:lnTo>
                    <a:lnTo>
                      <a:pt x="210" y="1852"/>
                    </a:lnTo>
                    <a:lnTo>
                      <a:pt x="217" y="1853"/>
                    </a:lnTo>
                    <a:lnTo>
                      <a:pt x="230" y="1855"/>
                    </a:lnTo>
                    <a:lnTo>
                      <a:pt x="232" y="1856"/>
                    </a:lnTo>
                    <a:lnTo>
                      <a:pt x="232" y="1856"/>
                    </a:lnTo>
                    <a:lnTo>
                      <a:pt x="234" y="1860"/>
                    </a:lnTo>
                    <a:lnTo>
                      <a:pt x="233" y="1866"/>
                    </a:lnTo>
                    <a:lnTo>
                      <a:pt x="232" y="1875"/>
                    </a:lnTo>
                    <a:lnTo>
                      <a:pt x="232" y="1875"/>
                    </a:lnTo>
                    <a:lnTo>
                      <a:pt x="233" y="1885"/>
                    </a:lnTo>
                    <a:lnTo>
                      <a:pt x="233" y="1885"/>
                    </a:lnTo>
                    <a:lnTo>
                      <a:pt x="230" y="1894"/>
                    </a:lnTo>
                    <a:lnTo>
                      <a:pt x="226" y="1902"/>
                    </a:lnTo>
                    <a:lnTo>
                      <a:pt x="226" y="1902"/>
                    </a:lnTo>
                    <a:lnTo>
                      <a:pt x="227" y="1904"/>
                    </a:lnTo>
                    <a:lnTo>
                      <a:pt x="229" y="1904"/>
                    </a:lnTo>
                    <a:lnTo>
                      <a:pt x="229" y="1900"/>
                    </a:lnTo>
                    <a:lnTo>
                      <a:pt x="233" y="1894"/>
                    </a:lnTo>
                    <a:lnTo>
                      <a:pt x="237" y="1897"/>
                    </a:lnTo>
                    <a:lnTo>
                      <a:pt x="236" y="1900"/>
                    </a:lnTo>
                    <a:lnTo>
                      <a:pt x="234" y="1904"/>
                    </a:lnTo>
                    <a:lnTo>
                      <a:pt x="232" y="1901"/>
                    </a:lnTo>
                    <a:lnTo>
                      <a:pt x="230" y="1902"/>
                    </a:lnTo>
                    <a:lnTo>
                      <a:pt x="230" y="1905"/>
                    </a:lnTo>
                    <a:lnTo>
                      <a:pt x="229" y="1906"/>
                    </a:lnTo>
                    <a:lnTo>
                      <a:pt x="225" y="1905"/>
                    </a:lnTo>
                    <a:lnTo>
                      <a:pt x="225" y="1905"/>
                    </a:lnTo>
                    <a:lnTo>
                      <a:pt x="222" y="1906"/>
                    </a:lnTo>
                    <a:lnTo>
                      <a:pt x="221" y="1909"/>
                    </a:lnTo>
                    <a:lnTo>
                      <a:pt x="221" y="1910"/>
                    </a:lnTo>
                    <a:lnTo>
                      <a:pt x="222" y="1912"/>
                    </a:lnTo>
                    <a:lnTo>
                      <a:pt x="227" y="1910"/>
                    </a:lnTo>
                    <a:lnTo>
                      <a:pt x="230" y="1910"/>
                    </a:lnTo>
                    <a:lnTo>
                      <a:pt x="233" y="1909"/>
                    </a:lnTo>
                    <a:lnTo>
                      <a:pt x="233" y="1914"/>
                    </a:lnTo>
                    <a:lnTo>
                      <a:pt x="230" y="1916"/>
                    </a:lnTo>
                    <a:lnTo>
                      <a:pt x="226" y="1916"/>
                    </a:lnTo>
                    <a:lnTo>
                      <a:pt x="223" y="1917"/>
                    </a:lnTo>
                    <a:lnTo>
                      <a:pt x="223" y="1920"/>
                    </a:lnTo>
                    <a:lnTo>
                      <a:pt x="219" y="1923"/>
                    </a:lnTo>
                    <a:lnTo>
                      <a:pt x="218" y="1923"/>
                    </a:lnTo>
                    <a:lnTo>
                      <a:pt x="218" y="1925"/>
                    </a:lnTo>
                    <a:lnTo>
                      <a:pt x="218" y="1925"/>
                    </a:lnTo>
                    <a:lnTo>
                      <a:pt x="221" y="1924"/>
                    </a:lnTo>
                    <a:lnTo>
                      <a:pt x="223" y="1925"/>
                    </a:lnTo>
                    <a:lnTo>
                      <a:pt x="226" y="1923"/>
                    </a:lnTo>
                    <a:lnTo>
                      <a:pt x="227" y="1923"/>
                    </a:lnTo>
                    <a:lnTo>
                      <a:pt x="227" y="1923"/>
                    </a:lnTo>
                    <a:lnTo>
                      <a:pt x="232" y="1924"/>
                    </a:lnTo>
                    <a:lnTo>
                      <a:pt x="236" y="1925"/>
                    </a:lnTo>
                    <a:lnTo>
                      <a:pt x="236" y="1925"/>
                    </a:lnTo>
                    <a:lnTo>
                      <a:pt x="238" y="1927"/>
                    </a:lnTo>
                    <a:lnTo>
                      <a:pt x="242" y="1928"/>
                    </a:lnTo>
                    <a:lnTo>
                      <a:pt x="249" y="1928"/>
                    </a:lnTo>
                    <a:lnTo>
                      <a:pt x="253" y="1925"/>
                    </a:lnTo>
                    <a:lnTo>
                      <a:pt x="255" y="1927"/>
                    </a:lnTo>
                    <a:lnTo>
                      <a:pt x="257" y="1928"/>
                    </a:lnTo>
                    <a:lnTo>
                      <a:pt x="263" y="1931"/>
                    </a:lnTo>
                    <a:lnTo>
                      <a:pt x="264" y="1933"/>
                    </a:lnTo>
                    <a:lnTo>
                      <a:pt x="265" y="1936"/>
                    </a:lnTo>
                    <a:lnTo>
                      <a:pt x="265" y="1936"/>
                    </a:lnTo>
                    <a:lnTo>
                      <a:pt x="271" y="1935"/>
                    </a:lnTo>
                    <a:lnTo>
                      <a:pt x="275" y="1933"/>
                    </a:lnTo>
                    <a:lnTo>
                      <a:pt x="275" y="1938"/>
                    </a:lnTo>
                    <a:lnTo>
                      <a:pt x="274" y="1938"/>
                    </a:lnTo>
                    <a:lnTo>
                      <a:pt x="272" y="1936"/>
                    </a:lnTo>
                    <a:lnTo>
                      <a:pt x="272" y="1936"/>
                    </a:lnTo>
                    <a:lnTo>
                      <a:pt x="267" y="1938"/>
                    </a:lnTo>
                    <a:lnTo>
                      <a:pt x="264" y="1938"/>
                    </a:lnTo>
                    <a:lnTo>
                      <a:pt x="263" y="1938"/>
                    </a:lnTo>
                    <a:lnTo>
                      <a:pt x="261" y="1940"/>
                    </a:lnTo>
                    <a:lnTo>
                      <a:pt x="261" y="1940"/>
                    </a:lnTo>
                    <a:lnTo>
                      <a:pt x="260" y="1942"/>
                    </a:lnTo>
                    <a:lnTo>
                      <a:pt x="260" y="1943"/>
                    </a:lnTo>
                    <a:lnTo>
                      <a:pt x="259" y="1943"/>
                    </a:lnTo>
                    <a:lnTo>
                      <a:pt x="259" y="1943"/>
                    </a:lnTo>
                    <a:lnTo>
                      <a:pt x="256" y="1940"/>
                    </a:lnTo>
                    <a:lnTo>
                      <a:pt x="252" y="1939"/>
                    </a:lnTo>
                    <a:lnTo>
                      <a:pt x="252" y="1939"/>
                    </a:lnTo>
                    <a:lnTo>
                      <a:pt x="248" y="1942"/>
                    </a:lnTo>
                    <a:lnTo>
                      <a:pt x="242" y="1946"/>
                    </a:lnTo>
                    <a:lnTo>
                      <a:pt x="242" y="1946"/>
                    </a:lnTo>
                    <a:lnTo>
                      <a:pt x="240" y="1944"/>
                    </a:lnTo>
                    <a:lnTo>
                      <a:pt x="236" y="1946"/>
                    </a:lnTo>
                    <a:lnTo>
                      <a:pt x="236" y="1943"/>
                    </a:lnTo>
                    <a:lnTo>
                      <a:pt x="232" y="1942"/>
                    </a:lnTo>
                    <a:lnTo>
                      <a:pt x="232" y="1942"/>
                    </a:lnTo>
                    <a:lnTo>
                      <a:pt x="236" y="1939"/>
                    </a:lnTo>
                    <a:lnTo>
                      <a:pt x="240" y="1938"/>
                    </a:lnTo>
                    <a:lnTo>
                      <a:pt x="241" y="1935"/>
                    </a:lnTo>
                    <a:lnTo>
                      <a:pt x="241" y="1935"/>
                    </a:lnTo>
                    <a:lnTo>
                      <a:pt x="238" y="1935"/>
                    </a:lnTo>
                    <a:lnTo>
                      <a:pt x="236" y="1935"/>
                    </a:lnTo>
                    <a:lnTo>
                      <a:pt x="230" y="1938"/>
                    </a:lnTo>
                    <a:lnTo>
                      <a:pt x="230" y="1938"/>
                    </a:lnTo>
                    <a:lnTo>
                      <a:pt x="226" y="1946"/>
                    </a:lnTo>
                    <a:lnTo>
                      <a:pt x="222" y="1950"/>
                    </a:lnTo>
                    <a:lnTo>
                      <a:pt x="215" y="1951"/>
                    </a:lnTo>
                    <a:lnTo>
                      <a:pt x="206" y="1954"/>
                    </a:lnTo>
                    <a:lnTo>
                      <a:pt x="206" y="1954"/>
                    </a:lnTo>
                    <a:lnTo>
                      <a:pt x="200" y="1951"/>
                    </a:lnTo>
                    <a:lnTo>
                      <a:pt x="196" y="1951"/>
                    </a:lnTo>
                    <a:lnTo>
                      <a:pt x="194" y="1952"/>
                    </a:lnTo>
                    <a:lnTo>
                      <a:pt x="190" y="1952"/>
                    </a:lnTo>
                    <a:lnTo>
                      <a:pt x="190" y="1952"/>
                    </a:lnTo>
                    <a:lnTo>
                      <a:pt x="185" y="1950"/>
                    </a:lnTo>
                    <a:lnTo>
                      <a:pt x="183" y="1947"/>
                    </a:lnTo>
                    <a:lnTo>
                      <a:pt x="180" y="1944"/>
                    </a:lnTo>
                    <a:lnTo>
                      <a:pt x="180" y="1944"/>
                    </a:lnTo>
                    <a:lnTo>
                      <a:pt x="176" y="1942"/>
                    </a:lnTo>
                    <a:lnTo>
                      <a:pt x="172" y="1939"/>
                    </a:lnTo>
                    <a:lnTo>
                      <a:pt x="165" y="1932"/>
                    </a:lnTo>
                    <a:lnTo>
                      <a:pt x="164" y="1923"/>
                    </a:lnTo>
                    <a:lnTo>
                      <a:pt x="166" y="1921"/>
                    </a:lnTo>
                    <a:lnTo>
                      <a:pt x="166" y="1908"/>
                    </a:lnTo>
                    <a:lnTo>
                      <a:pt x="171" y="1904"/>
                    </a:lnTo>
                    <a:lnTo>
                      <a:pt x="168" y="1901"/>
                    </a:lnTo>
                    <a:lnTo>
                      <a:pt x="166" y="1901"/>
                    </a:lnTo>
                    <a:lnTo>
                      <a:pt x="165" y="1902"/>
                    </a:lnTo>
                    <a:lnTo>
                      <a:pt x="166" y="1905"/>
                    </a:lnTo>
                    <a:lnTo>
                      <a:pt x="166" y="1905"/>
                    </a:lnTo>
                    <a:lnTo>
                      <a:pt x="165" y="1906"/>
                    </a:lnTo>
                    <a:lnTo>
                      <a:pt x="162" y="1908"/>
                    </a:lnTo>
                    <a:lnTo>
                      <a:pt x="161" y="1908"/>
                    </a:lnTo>
                    <a:lnTo>
                      <a:pt x="160" y="1905"/>
                    </a:lnTo>
                    <a:lnTo>
                      <a:pt x="161" y="1904"/>
                    </a:lnTo>
                    <a:lnTo>
                      <a:pt x="161" y="1904"/>
                    </a:lnTo>
                    <a:lnTo>
                      <a:pt x="157" y="1904"/>
                    </a:lnTo>
                    <a:lnTo>
                      <a:pt x="154" y="1905"/>
                    </a:lnTo>
                    <a:lnTo>
                      <a:pt x="153" y="1904"/>
                    </a:lnTo>
                    <a:lnTo>
                      <a:pt x="152" y="1905"/>
                    </a:lnTo>
                    <a:lnTo>
                      <a:pt x="153" y="1908"/>
                    </a:lnTo>
                    <a:lnTo>
                      <a:pt x="157" y="1909"/>
                    </a:lnTo>
                    <a:lnTo>
                      <a:pt x="160" y="1913"/>
                    </a:lnTo>
                    <a:lnTo>
                      <a:pt x="160" y="1913"/>
                    </a:lnTo>
                    <a:lnTo>
                      <a:pt x="160" y="1917"/>
                    </a:lnTo>
                    <a:lnTo>
                      <a:pt x="160" y="1921"/>
                    </a:lnTo>
                    <a:lnTo>
                      <a:pt x="156" y="1929"/>
                    </a:lnTo>
                    <a:lnTo>
                      <a:pt x="149" y="1936"/>
                    </a:lnTo>
                    <a:lnTo>
                      <a:pt x="143" y="1942"/>
                    </a:lnTo>
                    <a:lnTo>
                      <a:pt x="143" y="1942"/>
                    </a:lnTo>
                    <a:lnTo>
                      <a:pt x="139" y="1943"/>
                    </a:lnTo>
                    <a:lnTo>
                      <a:pt x="134" y="1944"/>
                    </a:lnTo>
                    <a:lnTo>
                      <a:pt x="124" y="1946"/>
                    </a:lnTo>
                    <a:lnTo>
                      <a:pt x="124" y="1947"/>
                    </a:lnTo>
                    <a:lnTo>
                      <a:pt x="122" y="1948"/>
                    </a:lnTo>
                    <a:lnTo>
                      <a:pt x="122" y="1948"/>
                    </a:lnTo>
                    <a:lnTo>
                      <a:pt x="116" y="1948"/>
                    </a:lnTo>
                    <a:lnTo>
                      <a:pt x="111" y="1950"/>
                    </a:lnTo>
                    <a:lnTo>
                      <a:pt x="107" y="1952"/>
                    </a:lnTo>
                    <a:lnTo>
                      <a:pt x="107" y="1952"/>
                    </a:lnTo>
                    <a:lnTo>
                      <a:pt x="108" y="1950"/>
                    </a:lnTo>
                    <a:lnTo>
                      <a:pt x="109" y="1947"/>
                    </a:lnTo>
                    <a:lnTo>
                      <a:pt x="115" y="1943"/>
                    </a:lnTo>
                    <a:lnTo>
                      <a:pt x="115" y="1943"/>
                    </a:lnTo>
                    <a:lnTo>
                      <a:pt x="116" y="1939"/>
                    </a:lnTo>
                    <a:lnTo>
                      <a:pt x="119" y="1935"/>
                    </a:lnTo>
                    <a:lnTo>
                      <a:pt x="119" y="1933"/>
                    </a:lnTo>
                    <a:lnTo>
                      <a:pt x="116" y="1932"/>
                    </a:lnTo>
                    <a:lnTo>
                      <a:pt x="115" y="1931"/>
                    </a:lnTo>
                    <a:lnTo>
                      <a:pt x="116" y="1925"/>
                    </a:lnTo>
                    <a:lnTo>
                      <a:pt x="115" y="1923"/>
                    </a:lnTo>
                    <a:lnTo>
                      <a:pt x="116" y="1917"/>
                    </a:lnTo>
                    <a:lnTo>
                      <a:pt x="116" y="1917"/>
                    </a:lnTo>
                    <a:lnTo>
                      <a:pt x="112" y="1917"/>
                    </a:lnTo>
                    <a:lnTo>
                      <a:pt x="109" y="1916"/>
                    </a:lnTo>
                    <a:lnTo>
                      <a:pt x="109" y="1916"/>
                    </a:lnTo>
                    <a:lnTo>
                      <a:pt x="103" y="1919"/>
                    </a:lnTo>
                    <a:lnTo>
                      <a:pt x="99" y="1921"/>
                    </a:lnTo>
                    <a:lnTo>
                      <a:pt x="97" y="1923"/>
                    </a:lnTo>
                    <a:lnTo>
                      <a:pt x="97" y="1927"/>
                    </a:lnTo>
                    <a:lnTo>
                      <a:pt x="96" y="1928"/>
                    </a:lnTo>
                    <a:lnTo>
                      <a:pt x="92" y="1925"/>
                    </a:lnTo>
                    <a:lnTo>
                      <a:pt x="90" y="1924"/>
                    </a:lnTo>
                    <a:lnTo>
                      <a:pt x="90" y="1924"/>
                    </a:lnTo>
                    <a:lnTo>
                      <a:pt x="88" y="1925"/>
                    </a:lnTo>
                    <a:lnTo>
                      <a:pt x="85" y="1925"/>
                    </a:lnTo>
                    <a:lnTo>
                      <a:pt x="85" y="1925"/>
                    </a:lnTo>
                    <a:lnTo>
                      <a:pt x="80" y="1929"/>
                    </a:lnTo>
                    <a:lnTo>
                      <a:pt x="77" y="1932"/>
                    </a:lnTo>
                    <a:lnTo>
                      <a:pt x="76" y="1936"/>
                    </a:lnTo>
                    <a:lnTo>
                      <a:pt x="76" y="1936"/>
                    </a:lnTo>
                    <a:lnTo>
                      <a:pt x="73" y="1936"/>
                    </a:lnTo>
                    <a:lnTo>
                      <a:pt x="69" y="1936"/>
                    </a:lnTo>
                    <a:lnTo>
                      <a:pt x="67" y="1938"/>
                    </a:lnTo>
                    <a:lnTo>
                      <a:pt x="66" y="1940"/>
                    </a:lnTo>
                    <a:lnTo>
                      <a:pt x="62" y="1947"/>
                    </a:lnTo>
                    <a:lnTo>
                      <a:pt x="59" y="1947"/>
                    </a:lnTo>
                    <a:lnTo>
                      <a:pt x="52" y="1951"/>
                    </a:lnTo>
                    <a:lnTo>
                      <a:pt x="51" y="1950"/>
                    </a:lnTo>
                    <a:lnTo>
                      <a:pt x="50" y="1948"/>
                    </a:lnTo>
                    <a:lnTo>
                      <a:pt x="48" y="1950"/>
                    </a:lnTo>
                    <a:lnTo>
                      <a:pt x="48" y="1951"/>
                    </a:lnTo>
                    <a:lnTo>
                      <a:pt x="47" y="1952"/>
                    </a:lnTo>
                    <a:lnTo>
                      <a:pt x="44" y="1951"/>
                    </a:lnTo>
                    <a:lnTo>
                      <a:pt x="44" y="1950"/>
                    </a:lnTo>
                    <a:lnTo>
                      <a:pt x="42" y="1951"/>
                    </a:lnTo>
                    <a:lnTo>
                      <a:pt x="42" y="1951"/>
                    </a:lnTo>
                    <a:lnTo>
                      <a:pt x="40" y="1954"/>
                    </a:lnTo>
                    <a:lnTo>
                      <a:pt x="38" y="1957"/>
                    </a:lnTo>
                    <a:lnTo>
                      <a:pt x="38" y="1957"/>
                    </a:lnTo>
                    <a:lnTo>
                      <a:pt x="38" y="1959"/>
                    </a:lnTo>
                    <a:lnTo>
                      <a:pt x="38" y="1962"/>
                    </a:lnTo>
                    <a:lnTo>
                      <a:pt x="43" y="1962"/>
                    </a:lnTo>
                    <a:lnTo>
                      <a:pt x="44" y="1965"/>
                    </a:lnTo>
                    <a:lnTo>
                      <a:pt x="36" y="1974"/>
                    </a:lnTo>
                    <a:lnTo>
                      <a:pt x="36" y="1978"/>
                    </a:lnTo>
                    <a:lnTo>
                      <a:pt x="40" y="1981"/>
                    </a:lnTo>
                    <a:lnTo>
                      <a:pt x="40" y="1981"/>
                    </a:lnTo>
                    <a:lnTo>
                      <a:pt x="40" y="1985"/>
                    </a:lnTo>
                    <a:lnTo>
                      <a:pt x="38" y="1989"/>
                    </a:lnTo>
                    <a:lnTo>
                      <a:pt x="35" y="1988"/>
                    </a:lnTo>
                    <a:lnTo>
                      <a:pt x="35" y="1985"/>
                    </a:lnTo>
                    <a:lnTo>
                      <a:pt x="33" y="1985"/>
                    </a:lnTo>
                    <a:lnTo>
                      <a:pt x="33" y="1985"/>
                    </a:lnTo>
                    <a:lnTo>
                      <a:pt x="31" y="1985"/>
                    </a:lnTo>
                    <a:lnTo>
                      <a:pt x="28" y="1985"/>
                    </a:lnTo>
                    <a:lnTo>
                      <a:pt x="24" y="1984"/>
                    </a:lnTo>
                    <a:lnTo>
                      <a:pt x="23" y="1982"/>
                    </a:lnTo>
                    <a:lnTo>
                      <a:pt x="24" y="1980"/>
                    </a:lnTo>
                    <a:lnTo>
                      <a:pt x="23" y="1977"/>
                    </a:lnTo>
                    <a:lnTo>
                      <a:pt x="23" y="1975"/>
                    </a:lnTo>
                    <a:lnTo>
                      <a:pt x="27" y="1970"/>
                    </a:lnTo>
                    <a:lnTo>
                      <a:pt x="25" y="1967"/>
                    </a:lnTo>
                    <a:lnTo>
                      <a:pt x="25" y="1967"/>
                    </a:lnTo>
                    <a:lnTo>
                      <a:pt x="23" y="1970"/>
                    </a:lnTo>
                    <a:lnTo>
                      <a:pt x="20" y="1971"/>
                    </a:lnTo>
                    <a:lnTo>
                      <a:pt x="17" y="1973"/>
                    </a:lnTo>
                    <a:lnTo>
                      <a:pt x="14" y="1977"/>
                    </a:lnTo>
                    <a:lnTo>
                      <a:pt x="14" y="1977"/>
                    </a:lnTo>
                    <a:lnTo>
                      <a:pt x="12" y="1977"/>
                    </a:lnTo>
                    <a:lnTo>
                      <a:pt x="8" y="1980"/>
                    </a:lnTo>
                    <a:lnTo>
                      <a:pt x="2" y="1984"/>
                    </a:lnTo>
                    <a:lnTo>
                      <a:pt x="2" y="1986"/>
                    </a:lnTo>
                    <a:lnTo>
                      <a:pt x="6" y="1985"/>
                    </a:lnTo>
                    <a:lnTo>
                      <a:pt x="8" y="1985"/>
                    </a:lnTo>
                    <a:lnTo>
                      <a:pt x="8" y="1988"/>
                    </a:lnTo>
                    <a:lnTo>
                      <a:pt x="12" y="1988"/>
                    </a:lnTo>
                    <a:lnTo>
                      <a:pt x="14" y="1989"/>
                    </a:lnTo>
                    <a:lnTo>
                      <a:pt x="13" y="1989"/>
                    </a:lnTo>
                    <a:lnTo>
                      <a:pt x="12" y="1989"/>
                    </a:lnTo>
                    <a:lnTo>
                      <a:pt x="10" y="1990"/>
                    </a:lnTo>
                    <a:lnTo>
                      <a:pt x="10" y="1992"/>
                    </a:lnTo>
                    <a:lnTo>
                      <a:pt x="10" y="1992"/>
                    </a:lnTo>
                    <a:lnTo>
                      <a:pt x="6" y="1994"/>
                    </a:lnTo>
                    <a:lnTo>
                      <a:pt x="5" y="1999"/>
                    </a:lnTo>
                    <a:lnTo>
                      <a:pt x="6" y="2000"/>
                    </a:lnTo>
                    <a:lnTo>
                      <a:pt x="4" y="2001"/>
                    </a:lnTo>
                    <a:lnTo>
                      <a:pt x="1" y="2001"/>
                    </a:lnTo>
                    <a:lnTo>
                      <a:pt x="0" y="2003"/>
                    </a:lnTo>
                    <a:lnTo>
                      <a:pt x="1" y="2004"/>
                    </a:lnTo>
                    <a:lnTo>
                      <a:pt x="5" y="2007"/>
                    </a:lnTo>
                    <a:lnTo>
                      <a:pt x="5" y="2007"/>
                    </a:lnTo>
                    <a:lnTo>
                      <a:pt x="4" y="2011"/>
                    </a:lnTo>
                    <a:lnTo>
                      <a:pt x="4" y="2015"/>
                    </a:lnTo>
                    <a:lnTo>
                      <a:pt x="4" y="2015"/>
                    </a:lnTo>
                    <a:lnTo>
                      <a:pt x="5" y="2018"/>
                    </a:lnTo>
                    <a:lnTo>
                      <a:pt x="6" y="2020"/>
                    </a:lnTo>
                    <a:lnTo>
                      <a:pt x="5" y="2026"/>
                    </a:lnTo>
                    <a:lnTo>
                      <a:pt x="2" y="2026"/>
                    </a:lnTo>
                    <a:lnTo>
                      <a:pt x="0" y="2030"/>
                    </a:lnTo>
                    <a:lnTo>
                      <a:pt x="0" y="2030"/>
                    </a:lnTo>
                    <a:lnTo>
                      <a:pt x="4" y="2028"/>
                    </a:lnTo>
                    <a:lnTo>
                      <a:pt x="6" y="2030"/>
                    </a:lnTo>
                    <a:lnTo>
                      <a:pt x="8" y="2037"/>
                    </a:lnTo>
                    <a:lnTo>
                      <a:pt x="10" y="2037"/>
                    </a:lnTo>
                    <a:lnTo>
                      <a:pt x="17" y="2034"/>
                    </a:lnTo>
                    <a:lnTo>
                      <a:pt x="20" y="2035"/>
                    </a:lnTo>
                    <a:lnTo>
                      <a:pt x="20" y="2035"/>
                    </a:lnTo>
                    <a:lnTo>
                      <a:pt x="23" y="2034"/>
                    </a:lnTo>
                    <a:lnTo>
                      <a:pt x="27" y="2032"/>
                    </a:lnTo>
                    <a:lnTo>
                      <a:pt x="31" y="2030"/>
                    </a:lnTo>
                    <a:lnTo>
                      <a:pt x="36" y="2031"/>
                    </a:lnTo>
                    <a:lnTo>
                      <a:pt x="39" y="2030"/>
                    </a:lnTo>
                    <a:lnTo>
                      <a:pt x="43" y="2031"/>
                    </a:lnTo>
                    <a:lnTo>
                      <a:pt x="47" y="2030"/>
                    </a:lnTo>
                    <a:lnTo>
                      <a:pt x="47" y="2028"/>
                    </a:lnTo>
                    <a:lnTo>
                      <a:pt x="43" y="2027"/>
                    </a:lnTo>
                    <a:lnTo>
                      <a:pt x="42" y="2024"/>
                    </a:lnTo>
                    <a:lnTo>
                      <a:pt x="38" y="2026"/>
                    </a:lnTo>
                    <a:lnTo>
                      <a:pt x="36" y="2022"/>
                    </a:lnTo>
                    <a:lnTo>
                      <a:pt x="36" y="2022"/>
                    </a:lnTo>
                    <a:lnTo>
                      <a:pt x="39" y="2018"/>
                    </a:lnTo>
                    <a:lnTo>
                      <a:pt x="42" y="2015"/>
                    </a:lnTo>
                    <a:lnTo>
                      <a:pt x="51" y="2019"/>
                    </a:lnTo>
                    <a:lnTo>
                      <a:pt x="51" y="2020"/>
                    </a:lnTo>
                    <a:lnTo>
                      <a:pt x="54" y="2020"/>
                    </a:lnTo>
                    <a:lnTo>
                      <a:pt x="55" y="2024"/>
                    </a:lnTo>
                    <a:lnTo>
                      <a:pt x="57" y="2026"/>
                    </a:lnTo>
                    <a:lnTo>
                      <a:pt x="57" y="2026"/>
                    </a:lnTo>
                    <a:lnTo>
                      <a:pt x="59" y="2024"/>
                    </a:lnTo>
                    <a:lnTo>
                      <a:pt x="62" y="2026"/>
                    </a:lnTo>
                    <a:lnTo>
                      <a:pt x="67" y="2028"/>
                    </a:lnTo>
                    <a:lnTo>
                      <a:pt x="67" y="2028"/>
                    </a:lnTo>
                    <a:lnTo>
                      <a:pt x="71" y="2026"/>
                    </a:lnTo>
                    <a:lnTo>
                      <a:pt x="76" y="2026"/>
                    </a:lnTo>
                    <a:lnTo>
                      <a:pt x="78" y="2024"/>
                    </a:lnTo>
                    <a:lnTo>
                      <a:pt x="78" y="2024"/>
                    </a:lnTo>
                    <a:lnTo>
                      <a:pt x="78" y="2022"/>
                    </a:lnTo>
                    <a:lnTo>
                      <a:pt x="76" y="2020"/>
                    </a:lnTo>
                    <a:lnTo>
                      <a:pt x="76" y="2020"/>
                    </a:lnTo>
                    <a:lnTo>
                      <a:pt x="69" y="2019"/>
                    </a:lnTo>
                    <a:lnTo>
                      <a:pt x="63" y="2018"/>
                    </a:lnTo>
                    <a:lnTo>
                      <a:pt x="62" y="2015"/>
                    </a:lnTo>
                    <a:lnTo>
                      <a:pt x="65" y="2012"/>
                    </a:lnTo>
                    <a:lnTo>
                      <a:pt x="66" y="2012"/>
                    </a:lnTo>
                    <a:lnTo>
                      <a:pt x="66" y="2012"/>
                    </a:lnTo>
                    <a:lnTo>
                      <a:pt x="70" y="2011"/>
                    </a:lnTo>
                    <a:lnTo>
                      <a:pt x="74" y="2011"/>
                    </a:lnTo>
                    <a:lnTo>
                      <a:pt x="74" y="2013"/>
                    </a:lnTo>
                    <a:lnTo>
                      <a:pt x="77" y="2015"/>
                    </a:lnTo>
                    <a:lnTo>
                      <a:pt x="80" y="2020"/>
                    </a:lnTo>
                    <a:lnTo>
                      <a:pt x="82" y="2022"/>
                    </a:lnTo>
                    <a:lnTo>
                      <a:pt x="82" y="2022"/>
                    </a:lnTo>
                    <a:lnTo>
                      <a:pt x="82" y="2024"/>
                    </a:lnTo>
                    <a:lnTo>
                      <a:pt x="86" y="2023"/>
                    </a:lnTo>
                    <a:lnTo>
                      <a:pt x="93" y="2023"/>
                    </a:lnTo>
                    <a:lnTo>
                      <a:pt x="93" y="2022"/>
                    </a:lnTo>
                    <a:lnTo>
                      <a:pt x="95" y="2020"/>
                    </a:lnTo>
                    <a:lnTo>
                      <a:pt x="95" y="2016"/>
                    </a:lnTo>
                    <a:lnTo>
                      <a:pt x="92" y="2015"/>
                    </a:lnTo>
                    <a:lnTo>
                      <a:pt x="95" y="2012"/>
                    </a:lnTo>
                    <a:lnTo>
                      <a:pt x="99" y="2013"/>
                    </a:lnTo>
                    <a:lnTo>
                      <a:pt x="97" y="2015"/>
                    </a:lnTo>
                    <a:lnTo>
                      <a:pt x="97" y="2015"/>
                    </a:lnTo>
                    <a:lnTo>
                      <a:pt x="97" y="2018"/>
                    </a:lnTo>
                    <a:lnTo>
                      <a:pt x="96" y="2020"/>
                    </a:lnTo>
                    <a:lnTo>
                      <a:pt x="99" y="2022"/>
                    </a:lnTo>
                    <a:lnTo>
                      <a:pt x="100" y="2024"/>
                    </a:lnTo>
                    <a:lnTo>
                      <a:pt x="100" y="2026"/>
                    </a:lnTo>
                    <a:lnTo>
                      <a:pt x="103" y="2027"/>
                    </a:lnTo>
                    <a:lnTo>
                      <a:pt x="101" y="2030"/>
                    </a:lnTo>
                    <a:lnTo>
                      <a:pt x="103" y="2030"/>
                    </a:lnTo>
                    <a:lnTo>
                      <a:pt x="103" y="2030"/>
                    </a:lnTo>
                    <a:lnTo>
                      <a:pt x="109" y="2026"/>
                    </a:lnTo>
                    <a:lnTo>
                      <a:pt x="115" y="2022"/>
                    </a:lnTo>
                    <a:lnTo>
                      <a:pt x="122" y="2023"/>
                    </a:lnTo>
                    <a:lnTo>
                      <a:pt x="119" y="2027"/>
                    </a:lnTo>
                    <a:lnTo>
                      <a:pt x="122" y="2027"/>
                    </a:lnTo>
                    <a:lnTo>
                      <a:pt x="124" y="2026"/>
                    </a:lnTo>
                    <a:lnTo>
                      <a:pt x="127" y="2026"/>
                    </a:lnTo>
                    <a:lnTo>
                      <a:pt x="133" y="2022"/>
                    </a:lnTo>
                    <a:lnTo>
                      <a:pt x="133" y="2019"/>
                    </a:lnTo>
                    <a:lnTo>
                      <a:pt x="134" y="2018"/>
                    </a:lnTo>
                    <a:lnTo>
                      <a:pt x="138" y="2020"/>
                    </a:lnTo>
                    <a:lnTo>
                      <a:pt x="143" y="2016"/>
                    </a:lnTo>
                    <a:lnTo>
                      <a:pt x="145" y="2018"/>
                    </a:lnTo>
                    <a:lnTo>
                      <a:pt x="145" y="2018"/>
                    </a:lnTo>
                    <a:lnTo>
                      <a:pt x="153" y="2013"/>
                    </a:lnTo>
                    <a:lnTo>
                      <a:pt x="161" y="2011"/>
                    </a:lnTo>
                    <a:lnTo>
                      <a:pt x="168" y="2009"/>
                    </a:lnTo>
                    <a:lnTo>
                      <a:pt x="176" y="2007"/>
                    </a:lnTo>
                    <a:lnTo>
                      <a:pt x="179" y="2008"/>
                    </a:lnTo>
                    <a:lnTo>
                      <a:pt x="179" y="2008"/>
                    </a:lnTo>
                    <a:lnTo>
                      <a:pt x="184" y="2019"/>
                    </a:lnTo>
                    <a:lnTo>
                      <a:pt x="188" y="2024"/>
                    </a:lnTo>
                    <a:lnTo>
                      <a:pt x="191" y="2030"/>
                    </a:lnTo>
                    <a:lnTo>
                      <a:pt x="191" y="2030"/>
                    </a:lnTo>
                    <a:lnTo>
                      <a:pt x="194" y="2030"/>
                    </a:lnTo>
                    <a:lnTo>
                      <a:pt x="196" y="2030"/>
                    </a:lnTo>
                    <a:lnTo>
                      <a:pt x="198" y="2028"/>
                    </a:lnTo>
                    <a:lnTo>
                      <a:pt x="198" y="2028"/>
                    </a:lnTo>
                    <a:lnTo>
                      <a:pt x="196" y="2026"/>
                    </a:lnTo>
                    <a:lnTo>
                      <a:pt x="194" y="2024"/>
                    </a:lnTo>
                    <a:lnTo>
                      <a:pt x="194" y="2024"/>
                    </a:lnTo>
                    <a:lnTo>
                      <a:pt x="192" y="2022"/>
                    </a:lnTo>
                    <a:lnTo>
                      <a:pt x="192" y="2019"/>
                    </a:lnTo>
                    <a:lnTo>
                      <a:pt x="190" y="2016"/>
                    </a:lnTo>
                    <a:lnTo>
                      <a:pt x="190" y="2013"/>
                    </a:lnTo>
                    <a:lnTo>
                      <a:pt x="188" y="2013"/>
                    </a:lnTo>
                    <a:lnTo>
                      <a:pt x="183" y="2008"/>
                    </a:lnTo>
                    <a:lnTo>
                      <a:pt x="187" y="2008"/>
                    </a:lnTo>
                    <a:lnTo>
                      <a:pt x="190" y="2005"/>
                    </a:lnTo>
                    <a:lnTo>
                      <a:pt x="190" y="2005"/>
                    </a:lnTo>
                    <a:lnTo>
                      <a:pt x="199" y="2004"/>
                    </a:lnTo>
                    <a:lnTo>
                      <a:pt x="199" y="2004"/>
                    </a:lnTo>
                    <a:lnTo>
                      <a:pt x="204" y="2003"/>
                    </a:lnTo>
                    <a:lnTo>
                      <a:pt x="207" y="2001"/>
                    </a:lnTo>
                    <a:lnTo>
                      <a:pt x="210" y="2001"/>
                    </a:lnTo>
                    <a:lnTo>
                      <a:pt x="215" y="1999"/>
                    </a:lnTo>
                    <a:lnTo>
                      <a:pt x="218" y="2000"/>
                    </a:lnTo>
                    <a:lnTo>
                      <a:pt x="218" y="2000"/>
                    </a:lnTo>
                    <a:lnTo>
                      <a:pt x="221" y="1997"/>
                    </a:lnTo>
                    <a:lnTo>
                      <a:pt x="225" y="1997"/>
                    </a:lnTo>
                    <a:lnTo>
                      <a:pt x="233" y="1999"/>
                    </a:lnTo>
                    <a:lnTo>
                      <a:pt x="237" y="1997"/>
                    </a:lnTo>
                    <a:lnTo>
                      <a:pt x="240" y="1997"/>
                    </a:lnTo>
                    <a:lnTo>
                      <a:pt x="238" y="1999"/>
                    </a:lnTo>
                    <a:lnTo>
                      <a:pt x="238" y="2000"/>
                    </a:lnTo>
                    <a:lnTo>
                      <a:pt x="241" y="2000"/>
                    </a:lnTo>
                    <a:lnTo>
                      <a:pt x="245" y="1996"/>
                    </a:lnTo>
                    <a:lnTo>
                      <a:pt x="245" y="1999"/>
                    </a:lnTo>
                    <a:lnTo>
                      <a:pt x="248" y="1999"/>
                    </a:lnTo>
                    <a:lnTo>
                      <a:pt x="248" y="2001"/>
                    </a:lnTo>
                    <a:lnTo>
                      <a:pt x="251" y="2001"/>
                    </a:lnTo>
                    <a:lnTo>
                      <a:pt x="251" y="2001"/>
                    </a:lnTo>
                    <a:lnTo>
                      <a:pt x="255" y="2000"/>
                    </a:lnTo>
                    <a:lnTo>
                      <a:pt x="257" y="1997"/>
                    </a:lnTo>
                    <a:lnTo>
                      <a:pt x="260" y="1997"/>
                    </a:lnTo>
                    <a:lnTo>
                      <a:pt x="263" y="2000"/>
                    </a:lnTo>
                    <a:lnTo>
                      <a:pt x="264" y="2001"/>
                    </a:lnTo>
                    <a:lnTo>
                      <a:pt x="263" y="2004"/>
                    </a:lnTo>
                    <a:lnTo>
                      <a:pt x="263" y="2005"/>
                    </a:lnTo>
                    <a:lnTo>
                      <a:pt x="260" y="2004"/>
                    </a:lnTo>
                    <a:lnTo>
                      <a:pt x="260" y="2004"/>
                    </a:lnTo>
                    <a:lnTo>
                      <a:pt x="261" y="2003"/>
                    </a:lnTo>
                    <a:lnTo>
                      <a:pt x="263" y="2000"/>
                    </a:lnTo>
                    <a:lnTo>
                      <a:pt x="260" y="1999"/>
                    </a:lnTo>
                    <a:lnTo>
                      <a:pt x="259" y="2000"/>
                    </a:lnTo>
                    <a:lnTo>
                      <a:pt x="257" y="2003"/>
                    </a:lnTo>
                    <a:lnTo>
                      <a:pt x="257" y="2003"/>
                    </a:lnTo>
                    <a:lnTo>
                      <a:pt x="253" y="2004"/>
                    </a:lnTo>
                    <a:lnTo>
                      <a:pt x="251" y="2004"/>
                    </a:lnTo>
                    <a:lnTo>
                      <a:pt x="246" y="2007"/>
                    </a:lnTo>
                    <a:lnTo>
                      <a:pt x="245" y="2009"/>
                    </a:lnTo>
                    <a:lnTo>
                      <a:pt x="249" y="2011"/>
                    </a:lnTo>
                    <a:lnTo>
                      <a:pt x="251" y="2016"/>
                    </a:lnTo>
                    <a:lnTo>
                      <a:pt x="257" y="2019"/>
                    </a:lnTo>
                    <a:lnTo>
                      <a:pt x="257" y="2020"/>
                    </a:lnTo>
                    <a:lnTo>
                      <a:pt x="257" y="2022"/>
                    </a:lnTo>
                    <a:lnTo>
                      <a:pt x="251" y="2027"/>
                    </a:lnTo>
                    <a:lnTo>
                      <a:pt x="251" y="2027"/>
                    </a:lnTo>
                    <a:lnTo>
                      <a:pt x="253" y="2023"/>
                    </a:lnTo>
                    <a:lnTo>
                      <a:pt x="256" y="2020"/>
                    </a:lnTo>
                    <a:lnTo>
                      <a:pt x="256" y="2019"/>
                    </a:lnTo>
                    <a:lnTo>
                      <a:pt x="256" y="2019"/>
                    </a:lnTo>
                    <a:lnTo>
                      <a:pt x="253" y="2019"/>
                    </a:lnTo>
                    <a:lnTo>
                      <a:pt x="251" y="2018"/>
                    </a:lnTo>
                    <a:lnTo>
                      <a:pt x="246" y="2015"/>
                    </a:lnTo>
                    <a:lnTo>
                      <a:pt x="245" y="2016"/>
                    </a:lnTo>
                    <a:lnTo>
                      <a:pt x="242" y="2015"/>
                    </a:lnTo>
                    <a:lnTo>
                      <a:pt x="241" y="2015"/>
                    </a:lnTo>
                    <a:lnTo>
                      <a:pt x="241" y="2015"/>
                    </a:lnTo>
                    <a:lnTo>
                      <a:pt x="240" y="2018"/>
                    </a:lnTo>
                    <a:lnTo>
                      <a:pt x="238" y="2020"/>
                    </a:lnTo>
                    <a:lnTo>
                      <a:pt x="237" y="2019"/>
                    </a:lnTo>
                    <a:lnTo>
                      <a:pt x="233" y="2018"/>
                    </a:lnTo>
                    <a:lnTo>
                      <a:pt x="233" y="2018"/>
                    </a:lnTo>
                    <a:lnTo>
                      <a:pt x="230" y="2019"/>
                    </a:lnTo>
                    <a:lnTo>
                      <a:pt x="227" y="2022"/>
                    </a:lnTo>
                    <a:lnTo>
                      <a:pt x="227" y="2026"/>
                    </a:lnTo>
                    <a:lnTo>
                      <a:pt x="225" y="2024"/>
                    </a:lnTo>
                    <a:lnTo>
                      <a:pt x="225" y="2024"/>
                    </a:lnTo>
                    <a:lnTo>
                      <a:pt x="211" y="2028"/>
                    </a:lnTo>
                    <a:lnTo>
                      <a:pt x="211" y="2027"/>
                    </a:lnTo>
                    <a:lnTo>
                      <a:pt x="213" y="2026"/>
                    </a:lnTo>
                    <a:lnTo>
                      <a:pt x="210" y="2022"/>
                    </a:lnTo>
                    <a:lnTo>
                      <a:pt x="210" y="2022"/>
                    </a:lnTo>
                    <a:lnTo>
                      <a:pt x="213" y="2018"/>
                    </a:lnTo>
                    <a:lnTo>
                      <a:pt x="213" y="2013"/>
                    </a:lnTo>
                    <a:lnTo>
                      <a:pt x="210" y="2013"/>
                    </a:lnTo>
                    <a:lnTo>
                      <a:pt x="210" y="2011"/>
                    </a:lnTo>
                    <a:lnTo>
                      <a:pt x="208" y="2011"/>
                    </a:lnTo>
                    <a:lnTo>
                      <a:pt x="208" y="2024"/>
                    </a:lnTo>
                    <a:lnTo>
                      <a:pt x="206" y="2028"/>
                    </a:lnTo>
                    <a:lnTo>
                      <a:pt x="206" y="2028"/>
                    </a:lnTo>
                    <a:lnTo>
                      <a:pt x="206" y="2031"/>
                    </a:lnTo>
                    <a:lnTo>
                      <a:pt x="204" y="2034"/>
                    </a:lnTo>
                    <a:lnTo>
                      <a:pt x="199" y="2037"/>
                    </a:lnTo>
                    <a:lnTo>
                      <a:pt x="199" y="2037"/>
                    </a:lnTo>
                    <a:lnTo>
                      <a:pt x="198" y="2041"/>
                    </a:lnTo>
                    <a:lnTo>
                      <a:pt x="196" y="2043"/>
                    </a:lnTo>
                    <a:lnTo>
                      <a:pt x="198" y="2046"/>
                    </a:lnTo>
                    <a:lnTo>
                      <a:pt x="199" y="2050"/>
                    </a:lnTo>
                    <a:lnTo>
                      <a:pt x="200" y="2049"/>
                    </a:lnTo>
                    <a:lnTo>
                      <a:pt x="199" y="2050"/>
                    </a:lnTo>
                    <a:lnTo>
                      <a:pt x="203" y="2054"/>
                    </a:lnTo>
                    <a:lnTo>
                      <a:pt x="202" y="2054"/>
                    </a:lnTo>
                    <a:lnTo>
                      <a:pt x="199" y="2054"/>
                    </a:lnTo>
                    <a:lnTo>
                      <a:pt x="199" y="2054"/>
                    </a:lnTo>
                    <a:lnTo>
                      <a:pt x="196" y="2053"/>
                    </a:lnTo>
                    <a:lnTo>
                      <a:pt x="195" y="2050"/>
                    </a:lnTo>
                    <a:lnTo>
                      <a:pt x="195" y="2047"/>
                    </a:lnTo>
                    <a:lnTo>
                      <a:pt x="191" y="2051"/>
                    </a:lnTo>
                    <a:lnTo>
                      <a:pt x="190" y="2054"/>
                    </a:lnTo>
                    <a:lnTo>
                      <a:pt x="190" y="2054"/>
                    </a:lnTo>
                    <a:lnTo>
                      <a:pt x="183" y="2061"/>
                    </a:lnTo>
                    <a:lnTo>
                      <a:pt x="183" y="2060"/>
                    </a:lnTo>
                    <a:lnTo>
                      <a:pt x="183" y="2060"/>
                    </a:lnTo>
                    <a:lnTo>
                      <a:pt x="184" y="2053"/>
                    </a:lnTo>
                    <a:lnTo>
                      <a:pt x="184" y="2049"/>
                    </a:lnTo>
                    <a:lnTo>
                      <a:pt x="184" y="2046"/>
                    </a:lnTo>
                    <a:lnTo>
                      <a:pt x="184" y="2046"/>
                    </a:lnTo>
                    <a:lnTo>
                      <a:pt x="185" y="2043"/>
                    </a:lnTo>
                    <a:lnTo>
                      <a:pt x="187" y="2039"/>
                    </a:lnTo>
                    <a:lnTo>
                      <a:pt x="184" y="2041"/>
                    </a:lnTo>
                    <a:lnTo>
                      <a:pt x="183" y="2041"/>
                    </a:lnTo>
                    <a:lnTo>
                      <a:pt x="183" y="2041"/>
                    </a:lnTo>
                    <a:lnTo>
                      <a:pt x="183" y="2046"/>
                    </a:lnTo>
                    <a:lnTo>
                      <a:pt x="181" y="2053"/>
                    </a:lnTo>
                    <a:lnTo>
                      <a:pt x="181" y="2058"/>
                    </a:lnTo>
                    <a:lnTo>
                      <a:pt x="179" y="2062"/>
                    </a:lnTo>
                    <a:lnTo>
                      <a:pt x="179" y="2062"/>
                    </a:lnTo>
                    <a:lnTo>
                      <a:pt x="168" y="2069"/>
                    </a:lnTo>
                    <a:lnTo>
                      <a:pt x="164" y="2072"/>
                    </a:lnTo>
                    <a:lnTo>
                      <a:pt x="157" y="2073"/>
                    </a:lnTo>
                    <a:lnTo>
                      <a:pt x="153" y="2072"/>
                    </a:lnTo>
                    <a:lnTo>
                      <a:pt x="153" y="2072"/>
                    </a:lnTo>
                    <a:lnTo>
                      <a:pt x="149" y="2072"/>
                    </a:lnTo>
                    <a:lnTo>
                      <a:pt x="143" y="2075"/>
                    </a:lnTo>
                    <a:lnTo>
                      <a:pt x="139" y="2077"/>
                    </a:lnTo>
                    <a:lnTo>
                      <a:pt x="135" y="2080"/>
                    </a:lnTo>
                    <a:lnTo>
                      <a:pt x="134" y="2080"/>
                    </a:lnTo>
                    <a:lnTo>
                      <a:pt x="134" y="2079"/>
                    </a:lnTo>
                    <a:lnTo>
                      <a:pt x="134" y="2079"/>
                    </a:lnTo>
                    <a:lnTo>
                      <a:pt x="130" y="2080"/>
                    </a:lnTo>
                    <a:lnTo>
                      <a:pt x="124" y="2080"/>
                    </a:lnTo>
                    <a:lnTo>
                      <a:pt x="126" y="2079"/>
                    </a:lnTo>
                    <a:lnTo>
                      <a:pt x="126" y="2079"/>
                    </a:lnTo>
                    <a:lnTo>
                      <a:pt x="123" y="2080"/>
                    </a:lnTo>
                    <a:lnTo>
                      <a:pt x="120" y="2081"/>
                    </a:lnTo>
                    <a:lnTo>
                      <a:pt x="118" y="2083"/>
                    </a:lnTo>
                    <a:lnTo>
                      <a:pt x="114" y="2088"/>
                    </a:lnTo>
                    <a:lnTo>
                      <a:pt x="114" y="2088"/>
                    </a:lnTo>
                    <a:lnTo>
                      <a:pt x="108" y="2089"/>
                    </a:lnTo>
                    <a:lnTo>
                      <a:pt x="104" y="2092"/>
                    </a:lnTo>
                    <a:lnTo>
                      <a:pt x="101" y="2094"/>
                    </a:lnTo>
                    <a:lnTo>
                      <a:pt x="97" y="2096"/>
                    </a:lnTo>
                    <a:lnTo>
                      <a:pt x="96" y="2098"/>
                    </a:lnTo>
                    <a:lnTo>
                      <a:pt x="96" y="2100"/>
                    </a:lnTo>
                    <a:lnTo>
                      <a:pt x="96" y="2102"/>
                    </a:lnTo>
                    <a:lnTo>
                      <a:pt x="96" y="2102"/>
                    </a:lnTo>
                    <a:lnTo>
                      <a:pt x="93" y="2100"/>
                    </a:lnTo>
                    <a:lnTo>
                      <a:pt x="90" y="2098"/>
                    </a:lnTo>
                    <a:lnTo>
                      <a:pt x="88" y="2100"/>
                    </a:lnTo>
                    <a:lnTo>
                      <a:pt x="86" y="2099"/>
                    </a:lnTo>
                    <a:lnTo>
                      <a:pt x="81" y="2102"/>
                    </a:lnTo>
                    <a:lnTo>
                      <a:pt x="80" y="2102"/>
                    </a:lnTo>
                    <a:lnTo>
                      <a:pt x="80" y="2102"/>
                    </a:lnTo>
                    <a:lnTo>
                      <a:pt x="77" y="2108"/>
                    </a:lnTo>
                    <a:lnTo>
                      <a:pt x="76" y="2114"/>
                    </a:lnTo>
                    <a:lnTo>
                      <a:pt x="77" y="2117"/>
                    </a:lnTo>
                    <a:lnTo>
                      <a:pt x="76" y="2117"/>
                    </a:lnTo>
                    <a:lnTo>
                      <a:pt x="73" y="2118"/>
                    </a:lnTo>
                    <a:lnTo>
                      <a:pt x="71" y="2114"/>
                    </a:lnTo>
                    <a:lnTo>
                      <a:pt x="70" y="2115"/>
                    </a:lnTo>
                    <a:lnTo>
                      <a:pt x="69" y="2115"/>
                    </a:lnTo>
                    <a:lnTo>
                      <a:pt x="67" y="2118"/>
                    </a:lnTo>
                    <a:lnTo>
                      <a:pt x="65" y="2119"/>
                    </a:lnTo>
                    <a:lnTo>
                      <a:pt x="63" y="2118"/>
                    </a:lnTo>
                    <a:lnTo>
                      <a:pt x="61" y="2119"/>
                    </a:lnTo>
                    <a:lnTo>
                      <a:pt x="61" y="2121"/>
                    </a:lnTo>
                    <a:lnTo>
                      <a:pt x="57" y="2123"/>
                    </a:lnTo>
                    <a:lnTo>
                      <a:pt x="57" y="2125"/>
                    </a:lnTo>
                    <a:lnTo>
                      <a:pt x="62" y="2125"/>
                    </a:lnTo>
                    <a:lnTo>
                      <a:pt x="65" y="2126"/>
                    </a:lnTo>
                    <a:lnTo>
                      <a:pt x="66" y="2125"/>
                    </a:lnTo>
                    <a:lnTo>
                      <a:pt x="71" y="2126"/>
                    </a:lnTo>
                    <a:lnTo>
                      <a:pt x="71" y="2126"/>
                    </a:lnTo>
                    <a:lnTo>
                      <a:pt x="70" y="2129"/>
                    </a:lnTo>
                    <a:lnTo>
                      <a:pt x="71" y="2130"/>
                    </a:lnTo>
                    <a:lnTo>
                      <a:pt x="73" y="2131"/>
                    </a:lnTo>
                    <a:lnTo>
                      <a:pt x="73" y="2133"/>
                    </a:lnTo>
                    <a:lnTo>
                      <a:pt x="76" y="2133"/>
                    </a:lnTo>
                    <a:lnTo>
                      <a:pt x="77" y="2131"/>
                    </a:lnTo>
                    <a:lnTo>
                      <a:pt x="78" y="2126"/>
                    </a:lnTo>
                    <a:lnTo>
                      <a:pt x="81" y="2130"/>
                    </a:lnTo>
                    <a:lnTo>
                      <a:pt x="85" y="2126"/>
                    </a:lnTo>
                    <a:lnTo>
                      <a:pt x="86" y="2127"/>
                    </a:lnTo>
                    <a:lnTo>
                      <a:pt x="86" y="2127"/>
                    </a:lnTo>
                    <a:lnTo>
                      <a:pt x="89" y="2126"/>
                    </a:lnTo>
                    <a:lnTo>
                      <a:pt x="92" y="2125"/>
                    </a:lnTo>
                    <a:lnTo>
                      <a:pt x="96" y="2121"/>
                    </a:lnTo>
                    <a:lnTo>
                      <a:pt x="101" y="2119"/>
                    </a:lnTo>
                    <a:lnTo>
                      <a:pt x="103" y="2117"/>
                    </a:lnTo>
                    <a:lnTo>
                      <a:pt x="105" y="2117"/>
                    </a:lnTo>
                    <a:lnTo>
                      <a:pt x="105" y="2117"/>
                    </a:lnTo>
                    <a:lnTo>
                      <a:pt x="107" y="2119"/>
                    </a:lnTo>
                    <a:lnTo>
                      <a:pt x="107" y="2121"/>
                    </a:lnTo>
                    <a:lnTo>
                      <a:pt x="100" y="2122"/>
                    </a:lnTo>
                    <a:lnTo>
                      <a:pt x="100" y="2126"/>
                    </a:lnTo>
                    <a:lnTo>
                      <a:pt x="99" y="2126"/>
                    </a:lnTo>
                    <a:lnTo>
                      <a:pt x="97" y="2123"/>
                    </a:lnTo>
                    <a:lnTo>
                      <a:pt x="96" y="2123"/>
                    </a:lnTo>
                    <a:lnTo>
                      <a:pt x="96" y="2123"/>
                    </a:lnTo>
                    <a:lnTo>
                      <a:pt x="92" y="2126"/>
                    </a:lnTo>
                    <a:lnTo>
                      <a:pt x="89" y="2127"/>
                    </a:lnTo>
                    <a:lnTo>
                      <a:pt x="86" y="2129"/>
                    </a:lnTo>
                    <a:lnTo>
                      <a:pt x="84" y="2130"/>
                    </a:lnTo>
                    <a:lnTo>
                      <a:pt x="84" y="2133"/>
                    </a:lnTo>
                    <a:lnTo>
                      <a:pt x="80" y="2134"/>
                    </a:lnTo>
                    <a:lnTo>
                      <a:pt x="78" y="2131"/>
                    </a:lnTo>
                    <a:lnTo>
                      <a:pt x="80" y="2134"/>
                    </a:lnTo>
                    <a:lnTo>
                      <a:pt x="73" y="2138"/>
                    </a:lnTo>
                    <a:lnTo>
                      <a:pt x="71" y="2140"/>
                    </a:lnTo>
                    <a:lnTo>
                      <a:pt x="81" y="2144"/>
                    </a:lnTo>
                    <a:lnTo>
                      <a:pt x="81" y="2145"/>
                    </a:lnTo>
                    <a:lnTo>
                      <a:pt x="80" y="2148"/>
                    </a:lnTo>
                    <a:lnTo>
                      <a:pt x="80" y="2149"/>
                    </a:lnTo>
                    <a:lnTo>
                      <a:pt x="82" y="2150"/>
                    </a:lnTo>
                    <a:lnTo>
                      <a:pt x="81" y="2152"/>
                    </a:lnTo>
                    <a:lnTo>
                      <a:pt x="81" y="2155"/>
                    </a:lnTo>
                    <a:lnTo>
                      <a:pt x="77" y="2149"/>
                    </a:lnTo>
                    <a:lnTo>
                      <a:pt x="77" y="2149"/>
                    </a:lnTo>
                    <a:lnTo>
                      <a:pt x="74" y="2149"/>
                    </a:lnTo>
                    <a:lnTo>
                      <a:pt x="73" y="2149"/>
                    </a:lnTo>
                    <a:lnTo>
                      <a:pt x="70" y="2153"/>
                    </a:lnTo>
                    <a:lnTo>
                      <a:pt x="70" y="2156"/>
                    </a:lnTo>
                    <a:lnTo>
                      <a:pt x="66" y="2156"/>
                    </a:lnTo>
                    <a:lnTo>
                      <a:pt x="66" y="2159"/>
                    </a:lnTo>
                    <a:lnTo>
                      <a:pt x="65" y="2160"/>
                    </a:lnTo>
                    <a:lnTo>
                      <a:pt x="62" y="2159"/>
                    </a:lnTo>
                    <a:lnTo>
                      <a:pt x="57" y="2161"/>
                    </a:lnTo>
                    <a:lnTo>
                      <a:pt x="51" y="2163"/>
                    </a:lnTo>
                    <a:lnTo>
                      <a:pt x="50" y="2164"/>
                    </a:lnTo>
                    <a:lnTo>
                      <a:pt x="47" y="2164"/>
                    </a:lnTo>
                    <a:lnTo>
                      <a:pt x="46" y="2167"/>
                    </a:lnTo>
                    <a:lnTo>
                      <a:pt x="43" y="2165"/>
                    </a:lnTo>
                    <a:lnTo>
                      <a:pt x="39" y="2167"/>
                    </a:lnTo>
                    <a:lnTo>
                      <a:pt x="36" y="2165"/>
                    </a:lnTo>
                    <a:lnTo>
                      <a:pt x="33" y="2167"/>
                    </a:lnTo>
                    <a:lnTo>
                      <a:pt x="31" y="2165"/>
                    </a:lnTo>
                    <a:lnTo>
                      <a:pt x="31" y="2165"/>
                    </a:lnTo>
                    <a:lnTo>
                      <a:pt x="29" y="2169"/>
                    </a:lnTo>
                    <a:lnTo>
                      <a:pt x="27" y="2169"/>
                    </a:lnTo>
                    <a:lnTo>
                      <a:pt x="25" y="2171"/>
                    </a:lnTo>
                    <a:lnTo>
                      <a:pt x="28" y="2169"/>
                    </a:lnTo>
                    <a:lnTo>
                      <a:pt x="31" y="2171"/>
                    </a:lnTo>
                    <a:lnTo>
                      <a:pt x="31" y="2174"/>
                    </a:lnTo>
                    <a:lnTo>
                      <a:pt x="32" y="2175"/>
                    </a:lnTo>
                    <a:lnTo>
                      <a:pt x="32" y="2175"/>
                    </a:lnTo>
                    <a:lnTo>
                      <a:pt x="33" y="2176"/>
                    </a:lnTo>
                    <a:lnTo>
                      <a:pt x="31" y="2180"/>
                    </a:lnTo>
                    <a:lnTo>
                      <a:pt x="33" y="2180"/>
                    </a:lnTo>
                    <a:lnTo>
                      <a:pt x="33" y="2183"/>
                    </a:lnTo>
                    <a:lnTo>
                      <a:pt x="32" y="2184"/>
                    </a:lnTo>
                    <a:lnTo>
                      <a:pt x="32" y="2187"/>
                    </a:lnTo>
                    <a:lnTo>
                      <a:pt x="31" y="2187"/>
                    </a:lnTo>
                    <a:lnTo>
                      <a:pt x="31" y="2190"/>
                    </a:lnTo>
                    <a:lnTo>
                      <a:pt x="28" y="2193"/>
                    </a:lnTo>
                    <a:lnTo>
                      <a:pt x="31" y="2193"/>
                    </a:lnTo>
                    <a:lnTo>
                      <a:pt x="32" y="2194"/>
                    </a:lnTo>
                    <a:lnTo>
                      <a:pt x="32" y="2194"/>
                    </a:lnTo>
                    <a:lnTo>
                      <a:pt x="38" y="2193"/>
                    </a:lnTo>
                    <a:lnTo>
                      <a:pt x="43" y="2190"/>
                    </a:lnTo>
                    <a:lnTo>
                      <a:pt x="43" y="2193"/>
                    </a:lnTo>
                    <a:lnTo>
                      <a:pt x="46" y="2191"/>
                    </a:lnTo>
                    <a:lnTo>
                      <a:pt x="47" y="2191"/>
                    </a:lnTo>
                    <a:lnTo>
                      <a:pt x="48" y="2191"/>
                    </a:lnTo>
                    <a:lnTo>
                      <a:pt x="50" y="2193"/>
                    </a:lnTo>
                    <a:lnTo>
                      <a:pt x="51" y="2191"/>
                    </a:lnTo>
                    <a:lnTo>
                      <a:pt x="51" y="2194"/>
                    </a:lnTo>
                    <a:lnTo>
                      <a:pt x="54" y="2195"/>
                    </a:lnTo>
                    <a:lnTo>
                      <a:pt x="51" y="2198"/>
                    </a:lnTo>
                    <a:lnTo>
                      <a:pt x="51" y="2198"/>
                    </a:lnTo>
                    <a:lnTo>
                      <a:pt x="51" y="2201"/>
                    </a:lnTo>
                    <a:lnTo>
                      <a:pt x="51" y="2203"/>
                    </a:lnTo>
                    <a:lnTo>
                      <a:pt x="52" y="2205"/>
                    </a:lnTo>
                    <a:lnTo>
                      <a:pt x="52" y="2206"/>
                    </a:lnTo>
                    <a:lnTo>
                      <a:pt x="50" y="2210"/>
                    </a:lnTo>
                    <a:lnTo>
                      <a:pt x="50" y="2212"/>
                    </a:lnTo>
                    <a:lnTo>
                      <a:pt x="52" y="2214"/>
                    </a:lnTo>
                    <a:lnTo>
                      <a:pt x="51" y="2217"/>
                    </a:lnTo>
                    <a:lnTo>
                      <a:pt x="44" y="2220"/>
                    </a:lnTo>
                    <a:lnTo>
                      <a:pt x="44" y="2221"/>
                    </a:lnTo>
                    <a:lnTo>
                      <a:pt x="47" y="2222"/>
                    </a:lnTo>
                    <a:lnTo>
                      <a:pt x="50" y="2226"/>
                    </a:lnTo>
                    <a:lnTo>
                      <a:pt x="48" y="2228"/>
                    </a:lnTo>
                    <a:lnTo>
                      <a:pt x="50" y="2229"/>
                    </a:lnTo>
                    <a:lnTo>
                      <a:pt x="50" y="2229"/>
                    </a:lnTo>
                    <a:lnTo>
                      <a:pt x="58" y="2225"/>
                    </a:lnTo>
                    <a:lnTo>
                      <a:pt x="62" y="2221"/>
                    </a:lnTo>
                    <a:lnTo>
                      <a:pt x="65" y="2218"/>
                    </a:lnTo>
                    <a:lnTo>
                      <a:pt x="66" y="2217"/>
                    </a:lnTo>
                    <a:lnTo>
                      <a:pt x="69" y="2214"/>
                    </a:lnTo>
                    <a:lnTo>
                      <a:pt x="69" y="2214"/>
                    </a:lnTo>
                    <a:lnTo>
                      <a:pt x="69" y="2217"/>
                    </a:lnTo>
                    <a:lnTo>
                      <a:pt x="70" y="2217"/>
                    </a:lnTo>
                    <a:lnTo>
                      <a:pt x="71" y="2216"/>
                    </a:lnTo>
                    <a:lnTo>
                      <a:pt x="74" y="2214"/>
                    </a:lnTo>
                    <a:lnTo>
                      <a:pt x="74" y="2213"/>
                    </a:lnTo>
                    <a:lnTo>
                      <a:pt x="73" y="2212"/>
                    </a:lnTo>
                    <a:lnTo>
                      <a:pt x="76" y="2207"/>
                    </a:lnTo>
                    <a:lnTo>
                      <a:pt x="74" y="2206"/>
                    </a:lnTo>
                    <a:lnTo>
                      <a:pt x="74" y="2205"/>
                    </a:lnTo>
                    <a:lnTo>
                      <a:pt x="81" y="2199"/>
                    </a:lnTo>
                    <a:lnTo>
                      <a:pt x="81" y="2195"/>
                    </a:lnTo>
                    <a:lnTo>
                      <a:pt x="85" y="2191"/>
                    </a:lnTo>
                    <a:lnTo>
                      <a:pt x="86" y="2194"/>
                    </a:lnTo>
                    <a:lnTo>
                      <a:pt x="88" y="2191"/>
                    </a:lnTo>
                    <a:lnTo>
                      <a:pt x="88" y="2191"/>
                    </a:lnTo>
                    <a:lnTo>
                      <a:pt x="93" y="2191"/>
                    </a:lnTo>
                    <a:lnTo>
                      <a:pt x="99" y="2191"/>
                    </a:lnTo>
                    <a:lnTo>
                      <a:pt x="103" y="2198"/>
                    </a:lnTo>
                    <a:lnTo>
                      <a:pt x="103" y="2198"/>
                    </a:lnTo>
                    <a:lnTo>
                      <a:pt x="107" y="2199"/>
                    </a:lnTo>
                    <a:lnTo>
                      <a:pt x="109" y="2202"/>
                    </a:lnTo>
                    <a:lnTo>
                      <a:pt x="109" y="2207"/>
                    </a:lnTo>
                    <a:lnTo>
                      <a:pt x="108" y="2209"/>
                    </a:lnTo>
                    <a:lnTo>
                      <a:pt x="108" y="2214"/>
                    </a:lnTo>
                    <a:lnTo>
                      <a:pt x="111" y="2216"/>
                    </a:lnTo>
                    <a:lnTo>
                      <a:pt x="107" y="2220"/>
                    </a:lnTo>
                    <a:lnTo>
                      <a:pt x="108" y="2224"/>
                    </a:lnTo>
                    <a:lnTo>
                      <a:pt x="107" y="2226"/>
                    </a:lnTo>
                    <a:lnTo>
                      <a:pt x="103" y="2228"/>
                    </a:lnTo>
                    <a:lnTo>
                      <a:pt x="100" y="2231"/>
                    </a:lnTo>
                    <a:lnTo>
                      <a:pt x="96" y="2231"/>
                    </a:lnTo>
                    <a:lnTo>
                      <a:pt x="93" y="2229"/>
                    </a:lnTo>
                    <a:lnTo>
                      <a:pt x="90" y="2229"/>
                    </a:lnTo>
                    <a:lnTo>
                      <a:pt x="92" y="2232"/>
                    </a:lnTo>
                    <a:lnTo>
                      <a:pt x="96" y="2235"/>
                    </a:lnTo>
                    <a:lnTo>
                      <a:pt x="99" y="2232"/>
                    </a:lnTo>
                    <a:lnTo>
                      <a:pt x="99" y="2232"/>
                    </a:lnTo>
                    <a:lnTo>
                      <a:pt x="104" y="2236"/>
                    </a:lnTo>
                    <a:lnTo>
                      <a:pt x="108" y="2240"/>
                    </a:lnTo>
                    <a:lnTo>
                      <a:pt x="111" y="2239"/>
                    </a:lnTo>
                    <a:lnTo>
                      <a:pt x="112" y="2240"/>
                    </a:lnTo>
                    <a:lnTo>
                      <a:pt x="114" y="2241"/>
                    </a:lnTo>
                    <a:lnTo>
                      <a:pt x="118" y="2240"/>
                    </a:lnTo>
                    <a:lnTo>
                      <a:pt x="118" y="2240"/>
                    </a:lnTo>
                    <a:lnTo>
                      <a:pt x="120" y="2243"/>
                    </a:lnTo>
                    <a:lnTo>
                      <a:pt x="123" y="2244"/>
                    </a:lnTo>
                    <a:lnTo>
                      <a:pt x="126" y="2245"/>
                    </a:lnTo>
                    <a:lnTo>
                      <a:pt x="128" y="2244"/>
                    </a:lnTo>
                    <a:lnTo>
                      <a:pt x="128" y="2241"/>
                    </a:lnTo>
                    <a:lnTo>
                      <a:pt x="128" y="2241"/>
                    </a:lnTo>
                    <a:lnTo>
                      <a:pt x="130" y="2241"/>
                    </a:lnTo>
                    <a:lnTo>
                      <a:pt x="131" y="2241"/>
                    </a:lnTo>
                    <a:lnTo>
                      <a:pt x="131" y="2243"/>
                    </a:lnTo>
                    <a:lnTo>
                      <a:pt x="131" y="2243"/>
                    </a:lnTo>
                    <a:lnTo>
                      <a:pt x="128" y="2244"/>
                    </a:lnTo>
                    <a:lnTo>
                      <a:pt x="126" y="2248"/>
                    </a:lnTo>
                    <a:lnTo>
                      <a:pt x="122" y="2255"/>
                    </a:lnTo>
                    <a:lnTo>
                      <a:pt x="126" y="2258"/>
                    </a:lnTo>
                    <a:lnTo>
                      <a:pt x="127" y="2254"/>
                    </a:lnTo>
                    <a:lnTo>
                      <a:pt x="127" y="2254"/>
                    </a:lnTo>
                    <a:lnTo>
                      <a:pt x="130" y="2251"/>
                    </a:lnTo>
                    <a:lnTo>
                      <a:pt x="133" y="2251"/>
                    </a:lnTo>
                    <a:lnTo>
                      <a:pt x="135" y="2252"/>
                    </a:lnTo>
                    <a:lnTo>
                      <a:pt x="137" y="2251"/>
                    </a:lnTo>
                    <a:lnTo>
                      <a:pt x="134" y="2248"/>
                    </a:lnTo>
                    <a:lnTo>
                      <a:pt x="138" y="2245"/>
                    </a:lnTo>
                    <a:lnTo>
                      <a:pt x="143" y="2247"/>
                    </a:lnTo>
                    <a:lnTo>
                      <a:pt x="143" y="2244"/>
                    </a:lnTo>
                    <a:lnTo>
                      <a:pt x="149" y="2245"/>
                    </a:lnTo>
                    <a:lnTo>
                      <a:pt x="152" y="2243"/>
                    </a:lnTo>
                    <a:lnTo>
                      <a:pt x="152" y="2240"/>
                    </a:lnTo>
                    <a:lnTo>
                      <a:pt x="150" y="2239"/>
                    </a:lnTo>
                    <a:lnTo>
                      <a:pt x="153" y="2236"/>
                    </a:lnTo>
                    <a:lnTo>
                      <a:pt x="156" y="2237"/>
                    </a:lnTo>
                    <a:lnTo>
                      <a:pt x="157" y="2235"/>
                    </a:lnTo>
                    <a:lnTo>
                      <a:pt x="158" y="2235"/>
                    </a:lnTo>
                    <a:lnTo>
                      <a:pt x="160" y="2236"/>
                    </a:lnTo>
                    <a:lnTo>
                      <a:pt x="164" y="2236"/>
                    </a:lnTo>
                    <a:lnTo>
                      <a:pt x="166" y="2237"/>
                    </a:lnTo>
                    <a:lnTo>
                      <a:pt x="166" y="2237"/>
                    </a:lnTo>
                    <a:lnTo>
                      <a:pt x="180" y="2226"/>
                    </a:lnTo>
                    <a:lnTo>
                      <a:pt x="181" y="2226"/>
                    </a:lnTo>
                    <a:lnTo>
                      <a:pt x="181" y="2226"/>
                    </a:lnTo>
                    <a:lnTo>
                      <a:pt x="185" y="2224"/>
                    </a:lnTo>
                    <a:lnTo>
                      <a:pt x="188" y="2221"/>
                    </a:lnTo>
                    <a:lnTo>
                      <a:pt x="190" y="2220"/>
                    </a:lnTo>
                    <a:lnTo>
                      <a:pt x="192" y="2218"/>
                    </a:lnTo>
                    <a:lnTo>
                      <a:pt x="194" y="2220"/>
                    </a:lnTo>
                    <a:lnTo>
                      <a:pt x="192" y="2221"/>
                    </a:lnTo>
                    <a:lnTo>
                      <a:pt x="194" y="2221"/>
                    </a:lnTo>
                    <a:lnTo>
                      <a:pt x="194" y="2220"/>
                    </a:lnTo>
                    <a:lnTo>
                      <a:pt x="194" y="2220"/>
                    </a:lnTo>
                    <a:lnTo>
                      <a:pt x="199" y="2217"/>
                    </a:lnTo>
                    <a:lnTo>
                      <a:pt x="204" y="2216"/>
                    </a:lnTo>
                    <a:lnTo>
                      <a:pt x="206" y="2214"/>
                    </a:lnTo>
                    <a:lnTo>
                      <a:pt x="206" y="2214"/>
                    </a:lnTo>
                    <a:lnTo>
                      <a:pt x="207" y="2212"/>
                    </a:lnTo>
                    <a:lnTo>
                      <a:pt x="207" y="2209"/>
                    </a:lnTo>
                    <a:lnTo>
                      <a:pt x="204" y="2202"/>
                    </a:lnTo>
                    <a:lnTo>
                      <a:pt x="204" y="2202"/>
                    </a:lnTo>
                    <a:lnTo>
                      <a:pt x="206" y="2199"/>
                    </a:lnTo>
                    <a:lnTo>
                      <a:pt x="207" y="2198"/>
                    </a:lnTo>
                    <a:lnTo>
                      <a:pt x="207" y="2198"/>
                    </a:lnTo>
                    <a:lnTo>
                      <a:pt x="206" y="2201"/>
                    </a:lnTo>
                    <a:lnTo>
                      <a:pt x="206" y="2201"/>
                    </a:lnTo>
                    <a:lnTo>
                      <a:pt x="207" y="2203"/>
                    </a:lnTo>
                    <a:lnTo>
                      <a:pt x="208" y="2207"/>
                    </a:lnTo>
                    <a:lnTo>
                      <a:pt x="207" y="2210"/>
                    </a:lnTo>
                    <a:lnTo>
                      <a:pt x="208" y="2212"/>
                    </a:lnTo>
                    <a:lnTo>
                      <a:pt x="210" y="2210"/>
                    </a:lnTo>
                    <a:lnTo>
                      <a:pt x="213" y="2210"/>
                    </a:lnTo>
                    <a:lnTo>
                      <a:pt x="214" y="2207"/>
                    </a:lnTo>
                    <a:lnTo>
                      <a:pt x="217" y="2209"/>
                    </a:lnTo>
                    <a:lnTo>
                      <a:pt x="215" y="2210"/>
                    </a:lnTo>
                    <a:lnTo>
                      <a:pt x="215" y="2210"/>
                    </a:lnTo>
                    <a:lnTo>
                      <a:pt x="222" y="2212"/>
                    </a:lnTo>
                    <a:lnTo>
                      <a:pt x="222" y="2213"/>
                    </a:lnTo>
                    <a:lnTo>
                      <a:pt x="219" y="2216"/>
                    </a:lnTo>
                    <a:lnTo>
                      <a:pt x="218" y="2222"/>
                    </a:lnTo>
                    <a:lnTo>
                      <a:pt x="219" y="2222"/>
                    </a:lnTo>
                    <a:lnTo>
                      <a:pt x="221" y="2220"/>
                    </a:lnTo>
                    <a:lnTo>
                      <a:pt x="221" y="2218"/>
                    </a:lnTo>
                    <a:lnTo>
                      <a:pt x="222" y="2216"/>
                    </a:lnTo>
                    <a:lnTo>
                      <a:pt x="222" y="2216"/>
                    </a:lnTo>
                    <a:lnTo>
                      <a:pt x="230" y="2213"/>
                    </a:lnTo>
                    <a:lnTo>
                      <a:pt x="233" y="2210"/>
                    </a:lnTo>
                    <a:lnTo>
                      <a:pt x="234" y="2207"/>
                    </a:lnTo>
                    <a:lnTo>
                      <a:pt x="233" y="2206"/>
                    </a:lnTo>
                    <a:lnTo>
                      <a:pt x="230" y="2206"/>
                    </a:lnTo>
                    <a:lnTo>
                      <a:pt x="230" y="2206"/>
                    </a:lnTo>
                    <a:lnTo>
                      <a:pt x="236" y="2203"/>
                    </a:lnTo>
                    <a:lnTo>
                      <a:pt x="241" y="2201"/>
                    </a:lnTo>
                    <a:lnTo>
                      <a:pt x="242" y="2202"/>
                    </a:lnTo>
                    <a:lnTo>
                      <a:pt x="242" y="2202"/>
                    </a:lnTo>
                    <a:lnTo>
                      <a:pt x="241" y="2203"/>
                    </a:lnTo>
                    <a:lnTo>
                      <a:pt x="240" y="2206"/>
                    </a:lnTo>
                    <a:lnTo>
                      <a:pt x="241" y="2207"/>
                    </a:lnTo>
                    <a:lnTo>
                      <a:pt x="240" y="2209"/>
                    </a:lnTo>
                    <a:lnTo>
                      <a:pt x="241" y="2210"/>
                    </a:lnTo>
                    <a:lnTo>
                      <a:pt x="241" y="2210"/>
                    </a:lnTo>
                    <a:lnTo>
                      <a:pt x="244" y="2206"/>
                    </a:lnTo>
                    <a:lnTo>
                      <a:pt x="248" y="2203"/>
                    </a:lnTo>
                    <a:lnTo>
                      <a:pt x="248" y="2202"/>
                    </a:lnTo>
                    <a:lnTo>
                      <a:pt x="249" y="2201"/>
                    </a:lnTo>
                    <a:lnTo>
                      <a:pt x="249" y="2198"/>
                    </a:lnTo>
                    <a:lnTo>
                      <a:pt x="249" y="2198"/>
                    </a:lnTo>
                    <a:lnTo>
                      <a:pt x="251" y="2198"/>
                    </a:lnTo>
                    <a:lnTo>
                      <a:pt x="252" y="2197"/>
                    </a:lnTo>
                    <a:lnTo>
                      <a:pt x="255" y="2194"/>
                    </a:lnTo>
                    <a:lnTo>
                      <a:pt x="255" y="2194"/>
                    </a:lnTo>
                    <a:lnTo>
                      <a:pt x="261" y="2191"/>
                    </a:lnTo>
                    <a:lnTo>
                      <a:pt x="270" y="2187"/>
                    </a:lnTo>
                    <a:lnTo>
                      <a:pt x="286" y="2182"/>
                    </a:lnTo>
                    <a:lnTo>
                      <a:pt x="286" y="2182"/>
                    </a:lnTo>
                    <a:lnTo>
                      <a:pt x="290" y="2179"/>
                    </a:lnTo>
                    <a:lnTo>
                      <a:pt x="290" y="2179"/>
                    </a:lnTo>
                    <a:lnTo>
                      <a:pt x="294" y="2178"/>
                    </a:lnTo>
                    <a:lnTo>
                      <a:pt x="298" y="2176"/>
                    </a:lnTo>
                    <a:lnTo>
                      <a:pt x="298" y="2178"/>
                    </a:lnTo>
                    <a:lnTo>
                      <a:pt x="303" y="2176"/>
                    </a:lnTo>
                    <a:lnTo>
                      <a:pt x="305" y="2176"/>
                    </a:lnTo>
                    <a:lnTo>
                      <a:pt x="306" y="2179"/>
                    </a:lnTo>
                    <a:lnTo>
                      <a:pt x="308" y="2178"/>
                    </a:lnTo>
                    <a:lnTo>
                      <a:pt x="308" y="2178"/>
                    </a:lnTo>
                    <a:lnTo>
                      <a:pt x="312" y="2178"/>
                    </a:lnTo>
                    <a:lnTo>
                      <a:pt x="314" y="2176"/>
                    </a:lnTo>
                    <a:lnTo>
                      <a:pt x="318" y="2175"/>
                    </a:lnTo>
                    <a:lnTo>
                      <a:pt x="322" y="2175"/>
                    </a:lnTo>
                    <a:lnTo>
                      <a:pt x="322" y="2175"/>
                    </a:lnTo>
                    <a:lnTo>
                      <a:pt x="324" y="2175"/>
                    </a:lnTo>
                    <a:lnTo>
                      <a:pt x="324" y="2175"/>
                    </a:lnTo>
                    <a:lnTo>
                      <a:pt x="324" y="2174"/>
                    </a:lnTo>
                    <a:lnTo>
                      <a:pt x="328" y="2171"/>
                    </a:lnTo>
                    <a:lnTo>
                      <a:pt x="329" y="2171"/>
                    </a:lnTo>
                    <a:lnTo>
                      <a:pt x="332" y="2168"/>
                    </a:lnTo>
                    <a:lnTo>
                      <a:pt x="333" y="2168"/>
                    </a:lnTo>
                    <a:lnTo>
                      <a:pt x="331" y="2174"/>
                    </a:lnTo>
                    <a:lnTo>
                      <a:pt x="329" y="2174"/>
                    </a:lnTo>
                    <a:lnTo>
                      <a:pt x="324" y="2176"/>
                    </a:lnTo>
                    <a:lnTo>
                      <a:pt x="321" y="2176"/>
                    </a:lnTo>
                    <a:lnTo>
                      <a:pt x="321" y="2176"/>
                    </a:lnTo>
                    <a:lnTo>
                      <a:pt x="318" y="2179"/>
                    </a:lnTo>
                    <a:lnTo>
                      <a:pt x="314" y="2180"/>
                    </a:lnTo>
                    <a:lnTo>
                      <a:pt x="312" y="2183"/>
                    </a:lnTo>
                    <a:lnTo>
                      <a:pt x="309" y="2183"/>
                    </a:lnTo>
                    <a:lnTo>
                      <a:pt x="308" y="2186"/>
                    </a:lnTo>
                    <a:lnTo>
                      <a:pt x="306" y="2186"/>
                    </a:lnTo>
                    <a:lnTo>
                      <a:pt x="301" y="2188"/>
                    </a:lnTo>
                    <a:lnTo>
                      <a:pt x="301" y="2191"/>
                    </a:lnTo>
                    <a:lnTo>
                      <a:pt x="301" y="2191"/>
                    </a:lnTo>
                    <a:lnTo>
                      <a:pt x="298" y="2191"/>
                    </a:lnTo>
                    <a:lnTo>
                      <a:pt x="295" y="2193"/>
                    </a:lnTo>
                    <a:lnTo>
                      <a:pt x="293" y="2193"/>
                    </a:lnTo>
                    <a:lnTo>
                      <a:pt x="286" y="2194"/>
                    </a:lnTo>
                    <a:lnTo>
                      <a:pt x="283" y="2193"/>
                    </a:lnTo>
                    <a:lnTo>
                      <a:pt x="275" y="2195"/>
                    </a:lnTo>
                    <a:lnTo>
                      <a:pt x="274" y="2195"/>
                    </a:lnTo>
                    <a:lnTo>
                      <a:pt x="270" y="2198"/>
                    </a:lnTo>
                    <a:lnTo>
                      <a:pt x="268" y="2198"/>
                    </a:lnTo>
                    <a:lnTo>
                      <a:pt x="268" y="2198"/>
                    </a:lnTo>
                    <a:lnTo>
                      <a:pt x="267" y="2199"/>
                    </a:lnTo>
                    <a:lnTo>
                      <a:pt x="265" y="2202"/>
                    </a:lnTo>
                    <a:lnTo>
                      <a:pt x="265" y="2203"/>
                    </a:lnTo>
                    <a:lnTo>
                      <a:pt x="265" y="2203"/>
                    </a:lnTo>
                    <a:lnTo>
                      <a:pt x="263" y="2206"/>
                    </a:lnTo>
                    <a:lnTo>
                      <a:pt x="260" y="2209"/>
                    </a:lnTo>
                    <a:lnTo>
                      <a:pt x="252" y="2214"/>
                    </a:lnTo>
                    <a:lnTo>
                      <a:pt x="253" y="2216"/>
                    </a:lnTo>
                    <a:lnTo>
                      <a:pt x="252" y="2218"/>
                    </a:lnTo>
                    <a:lnTo>
                      <a:pt x="253" y="2220"/>
                    </a:lnTo>
                    <a:lnTo>
                      <a:pt x="253" y="2221"/>
                    </a:lnTo>
                    <a:lnTo>
                      <a:pt x="253" y="2221"/>
                    </a:lnTo>
                    <a:lnTo>
                      <a:pt x="248" y="2221"/>
                    </a:lnTo>
                    <a:lnTo>
                      <a:pt x="242" y="2224"/>
                    </a:lnTo>
                    <a:lnTo>
                      <a:pt x="234" y="2229"/>
                    </a:lnTo>
                    <a:lnTo>
                      <a:pt x="234" y="2229"/>
                    </a:lnTo>
                    <a:lnTo>
                      <a:pt x="237" y="2232"/>
                    </a:lnTo>
                    <a:lnTo>
                      <a:pt x="240" y="2233"/>
                    </a:lnTo>
                    <a:lnTo>
                      <a:pt x="240" y="2232"/>
                    </a:lnTo>
                    <a:lnTo>
                      <a:pt x="242" y="2232"/>
                    </a:lnTo>
                    <a:lnTo>
                      <a:pt x="244" y="2233"/>
                    </a:lnTo>
                    <a:lnTo>
                      <a:pt x="248" y="2235"/>
                    </a:lnTo>
                    <a:lnTo>
                      <a:pt x="249" y="2237"/>
                    </a:lnTo>
                    <a:lnTo>
                      <a:pt x="251" y="2240"/>
                    </a:lnTo>
                    <a:lnTo>
                      <a:pt x="251" y="2240"/>
                    </a:lnTo>
                    <a:lnTo>
                      <a:pt x="248" y="2243"/>
                    </a:lnTo>
                    <a:lnTo>
                      <a:pt x="244" y="2243"/>
                    </a:lnTo>
                    <a:lnTo>
                      <a:pt x="248" y="2240"/>
                    </a:lnTo>
                    <a:lnTo>
                      <a:pt x="242" y="2239"/>
                    </a:lnTo>
                    <a:lnTo>
                      <a:pt x="240" y="2241"/>
                    </a:lnTo>
                    <a:lnTo>
                      <a:pt x="238" y="2241"/>
                    </a:lnTo>
                    <a:lnTo>
                      <a:pt x="240" y="2239"/>
                    </a:lnTo>
                    <a:lnTo>
                      <a:pt x="229" y="2241"/>
                    </a:lnTo>
                    <a:lnTo>
                      <a:pt x="227" y="2240"/>
                    </a:lnTo>
                    <a:lnTo>
                      <a:pt x="232" y="2237"/>
                    </a:lnTo>
                    <a:lnTo>
                      <a:pt x="232" y="2236"/>
                    </a:lnTo>
                    <a:lnTo>
                      <a:pt x="230" y="2235"/>
                    </a:lnTo>
                    <a:lnTo>
                      <a:pt x="230" y="2233"/>
                    </a:lnTo>
                    <a:lnTo>
                      <a:pt x="227" y="2233"/>
                    </a:lnTo>
                    <a:lnTo>
                      <a:pt x="225" y="2237"/>
                    </a:lnTo>
                    <a:lnTo>
                      <a:pt x="226" y="2237"/>
                    </a:lnTo>
                    <a:lnTo>
                      <a:pt x="223" y="2241"/>
                    </a:lnTo>
                    <a:lnTo>
                      <a:pt x="225" y="2241"/>
                    </a:lnTo>
                    <a:lnTo>
                      <a:pt x="225" y="2244"/>
                    </a:lnTo>
                    <a:lnTo>
                      <a:pt x="225" y="2245"/>
                    </a:lnTo>
                    <a:lnTo>
                      <a:pt x="225" y="2245"/>
                    </a:lnTo>
                    <a:lnTo>
                      <a:pt x="223" y="2248"/>
                    </a:lnTo>
                    <a:lnTo>
                      <a:pt x="221" y="2251"/>
                    </a:lnTo>
                    <a:lnTo>
                      <a:pt x="218" y="2251"/>
                    </a:lnTo>
                    <a:lnTo>
                      <a:pt x="215" y="2252"/>
                    </a:lnTo>
                    <a:lnTo>
                      <a:pt x="215" y="2255"/>
                    </a:lnTo>
                    <a:lnTo>
                      <a:pt x="211" y="2255"/>
                    </a:lnTo>
                    <a:lnTo>
                      <a:pt x="214" y="2251"/>
                    </a:lnTo>
                    <a:lnTo>
                      <a:pt x="215" y="2245"/>
                    </a:lnTo>
                    <a:lnTo>
                      <a:pt x="218" y="2247"/>
                    </a:lnTo>
                    <a:lnTo>
                      <a:pt x="218" y="2244"/>
                    </a:lnTo>
                    <a:lnTo>
                      <a:pt x="215" y="2244"/>
                    </a:lnTo>
                    <a:lnTo>
                      <a:pt x="215" y="2241"/>
                    </a:lnTo>
                    <a:lnTo>
                      <a:pt x="214" y="2241"/>
                    </a:lnTo>
                    <a:lnTo>
                      <a:pt x="204" y="2251"/>
                    </a:lnTo>
                    <a:lnTo>
                      <a:pt x="202" y="2250"/>
                    </a:lnTo>
                    <a:lnTo>
                      <a:pt x="200" y="2252"/>
                    </a:lnTo>
                    <a:lnTo>
                      <a:pt x="198" y="2254"/>
                    </a:lnTo>
                    <a:lnTo>
                      <a:pt x="199" y="2255"/>
                    </a:lnTo>
                    <a:lnTo>
                      <a:pt x="194" y="2256"/>
                    </a:lnTo>
                    <a:lnTo>
                      <a:pt x="191" y="2255"/>
                    </a:lnTo>
                    <a:lnTo>
                      <a:pt x="191" y="2255"/>
                    </a:lnTo>
                    <a:lnTo>
                      <a:pt x="188" y="2256"/>
                    </a:lnTo>
                    <a:lnTo>
                      <a:pt x="185" y="2259"/>
                    </a:lnTo>
                    <a:lnTo>
                      <a:pt x="180" y="2259"/>
                    </a:lnTo>
                    <a:lnTo>
                      <a:pt x="169" y="2270"/>
                    </a:lnTo>
                    <a:lnTo>
                      <a:pt x="169" y="2271"/>
                    </a:lnTo>
                    <a:lnTo>
                      <a:pt x="169" y="2271"/>
                    </a:lnTo>
                    <a:lnTo>
                      <a:pt x="173" y="2271"/>
                    </a:lnTo>
                    <a:lnTo>
                      <a:pt x="176" y="2271"/>
                    </a:lnTo>
                    <a:lnTo>
                      <a:pt x="177" y="2273"/>
                    </a:lnTo>
                    <a:lnTo>
                      <a:pt x="177" y="2274"/>
                    </a:lnTo>
                    <a:lnTo>
                      <a:pt x="179" y="2274"/>
                    </a:lnTo>
                    <a:lnTo>
                      <a:pt x="184" y="2273"/>
                    </a:lnTo>
                    <a:lnTo>
                      <a:pt x="185" y="2273"/>
                    </a:lnTo>
                    <a:lnTo>
                      <a:pt x="188" y="2270"/>
                    </a:lnTo>
                    <a:lnTo>
                      <a:pt x="191" y="2271"/>
                    </a:lnTo>
                    <a:lnTo>
                      <a:pt x="190" y="2273"/>
                    </a:lnTo>
                    <a:lnTo>
                      <a:pt x="190" y="2274"/>
                    </a:lnTo>
                    <a:lnTo>
                      <a:pt x="184" y="2278"/>
                    </a:lnTo>
                    <a:lnTo>
                      <a:pt x="184" y="2279"/>
                    </a:lnTo>
                    <a:lnTo>
                      <a:pt x="181" y="2283"/>
                    </a:lnTo>
                    <a:lnTo>
                      <a:pt x="184" y="2285"/>
                    </a:lnTo>
                    <a:lnTo>
                      <a:pt x="181" y="2287"/>
                    </a:lnTo>
                    <a:lnTo>
                      <a:pt x="183" y="2289"/>
                    </a:lnTo>
                    <a:lnTo>
                      <a:pt x="177" y="2292"/>
                    </a:lnTo>
                    <a:lnTo>
                      <a:pt x="175" y="2289"/>
                    </a:lnTo>
                    <a:lnTo>
                      <a:pt x="172" y="2290"/>
                    </a:lnTo>
                    <a:lnTo>
                      <a:pt x="172" y="2290"/>
                    </a:lnTo>
                    <a:lnTo>
                      <a:pt x="172" y="2293"/>
                    </a:lnTo>
                    <a:lnTo>
                      <a:pt x="171" y="2296"/>
                    </a:lnTo>
                    <a:lnTo>
                      <a:pt x="171" y="2296"/>
                    </a:lnTo>
                    <a:lnTo>
                      <a:pt x="168" y="2297"/>
                    </a:lnTo>
                    <a:lnTo>
                      <a:pt x="165" y="2297"/>
                    </a:lnTo>
                    <a:lnTo>
                      <a:pt x="161" y="2294"/>
                    </a:lnTo>
                    <a:lnTo>
                      <a:pt x="157" y="2296"/>
                    </a:lnTo>
                    <a:lnTo>
                      <a:pt x="157" y="2297"/>
                    </a:lnTo>
                    <a:lnTo>
                      <a:pt x="157" y="2297"/>
                    </a:lnTo>
                    <a:lnTo>
                      <a:pt x="154" y="2298"/>
                    </a:lnTo>
                    <a:lnTo>
                      <a:pt x="152" y="2300"/>
                    </a:lnTo>
                    <a:lnTo>
                      <a:pt x="146" y="2294"/>
                    </a:lnTo>
                    <a:lnTo>
                      <a:pt x="143" y="2298"/>
                    </a:lnTo>
                    <a:lnTo>
                      <a:pt x="139" y="2296"/>
                    </a:lnTo>
                    <a:lnTo>
                      <a:pt x="138" y="2297"/>
                    </a:lnTo>
                    <a:lnTo>
                      <a:pt x="137" y="2300"/>
                    </a:lnTo>
                    <a:lnTo>
                      <a:pt x="134" y="2302"/>
                    </a:lnTo>
                    <a:lnTo>
                      <a:pt x="134" y="2302"/>
                    </a:lnTo>
                    <a:lnTo>
                      <a:pt x="137" y="2304"/>
                    </a:lnTo>
                    <a:lnTo>
                      <a:pt x="141" y="2305"/>
                    </a:lnTo>
                    <a:lnTo>
                      <a:pt x="142" y="2306"/>
                    </a:lnTo>
                    <a:lnTo>
                      <a:pt x="143" y="2306"/>
                    </a:lnTo>
                    <a:lnTo>
                      <a:pt x="143" y="2309"/>
                    </a:lnTo>
                    <a:lnTo>
                      <a:pt x="146" y="2311"/>
                    </a:lnTo>
                    <a:lnTo>
                      <a:pt x="147" y="2309"/>
                    </a:lnTo>
                    <a:lnTo>
                      <a:pt x="152" y="2309"/>
                    </a:lnTo>
                    <a:lnTo>
                      <a:pt x="152" y="2312"/>
                    </a:lnTo>
                    <a:lnTo>
                      <a:pt x="149" y="2315"/>
                    </a:lnTo>
                    <a:lnTo>
                      <a:pt x="150" y="2319"/>
                    </a:lnTo>
                    <a:lnTo>
                      <a:pt x="147" y="2321"/>
                    </a:lnTo>
                    <a:lnTo>
                      <a:pt x="150" y="2321"/>
                    </a:lnTo>
                    <a:lnTo>
                      <a:pt x="150" y="2323"/>
                    </a:lnTo>
                    <a:lnTo>
                      <a:pt x="149" y="2324"/>
                    </a:lnTo>
                    <a:lnTo>
                      <a:pt x="149" y="2327"/>
                    </a:lnTo>
                    <a:lnTo>
                      <a:pt x="143" y="2330"/>
                    </a:lnTo>
                    <a:lnTo>
                      <a:pt x="142" y="2328"/>
                    </a:lnTo>
                    <a:lnTo>
                      <a:pt x="141" y="2327"/>
                    </a:lnTo>
                    <a:lnTo>
                      <a:pt x="139" y="2327"/>
                    </a:lnTo>
                    <a:lnTo>
                      <a:pt x="139" y="2328"/>
                    </a:lnTo>
                    <a:lnTo>
                      <a:pt x="137" y="2331"/>
                    </a:lnTo>
                    <a:lnTo>
                      <a:pt x="137" y="2331"/>
                    </a:lnTo>
                    <a:lnTo>
                      <a:pt x="134" y="2331"/>
                    </a:lnTo>
                    <a:lnTo>
                      <a:pt x="131" y="2332"/>
                    </a:lnTo>
                    <a:lnTo>
                      <a:pt x="130" y="2334"/>
                    </a:lnTo>
                    <a:lnTo>
                      <a:pt x="128" y="2334"/>
                    </a:lnTo>
                    <a:lnTo>
                      <a:pt x="126" y="2334"/>
                    </a:lnTo>
                    <a:lnTo>
                      <a:pt x="124" y="2332"/>
                    </a:lnTo>
                    <a:lnTo>
                      <a:pt x="124" y="2330"/>
                    </a:lnTo>
                    <a:lnTo>
                      <a:pt x="120" y="2330"/>
                    </a:lnTo>
                    <a:lnTo>
                      <a:pt x="120" y="2334"/>
                    </a:lnTo>
                    <a:lnTo>
                      <a:pt x="118" y="2332"/>
                    </a:lnTo>
                    <a:lnTo>
                      <a:pt x="115" y="2334"/>
                    </a:lnTo>
                    <a:lnTo>
                      <a:pt x="115" y="2336"/>
                    </a:lnTo>
                    <a:lnTo>
                      <a:pt x="118" y="2336"/>
                    </a:lnTo>
                    <a:lnTo>
                      <a:pt x="119" y="2338"/>
                    </a:lnTo>
                    <a:lnTo>
                      <a:pt x="120" y="2338"/>
                    </a:lnTo>
                    <a:lnTo>
                      <a:pt x="120" y="2339"/>
                    </a:lnTo>
                    <a:lnTo>
                      <a:pt x="120" y="2340"/>
                    </a:lnTo>
                    <a:lnTo>
                      <a:pt x="120" y="2344"/>
                    </a:lnTo>
                    <a:lnTo>
                      <a:pt x="118" y="2346"/>
                    </a:lnTo>
                    <a:lnTo>
                      <a:pt x="115" y="2351"/>
                    </a:lnTo>
                    <a:lnTo>
                      <a:pt x="114" y="2353"/>
                    </a:lnTo>
                    <a:lnTo>
                      <a:pt x="115" y="2354"/>
                    </a:lnTo>
                    <a:lnTo>
                      <a:pt x="115" y="2354"/>
                    </a:lnTo>
                    <a:lnTo>
                      <a:pt x="119" y="2349"/>
                    </a:lnTo>
                    <a:lnTo>
                      <a:pt x="122" y="2346"/>
                    </a:lnTo>
                    <a:lnTo>
                      <a:pt x="123" y="2344"/>
                    </a:lnTo>
                    <a:lnTo>
                      <a:pt x="126" y="2344"/>
                    </a:lnTo>
                    <a:lnTo>
                      <a:pt x="130" y="2342"/>
                    </a:lnTo>
                    <a:lnTo>
                      <a:pt x="133" y="2342"/>
                    </a:lnTo>
                    <a:lnTo>
                      <a:pt x="133" y="2344"/>
                    </a:lnTo>
                    <a:lnTo>
                      <a:pt x="133" y="2344"/>
                    </a:lnTo>
                    <a:lnTo>
                      <a:pt x="137" y="2342"/>
                    </a:lnTo>
                    <a:lnTo>
                      <a:pt x="142" y="2343"/>
                    </a:lnTo>
                    <a:lnTo>
                      <a:pt x="146" y="2339"/>
                    </a:lnTo>
                    <a:lnTo>
                      <a:pt x="149" y="2340"/>
                    </a:lnTo>
                    <a:lnTo>
                      <a:pt x="150" y="2342"/>
                    </a:lnTo>
                    <a:lnTo>
                      <a:pt x="153" y="2340"/>
                    </a:lnTo>
                    <a:lnTo>
                      <a:pt x="156" y="2340"/>
                    </a:lnTo>
                    <a:lnTo>
                      <a:pt x="156" y="2342"/>
                    </a:lnTo>
                    <a:lnTo>
                      <a:pt x="153" y="2343"/>
                    </a:lnTo>
                    <a:lnTo>
                      <a:pt x="153" y="2346"/>
                    </a:lnTo>
                    <a:lnTo>
                      <a:pt x="160" y="2343"/>
                    </a:lnTo>
                    <a:lnTo>
                      <a:pt x="158" y="2344"/>
                    </a:lnTo>
                    <a:lnTo>
                      <a:pt x="156" y="2346"/>
                    </a:lnTo>
                    <a:lnTo>
                      <a:pt x="156" y="2347"/>
                    </a:lnTo>
                    <a:lnTo>
                      <a:pt x="157" y="2349"/>
                    </a:lnTo>
                    <a:lnTo>
                      <a:pt x="162" y="2346"/>
                    </a:lnTo>
                    <a:lnTo>
                      <a:pt x="165" y="2346"/>
                    </a:lnTo>
                    <a:lnTo>
                      <a:pt x="168" y="2343"/>
                    </a:lnTo>
                    <a:lnTo>
                      <a:pt x="169" y="2343"/>
                    </a:lnTo>
                    <a:lnTo>
                      <a:pt x="172" y="2339"/>
                    </a:lnTo>
                    <a:lnTo>
                      <a:pt x="172" y="2339"/>
                    </a:lnTo>
                    <a:lnTo>
                      <a:pt x="175" y="2338"/>
                    </a:lnTo>
                    <a:lnTo>
                      <a:pt x="177" y="2335"/>
                    </a:lnTo>
                    <a:lnTo>
                      <a:pt x="179" y="2335"/>
                    </a:lnTo>
                    <a:lnTo>
                      <a:pt x="180" y="2332"/>
                    </a:lnTo>
                    <a:lnTo>
                      <a:pt x="183" y="2332"/>
                    </a:lnTo>
                    <a:lnTo>
                      <a:pt x="183" y="2330"/>
                    </a:lnTo>
                    <a:lnTo>
                      <a:pt x="184" y="2330"/>
                    </a:lnTo>
                    <a:lnTo>
                      <a:pt x="185" y="2332"/>
                    </a:lnTo>
                    <a:lnTo>
                      <a:pt x="185" y="2332"/>
                    </a:lnTo>
                    <a:lnTo>
                      <a:pt x="191" y="2332"/>
                    </a:lnTo>
                    <a:lnTo>
                      <a:pt x="194" y="2332"/>
                    </a:lnTo>
                    <a:lnTo>
                      <a:pt x="195" y="2334"/>
                    </a:lnTo>
                    <a:lnTo>
                      <a:pt x="196" y="2330"/>
                    </a:lnTo>
                    <a:lnTo>
                      <a:pt x="199" y="2328"/>
                    </a:lnTo>
                    <a:lnTo>
                      <a:pt x="198" y="2325"/>
                    </a:lnTo>
                    <a:lnTo>
                      <a:pt x="199" y="2323"/>
                    </a:lnTo>
                    <a:lnTo>
                      <a:pt x="196" y="2320"/>
                    </a:lnTo>
                    <a:lnTo>
                      <a:pt x="198" y="2320"/>
                    </a:lnTo>
                    <a:lnTo>
                      <a:pt x="199" y="2319"/>
                    </a:lnTo>
                    <a:lnTo>
                      <a:pt x="200" y="2317"/>
                    </a:lnTo>
                    <a:lnTo>
                      <a:pt x="200" y="2320"/>
                    </a:lnTo>
                    <a:lnTo>
                      <a:pt x="202" y="2319"/>
                    </a:lnTo>
                    <a:lnTo>
                      <a:pt x="202" y="2317"/>
                    </a:lnTo>
                    <a:lnTo>
                      <a:pt x="202" y="2317"/>
                    </a:lnTo>
                    <a:lnTo>
                      <a:pt x="204" y="2313"/>
                    </a:lnTo>
                    <a:lnTo>
                      <a:pt x="208" y="2311"/>
                    </a:lnTo>
                    <a:lnTo>
                      <a:pt x="211" y="2311"/>
                    </a:lnTo>
                    <a:lnTo>
                      <a:pt x="215" y="2313"/>
                    </a:lnTo>
                    <a:lnTo>
                      <a:pt x="215" y="2312"/>
                    </a:lnTo>
                    <a:lnTo>
                      <a:pt x="221" y="2308"/>
                    </a:lnTo>
                    <a:lnTo>
                      <a:pt x="222" y="2311"/>
                    </a:lnTo>
                    <a:lnTo>
                      <a:pt x="225" y="2309"/>
                    </a:lnTo>
                    <a:lnTo>
                      <a:pt x="227" y="2309"/>
                    </a:lnTo>
                    <a:lnTo>
                      <a:pt x="229" y="2306"/>
                    </a:lnTo>
                    <a:lnTo>
                      <a:pt x="229" y="2306"/>
                    </a:lnTo>
                    <a:lnTo>
                      <a:pt x="232" y="2306"/>
                    </a:lnTo>
                    <a:lnTo>
                      <a:pt x="234" y="2306"/>
                    </a:lnTo>
                    <a:lnTo>
                      <a:pt x="238" y="2309"/>
                    </a:lnTo>
                    <a:lnTo>
                      <a:pt x="244" y="2306"/>
                    </a:lnTo>
                    <a:lnTo>
                      <a:pt x="246" y="2306"/>
                    </a:lnTo>
                    <a:lnTo>
                      <a:pt x="249" y="2305"/>
                    </a:lnTo>
                    <a:lnTo>
                      <a:pt x="252" y="2306"/>
                    </a:lnTo>
                    <a:lnTo>
                      <a:pt x="253" y="2304"/>
                    </a:lnTo>
                    <a:lnTo>
                      <a:pt x="257" y="2304"/>
                    </a:lnTo>
                    <a:lnTo>
                      <a:pt x="264" y="2300"/>
                    </a:lnTo>
                    <a:lnTo>
                      <a:pt x="268" y="2301"/>
                    </a:lnTo>
                    <a:lnTo>
                      <a:pt x="271" y="2298"/>
                    </a:lnTo>
                    <a:lnTo>
                      <a:pt x="271" y="2298"/>
                    </a:lnTo>
                    <a:lnTo>
                      <a:pt x="271" y="2293"/>
                    </a:lnTo>
                    <a:lnTo>
                      <a:pt x="270" y="2290"/>
                    </a:lnTo>
                    <a:lnTo>
                      <a:pt x="268" y="2289"/>
                    </a:lnTo>
                    <a:lnTo>
                      <a:pt x="272" y="2285"/>
                    </a:lnTo>
                    <a:lnTo>
                      <a:pt x="272" y="2287"/>
                    </a:lnTo>
                    <a:lnTo>
                      <a:pt x="275" y="2289"/>
                    </a:lnTo>
                    <a:lnTo>
                      <a:pt x="276" y="2292"/>
                    </a:lnTo>
                    <a:lnTo>
                      <a:pt x="275" y="2296"/>
                    </a:lnTo>
                    <a:lnTo>
                      <a:pt x="275" y="2296"/>
                    </a:lnTo>
                    <a:lnTo>
                      <a:pt x="278" y="2296"/>
                    </a:lnTo>
                    <a:lnTo>
                      <a:pt x="278" y="2296"/>
                    </a:lnTo>
                    <a:lnTo>
                      <a:pt x="280" y="2294"/>
                    </a:lnTo>
                    <a:lnTo>
                      <a:pt x="287" y="2296"/>
                    </a:lnTo>
                    <a:lnTo>
                      <a:pt x="293" y="2292"/>
                    </a:lnTo>
                    <a:lnTo>
                      <a:pt x="293" y="2293"/>
                    </a:lnTo>
                    <a:lnTo>
                      <a:pt x="290" y="2296"/>
                    </a:lnTo>
                    <a:lnTo>
                      <a:pt x="294" y="2298"/>
                    </a:lnTo>
                    <a:lnTo>
                      <a:pt x="298" y="2296"/>
                    </a:lnTo>
                    <a:lnTo>
                      <a:pt x="301" y="2297"/>
                    </a:lnTo>
                    <a:lnTo>
                      <a:pt x="301" y="2297"/>
                    </a:lnTo>
                    <a:lnTo>
                      <a:pt x="305" y="2294"/>
                    </a:lnTo>
                    <a:lnTo>
                      <a:pt x="309" y="2293"/>
                    </a:lnTo>
                    <a:lnTo>
                      <a:pt x="309" y="2293"/>
                    </a:lnTo>
                    <a:lnTo>
                      <a:pt x="310" y="2290"/>
                    </a:lnTo>
                    <a:lnTo>
                      <a:pt x="313" y="2287"/>
                    </a:lnTo>
                    <a:lnTo>
                      <a:pt x="318" y="2286"/>
                    </a:lnTo>
                    <a:lnTo>
                      <a:pt x="318" y="2283"/>
                    </a:lnTo>
                    <a:lnTo>
                      <a:pt x="320" y="2283"/>
                    </a:lnTo>
                    <a:lnTo>
                      <a:pt x="322" y="2281"/>
                    </a:lnTo>
                    <a:lnTo>
                      <a:pt x="324" y="2275"/>
                    </a:lnTo>
                    <a:lnTo>
                      <a:pt x="325" y="2275"/>
                    </a:lnTo>
                    <a:lnTo>
                      <a:pt x="328" y="2278"/>
                    </a:lnTo>
                    <a:lnTo>
                      <a:pt x="331" y="2275"/>
                    </a:lnTo>
                    <a:lnTo>
                      <a:pt x="332" y="2273"/>
                    </a:lnTo>
                    <a:lnTo>
                      <a:pt x="336" y="2273"/>
                    </a:lnTo>
                    <a:lnTo>
                      <a:pt x="336" y="2269"/>
                    </a:lnTo>
                    <a:lnTo>
                      <a:pt x="339" y="2267"/>
                    </a:lnTo>
                    <a:lnTo>
                      <a:pt x="335" y="2263"/>
                    </a:lnTo>
                    <a:lnTo>
                      <a:pt x="336" y="2260"/>
                    </a:lnTo>
                    <a:lnTo>
                      <a:pt x="336" y="2256"/>
                    </a:lnTo>
                    <a:lnTo>
                      <a:pt x="337" y="2255"/>
                    </a:lnTo>
                    <a:lnTo>
                      <a:pt x="336" y="2252"/>
                    </a:lnTo>
                    <a:lnTo>
                      <a:pt x="337" y="2251"/>
                    </a:lnTo>
                    <a:lnTo>
                      <a:pt x="339" y="2250"/>
                    </a:lnTo>
                    <a:lnTo>
                      <a:pt x="340" y="2250"/>
                    </a:lnTo>
                    <a:lnTo>
                      <a:pt x="343" y="2251"/>
                    </a:lnTo>
                    <a:lnTo>
                      <a:pt x="341" y="2252"/>
                    </a:lnTo>
                    <a:lnTo>
                      <a:pt x="344" y="2255"/>
                    </a:lnTo>
                    <a:lnTo>
                      <a:pt x="344" y="2255"/>
                    </a:lnTo>
                    <a:lnTo>
                      <a:pt x="343" y="2258"/>
                    </a:lnTo>
                    <a:lnTo>
                      <a:pt x="344" y="2260"/>
                    </a:lnTo>
                    <a:lnTo>
                      <a:pt x="343" y="2262"/>
                    </a:lnTo>
                    <a:lnTo>
                      <a:pt x="344" y="2263"/>
                    </a:lnTo>
                    <a:lnTo>
                      <a:pt x="346" y="2264"/>
                    </a:lnTo>
                    <a:lnTo>
                      <a:pt x="348" y="2263"/>
                    </a:lnTo>
                    <a:lnTo>
                      <a:pt x="348" y="2264"/>
                    </a:lnTo>
                    <a:lnTo>
                      <a:pt x="351" y="2266"/>
                    </a:lnTo>
                    <a:lnTo>
                      <a:pt x="352" y="2267"/>
                    </a:lnTo>
                    <a:lnTo>
                      <a:pt x="352" y="2270"/>
                    </a:lnTo>
                    <a:lnTo>
                      <a:pt x="354" y="2271"/>
                    </a:lnTo>
                    <a:lnTo>
                      <a:pt x="356" y="2270"/>
                    </a:lnTo>
                    <a:lnTo>
                      <a:pt x="356" y="2271"/>
                    </a:lnTo>
                    <a:lnTo>
                      <a:pt x="360" y="2271"/>
                    </a:lnTo>
                    <a:lnTo>
                      <a:pt x="360" y="2271"/>
                    </a:lnTo>
                    <a:lnTo>
                      <a:pt x="366" y="2266"/>
                    </a:lnTo>
                    <a:lnTo>
                      <a:pt x="371" y="2260"/>
                    </a:lnTo>
                    <a:lnTo>
                      <a:pt x="371" y="2262"/>
                    </a:lnTo>
                    <a:lnTo>
                      <a:pt x="373" y="2264"/>
                    </a:lnTo>
                    <a:lnTo>
                      <a:pt x="369" y="2269"/>
                    </a:lnTo>
                    <a:lnTo>
                      <a:pt x="369" y="2271"/>
                    </a:lnTo>
                    <a:lnTo>
                      <a:pt x="373" y="2269"/>
                    </a:lnTo>
                    <a:lnTo>
                      <a:pt x="373" y="2269"/>
                    </a:lnTo>
                    <a:lnTo>
                      <a:pt x="371" y="2273"/>
                    </a:lnTo>
                    <a:lnTo>
                      <a:pt x="370" y="2275"/>
                    </a:lnTo>
                    <a:lnTo>
                      <a:pt x="370" y="2278"/>
                    </a:lnTo>
                    <a:lnTo>
                      <a:pt x="367" y="2282"/>
                    </a:lnTo>
                    <a:lnTo>
                      <a:pt x="369" y="2283"/>
                    </a:lnTo>
                    <a:lnTo>
                      <a:pt x="370" y="2282"/>
                    </a:lnTo>
                    <a:lnTo>
                      <a:pt x="371" y="2282"/>
                    </a:lnTo>
                    <a:lnTo>
                      <a:pt x="371" y="2283"/>
                    </a:lnTo>
                    <a:lnTo>
                      <a:pt x="374" y="2285"/>
                    </a:lnTo>
                    <a:lnTo>
                      <a:pt x="371" y="2287"/>
                    </a:lnTo>
                    <a:lnTo>
                      <a:pt x="369" y="2287"/>
                    </a:lnTo>
                    <a:lnTo>
                      <a:pt x="369" y="2290"/>
                    </a:lnTo>
                    <a:lnTo>
                      <a:pt x="367" y="2292"/>
                    </a:lnTo>
                    <a:lnTo>
                      <a:pt x="369" y="2293"/>
                    </a:lnTo>
                    <a:lnTo>
                      <a:pt x="363" y="2294"/>
                    </a:lnTo>
                    <a:lnTo>
                      <a:pt x="359" y="2294"/>
                    </a:lnTo>
                    <a:lnTo>
                      <a:pt x="355" y="2298"/>
                    </a:lnTo>
                    <a:lnTo>
                      <a:pt x="352" y="2298"/>
                    </a:lnTo>
                    <a:lnTo>
                      <a:pt x="351" y="2302"/>
                    </a:lnTo>
                    <a:lnTo>
                      <a:pt x="331" y="2309"/>
                    </a:lnTo>
                    <a:lnTo>
                      <a:pt x="329" y="2309"/>
                    </a:lnTo>
                    <a:lnTo>
                      <a:pt x="328" y="2309"/>
                    </a:lnTo>
                    <a:lnTo>
                      <a:pt x="328" y="2312"/>
                    </a:lnTo>
                    <a:lnTo>
                      <a:pt x="328" y="2312"/>
                    </a:lnTo>
                    <a:lnTo>
                      <a:pt x="324" y="2313"/>
                    </a:lnTo>
                    <a:lnTo>
                      <a:pt x="320" y="2316"/>
                    </a:lnTo>
                    <a:lnTo>
                      <a:pt x="317" y="2317"/>
                    </a:lnTo>
                    <a:lnTo>
                      <a:pt x="317" y="2317"/>
                    </a:lnTo>
                    <a:lnTo>
                      <a:pt x="310" y="2321"/>
                    </a:lnTo>
                    <a:lnTo>
                      <a:pt x="303" y="2323"/>
                    </a:lnTo>
                    <a:lnTo>
                      <a:pt x="298" y="2325"/>
                    </a:lnTo>
                    <a:lnTo>
                      <a:pt x="293" y="2328"/>
                    </a:lnTo>
                    <a:lnTo>
                      <a:pt x="291" y="2327"/>
                    </a:lnTo>
                    <a:lnTo>
                      <a:pt x="291" y="2327"/>
                    </a:lnTo>
                    <a:lnTo>
                      <a:pt x="289" y="2331"/>
                    </a:lnTo>
                    <a:lnTo>
                      <a:pt x="283" y="2334"/>
                    </a:lnTo>
                    <a:lnTo>
                      <a:pt x="282" y="2334"/>
                    </a:lnTo>
                    <a:lnTo>
                      <a:pt x="280" y="2336"/>
                    </a:lnTo>
                    <a:lnTo>
                      <a:pt x="280" y="2336"/>
                    </a:lnTo>
                    <a:lnTo>
                      <a:pt x="276" y="2339"/>
                    </a:lnTo>
                    <a:lnTo>
                      <a:pt x="274" y="2340"/>
                    </a:lnTo>
                    <a:lnTo>
                      <a:pt x="274" y="2342"/>
                    </a:lnTo>
                    <a:lnTo>
                      <a:pt x="271" y="2342"/>
                    </a:lnTo>
                    <a:lnTo>
                      <a:pt x="267" y="2344"/>
                    </a:lnTo>
                    <a:lnTo>
                      <a:pt x="265" y="2346"/>
                    </a:lnTo>
                    <a:lnTo>
                      <a:pt x="263" y="2346"/>
                    </a:lnTo>
                    <a:lnTo>
                      <a:pt x="263" y="2346"/>
                    </a:lnTo>
                    <a:lnTo>
                      <a:pt x="257" y="2351"/>
                    </a:lnTo>
                    <a:lnTo>
                      <a:pt x="253" y="2353"/>
                    </a:lnTo>
                    <a:lnTo>
                      <a:pt x="251" y="2354"/>
                    </a:lnTo>
                    <a:lnTo>
                      <a:pt x="249" y="2357"/>
                    </a:lnTo>
                    <a:lnTo>
                      <a:pt x="248" y="2358"/>
                    </a:lnTo>
                    <a:lnTo>
                      <a:pt x="249" y="2361"/>
                    </a:lnTo>
                    <a:lnTo>
                      <a:pt x="249" y="2361"/>
                    </a:lnTo>
                    <a:lnTo>
                      <a:pt x="244" y="2363"/>
                    </a:lnTo>
                    <a:lnTo>
                      <a:pt x="241" y="2366"/>
                    </a:lnTo>
                    <a:lnTo>
                      <a:pt x="240" y="2369"/>
                    </a:lnTo>
                    <a:lnTo>
                      <a:pt x="240" y="2369"/>
                    </a:lnTo>
                    <a:lnTo>
                      <a:pt x="232" y="2373"/>
                    </a:lnTo>
                    <a:lnTo>
                      <a:pt x="225" y="2378"/>
                    </a:lnTo>
                    <a:lnTo>
                      <a:pt x="226" y="2378"/>
                    </a:lnTo>
                    <a:lnTo>
                      <a:pt x="229" y="2378"/>
                    </a:lnTo>
                    <a:lnTo>
                      <a:pt x="232" y="2380"/>
                    </a:lnTo>
                    <a:lnTo>
                      <a:pt x="237" y="2377"/>
                    </a:lnTo>
                    <a:lnTo>
                      <a:pt x="238" y="2378"/>
                    </a:lnTo>
                    <a:lnTo>
                      <a:pt x="238" y="2378"/>
                    </a:lnTo>
                    <a:lnTo>
                      <a:pt x="244" y="2376"/>
                    </a:lnTo>
                    <a:lnTo>
                      <a:pt x="245" y="2374"/>
                    </a:lnTo>
                    <a:lnTo>
                      <a:pt x="248" y="2373"/>
                    </a:lnTo>
                    <a:lnTo>
                      <a:pt x="251" y="2374"/>
                    </a:lnTo>
                    <a:lnTo>
                      <a:pt x="257" y="2370"/>
                    </a:lnTo>
                    <a:lnTo>
                      <a:pt x="257" y="2369"/>
                    </a:lnTo>
                    <a:lnTo>
                      <a:pt x="259" y="2368"/>
                    </a:lnTo>
                    <a:lnTo>
                      <a:pt x="260" y="2369"/>
                    </a:lnTo>
                    <a:lnTo>
                      <a:pt x="263" y="2366"/>
                    </a:lnTo>
                    <a:lnTo>
                      <a:pt x="264" y="2368"/>
                    </a:lnTo>
                    <a:lnTo>
                      <a:pt x="264" y="2365"/>
                    </a:lnTo>
                    <a:lnTo>
                      <a:pt x="267" y="2365"/>
                    </a:lnTo>
                    <a:lnTo>
                      <a:pt x="268" y="2365"/>
                    </a:lnTo>
                    <a:lnTo>
                      <a:pt x="268" y="2368"/>
                    </a:lnTo>
                    <a:lnTo>
                      <a:pt x="270" y="2368"/>
                    </a:lnTo>
                    <a:lnTo>
                      <a:pt x="271" y="2366"/>
                    </a:lnTo>
                    <a:lnTo>
                      <a:pt x="270" y="2363"/>
                    </a:lnTo>
                    <a:lnTo>
                      <a:pt x="272" y="2362"/>
                    </a:lnTo>
                    <a:lnTo>
                      <a:pt x="275" y="2361"/>
                    </a:lnTo>
                    <a:lnTo>
                      <a:pt x="276" y="2361"/>
                    </a:lnTo>
                    <a:lnTo>
                      <a:pt x="278" y="2361"/>
                    </a:lnTo>
                    <a:lnTo>
                      <a:pt x="279" y="2361"/>
                    </a:lnTo>
                    <a:lnTo>
                      <a:pt x="282" y="2359"/>
                    </a:lnTo>
                    <a:lnTo>
                      <a:pt x="282" y="2359"/>
                    </a:lnTo>
                    <a:lnTo>
                      <a:pt x="283" y="2357"/>
                    </a:lnTo>
                    <a:lnTo>
                      <a:pt x="284" y="2354"/>
                    </a:lnTo>
                    <a:lnTo>
                      <a:pt x="287" y="2357"/>
                    </a:lnTo>
                    <a:lnTo>
                      <a:pt x="287" y="2357"/>
                    </a:lnTo>
                    <a:lnTo>
                      <a:pt x="289" y="2354"/>
                    </a:lnTo>
                    <a:lnTo>
                      <a:pt x="290" y="2353"/>
                    </a:lnTo>
                    <a:lnTo>
                      <a:pt x="295" y="2353"/>
                    </a:lnTo>
                    <a:lnTo>
                      <a:pt x="295" y="2354"/>
                    </a:lnTo>
                    <a:lnTo>
                      <a:pt x="303" y="2346"/>
                    </a:lnTo>
                    <a:lnTo>
                      <a:pt x="303" y="2344"/>
                    </a:lnTo>
                    <a:lnTo>
                      <a:pt x="305" y="2343"/>
                    </a:lnTo>
                    <a:lnTo>
                      <a:pt x="309" y="2343"/>
                    </a:lnTo>
                    <a:lnTo>
                      <a:pt x="309" y="2344"/>
                    </a:lnTo>
                    <a:lnTo>
                      <a:pt x="310" y="2344"/>
                    </a:lnTo>
                    <a:lnTo>
                      <a:pt x="312" y="2342"/>
                    </a:lnTo>
                    <a:lnTo>
                      <a:pt x="313" y="2342"/>
                    </a:lnTo>
                    <a:lnTo>
                      <a:pt x="314" y="2343"/>
                    </a:lnTo>
                    <a:lnTo>
                      <a:pt x="316" y="2339"/>
                    </a:lnTo>
                    <a:lnTo>
                      <a:pt x="324" y="2335"/>
                    </a:lnTo>
                    <a:lnTo>
                      <a:pt x="325" y="2336"/>
                    </a:lnTo>
                    <a:lnTo>
                      <a:pt x="328" y="2335"/>
                    </a:lnTo>
                    <a:lnTo>
                      <a:pt x="332" y="2335"/>
                    </a:lnTo>
                    <a:lnTo>
                      <a:pt x="332" y="2338"/>
                    </a:lnTo>
                    <a:lnTo>
                      <a:pt x="332" y="2338"/>
                    </a:lnTo>
                    <a:lnTo>
                      <a:pt x="336" y="2331"/>
                    </a:lnTo>
                    <a:lnTo>
                      <a:pt x="337" y="2332"/>
                    </a:lnTo>
                    <a:lnTo>
                      <a:pt x="339" y="2331"/>
                    </a:lnTo>
                    <a:lnTo>
                      <a:pt x="339" y="2332"/>
                    </a:lnTo>
                    <a:lnTo>
                      <a:pt x="337" y="2334"/>
                    </a:lnTo>
                    <a:lnTo>
                      <a:pt x="340" y="2335"/>
                    </a:lnTo>
                    <a:lnTo>
                      <a:pt x="339" y="2338"/>
                    </a:lnTo>
                    <a:lnTo>
                      <a:pt x="339" y="2339"/>
                    </a:lnTo>
                    <a:lnTo>
                      <a:pt x="336" y="2340"/>
                    </a:lnTo>
                    <a:lnTo>
                      <a:pt x="331" y="2339"/>
                    </a:lnTo>
                    <a:lnTo>
                      <a:pt x="328" y="2342"/>
                    </a:lnTo>
                    <a:lnTo>
                      <a:pt x="325" y="2342"/>
                    </a:lnTo>
                    <a:lnTo>
                      <a:pt x="324" y="2344"/>
                    </a:lnTo>
                    <a:lnTo>
                      <a:pt x="324" y="2349"/>
                    </a:lnTo>
                    <a:lnTo>
                      <a:pt x="324" y="2349"/>
                    </a:lnTo>
                    <a:lnTo>
                      <a:pt x="321" y="2350"/>
                    </a:lnTo>
                    <a:lnTo>
                      <a:pt x="317" y="2351"/>
                    </a:lnTo>
                    <a:lnTo>
                      <a:pt x="314" y="2354"/>
                    </a:lnTo>
                    <a:lnTo>
                      <a:pt x="310" y="2355"/>
                    </a:lnTo>
                    <a:lnTo>
                      <a:pt x="310" y="2357"/>
                    </a:lnTo>
                    <a:lnTo>
                      <a:pt x="312" y="2358"/>
                    </a:lnTo>
                    <a:lnTo>
                      <a:pt x="312" y="2359"/>
                    </a:lnTo>
                    <a:lnTo>
                      <a:pt x="301" y="2363"/>
                    </a:lnTo>
                    <a:lnTo>
                      <a:pt x="301" y="2363"/>
                    </a:lnTo>
                    <a:lnTo>
                      <a:pt x="299" y="2368"/>
                    </a:lnTo>
                    <a:lnTo>
                      <a:pt x="301" y="2372"/>
                    </a:lnTo>
                    <a:lnTo>
                      <a:pt x="298" y="2373"/>
                    </a:lnTo>
                    <a:lnTo>
                      <a:pt x="294" y="2377"/>
                    </a:lnTo>
                    <a:lnTo>
                      <a:pt x="295" y="2378"/>
                    </a:lnTo>
                    <a:lnTo>
                      <a:pt x="294" y="2380"/>
                    </a:lnTo>
                    <a:lnTo>
                      <a:pt x="293" y="2380"/>
                    </a:lnTo>
                    <a:lnTo>
                      <a:pt x="293" y="2377"/>
                    </a:lnTo>
                    <a:lnTo>
                      <a:pt x="291" y="2377"/>
                    </a:lnTo>
                    <a:lnTo>
                      <a:pt x="291" y="2377"/>
                    </a:lnTo>
                    <a:lnTo>
                      <a:pt x="290" y="2380"/>
                    </a:lnTo>
                    <a:lnTo>
                      <a:pt x="290" y="2380"/>
                    </a:lnTo>
                    <a:lnTo>
                      <a:pt x="287" y="2382"/>
                    </a:lnTo>
                    <a:lnTo>
                      <a:pt x="283" y="2385"/>
                    </a:lnTo>
                    <a:lnTo>
                      <a:pt x="282" y="2384"/>
                    </a:lnTo>
                    <a:lnTo>
                      <a:pt x="278" y="2387"/>
                    </a:lnTo>
                    <a:lnTo>
                      <a:pt x="276" y="2385"/>
                    </a:lnTo>
                    <a:lnTo>
                      <a:pt x="274" y="2388"/>
                    </a:lnTo>
                    <a:lnTo>
                      <a:pt x="274" y="2388"/>
                    </a:lnTo>
                    <a:lnTo>
                      <a:pt x="268" y="2388"/>
                    </a:lnTo>
                    <a:lnTo>
                      <a:pt x="265" y="2391"/>
                    </a:lnTo>
                    <a:lnTo>
                      <a:pt x="263" y="2389"/>
                    </a:lnTo>
                    <a:lnTo>
                      <a:pt x="253" y="2397"/>
                    </a:lnTo>
                    <a:lnTo>
                      <a:pt x="253" y="2400"/>
                    </a:lnTo>
                    <a:lnTo>
                      <a:pt x="253" y="2400"/>
                    </a:lnTo>
                    <a:lnTo>
                      <a:pt x="249" y="2403"/>
                    </a:lnTo>
                    <a:lnTo>
                      <a:pt x="244" y="2407"/>
                    </a:lnTo>
                    <a:lnTo>
                      <a:pt x="232" y="2414"/>
                    </a:lnTo>
                    <a:lnTo>
                      <a:pt x="234" y="2415"/>
                    </a:lnTo>
                    <a:lnTo>
                      <a:pt x="233" y="2416"/>
                    </a:lnTo>
                    <a:lnTo>
                      <a:pt x="240" y="2418"/>
                    </a:lnTo>
                    <a:lnTo>
                      <a:pt x="242" y="2420"/>
                    </a:lnTo>
                    <a:lnTo>
                      <a:pt x="237" y="2427"/>
                    </a:lnTo>
                    <a:lnTo>
                      <a:pt x="238" y="2429"/>
                    </a:lnTo>
                    <a:lnTo>
                      <a:pt x="238" y="2430"/>
                    </a:lnTo>
                    <a:lnTo>
                      <a:pt x="238" y="2430"/>
                    </a:lnTo>
                    <a:lnTo>
                      <a:pt x="240" y="2434"/>
                    </a:lnTo>
                    <a:lnTo>
                      <a:pt x="242" y="2435"/>
                    </a:lnTo>
                    <a:lnTo>
                      <a:pt x="242" y="2435"/>
                    </a:lnTo>
                    <a:lnTo>
                      <a:pt x="246" y="2434"/>
                    </a:lnTo>
                    <a:lnTo>
                      <a:pt x="249" y="2431"/>
                    </a:lnTo>
                    <a:lnTo>
                      <a:pt x="252" y="2427"/>
                    </a:lnTo>
                    <a:lnTo>
                      <a:pt x="253" y="2423"/>
                    </a:lnTo>
                    <a:lnTo>
                      <a:pt x="252" y="2422"/>
                    </a:lnTo>
                    <a:lnTo>
                      <a:pt x="252" y="2422"/>
                    </a:lnTo>
                    <a:lnTo>
                      <a:pt x="253" y="2419"/>
                    </a:lnTo>
                    <a:lnTo>
                      <a:pt x="255" y="2418"/>
                    </a:lnTo>
                    <a:lnTo>
                      <a:pt x="259" y="2416"/>
                    </a:lnTo>
                    <a:lnTo>
                      <a:pt x="257" y="2418"/>
                    </a:lnTo>
                    <a:lnTo>
                      <a:pt x="253" y="2419"/>
                    </a:lnTo>
                    <a:lnTo>
                      <a:pt x="253" y="2422"/>
                    </a:lnTo>
                    <a:lnTo>
                      <a:pt x="253" y="2422"/>
                    </a:lnTo>
                    <a:lnTo>
                      <a:pt x="255" y="2426"/>
                    </a:lnTo>
                    <a:lnTo>
                      <a:pt x="259" y="2427"/>
                    </a:lnTo>
                    <a:lnTo>
                      <a:pt x="259" y="2429"/>
                    </a:lnTo>
                    <a:lnTo>
                      <a:pt x="256" y="2433"/>
                    </a:lnTo>
                    <a:lnTo>
                      <a:pt x="256" y="2437"/>
                    </a:lnTo>
                    <a:lnTo>
                      <a:pt x="256" y="2437"/>
                    </a:lnTo>
                    <a:lnTo>
                      <a:pt x="260" y="2434"/>
                    </a:lnTo>
                    <a:lnTo>
                      <a:pt x="261" y="2430"/>
                    </a:lnTo>
                    <a:lnTo>
                      <a:pt x="264" y="2430"/>
                    </a:lnTo>
                    <a:lnTo>
                      <a:pt x="265" y="2431"/>
                    </a:lnTo>
                    <a:lnTo>
                      <a:pt x="267" y="2430"/>
                    </a:lnTo>
                    <a:lnTo>
                      <a:pt x="265" y="2427"/>
                    </a:lnTo>
                    <a:lnTo>
                      <a:pt x="271" y="2427"/>
                    </a:lnTo>
                    <a:lnTo>
                      <a:pt x="271" y="2427"/>
                    </a:lnTo>
                    <a:lnTo>
                      <a:pt x="274" y="2425"/>
                    </a:lnTo>
                    <a:lnTo>
                      <a:pt x="276" y="2423"/>
                    </a:lnTo>
                    <a:lnTo>
                      <a:pt x="280" y="2423"/>
                    </a:lnTo>
                    <a:lnTo>
                      <a:pt x="280" y="2422"/>
                    </a:lnTo>
                    <a:lnTo>
                      <a:pt x="280" y="2422"/>
                    </a:lnTo>
                    <a:lnTo>
                      <a:pt x="274" y="2422"/>
                    </a:lnTo>
                    <a:lnTo>
                      <a:pt x="270" y="2425"/>
                    </a:lnTo>
                    <a:lnTo>
                      <a:pt x="265" y="2426"/>
                    </a:lnTo>
                    <a:lnTo>
                      <a:pt x="263" y="2427"/>
                    </a:lnTo>
                    <a:lnTo>
                      <a:pt x="263" y="2426"/>
                    </a:lnTo>
                    <a:lnTo>
                      <a:pt x="267" y="2425"/>
                    </a:lnTo>
                    <a:lnTo>
                      <a:pt x="267" y="2422"/>
                    </a:lnTo>
                    <a:lnTo>
                      <a:pt x="267" y="2422"/>
                    </a:lnTo>
                    <a:lnTo>
                      <a:pt x="272" y="2420"/>
                    </a:lnTo>
                    <a:lnTo>
                      <a:pt x="276" y="2418"/>
                    </a:lnTo>
                    <a:lnTo>
                      <a:pt x="276" y="2419"/>
                    </a:lnTo>
                    <a:lnTo>
                      <a:pt x="276" y="2419"/>
                    </a:lnTo>
                    <a:lnTo>
                      <a:pt x="279" y="2418"/>
                    </a:lnTo>
                    <a:lnTo>
                      <a:pt x="278" y="2416"/>
                    </a:lnTo>
                    <a:lnTo>
                      <a:pt x="279" y="2415"/>
                    </a:lnTo>
                    <a:lnTo>
                      <a:pt x="279" y="2408"/>
                    </a:lnTo>
                    <a:lnTo>
                      <a:pt x="278" y="2407"/>
                    </a:lnTo>
                    <a:lnTo>
                      <a:pt x="278" y="2407"/>
                    </a:lnTo>
                    <a:lnTo>
                      <a:pt x="282" y="2407"/>
                    </a:lnTo>
                    <a:lnTo>
                      <a:pt x="286" y="2404"/>
                    </a:lnTo>
                    <a:lnTo>
                      <a:pt x="286" y="2403"/>
                    </a:lnTo>
                    <a:lnTo>
                      <a:pt x="291" y="2400"/>
                    </a:lnTo>
                    <a:lnTo>
                      <a:pt x="291" y="2403"/>
                    </a:lnTo>
                    <a:lnTo>
                      <a:pt x="294" y="2404"/>
                    </a:lnTo>
                    <a:lnTo>
                      <a:pt x="294" y="2404"/>
                    </a:lnTo>
                    <a:lnTo>
                      <a:pt x="297" y="2397"/>
                    </a:lnTo>
                    <a:lnTo>
                      <a:pt x="295" y="2396"/>
                    </a:lnTo>
                    <a:lnTo>
                      <a:pt x="294" y="2395"/>
                    </a:lnTo>
                    <a:lnTo>
                      <a:pt x="298" y="2395"/>
                    </a:lnTo>
                    <a:lnTo>
                      <a:pt x="299" y="2395"/>
                    </a:lnTo>
                    <a:lnTo>
                      <a:pt x="299" y="2391"/>
                    </a:lnTo>
                    <a:lnTo>
                      <a:pt x="302" y="2391"/>
                    </a:lnTo>
                    <a:lnTo>
                      <a:pt x="301" y="2395"/>
                    </a:lnTo>
                    <a:lnTo>
                      <a:pt x="302" y="2396"/>
                    </a:lnTo>
                    <a:lnTo>
                      <a:pt x="305" y="2397"/>
                    </a:lnTo>
                    <a:lnTo>
                      <a:pt x="305" y="2401"/>
                    </a:lnTo>
                    <a:lnTo>
                      <a:pt x="306" y="2403"/>
                    </a:lnTo>
                    <a:lnTo>
                      <a:pt x="308" y="2404"/>
                    </a:lnTo>
                    <a:lnTo>
                      <a:pt x="310" y="2404"/>
                    </a:lnTo>
                    <a:lnTo>
                      <a:pt x="310" y="2406"/>
                    </a:lnTo>
                    <a:lnTo>
                      <a:pt x="306" y="2408"/>
                    </a:lnTo>
                    <a:lnTo>
                      <a:pt x="306" y="2408"/>
                    </a:lnTo>
                    <a:lnTo>
                      <a:pt x="314" y="2408"/>
                    </a:lnTo>
                    <a:lnTo>
                      <a:pt x="320" y="2407"/>
                    </a:lnTo>
                    <a:lnTo>
                      <a:pt x="322" y="2406"/>
                    </a:lnTo>
                    <a:lnTo>
                      <a:pt x="322" y="2404"/>
                    </a:lnTo>
                    <a:lnTo>
                      <a:pt x="320" y="2403"/>
                    </a:lnTo>
                    <a:lnTo>
                      <a:pt x="320" y="2401"/>
                    </a:lnTo>
                    <a:lnTo>
                      <a:pt x="320" y="2401"/>
                    </a:lnTo>
                    <a:lnTo>
                      <a:pt x="324" y="2400"/>
                    </a:lnTo>
                    <a:lnTo>
                      <a:pt x="328" y="2401"/>
                    </a:lnTo>
                    <a:lnTo>
                      <a:pt x="328" y="2401"/>
                    </a:lnTo>
                    <a:lnTo>
                      <a:pt x="331" y="2400"/>
                    </a:lnTo>
                    <a:lnTo>
                      <a:pt x="333" y="2400"/>
                    </a:lnTo>
                    <a:lnTo>
                      <a:pt x="333" y="2400"/>
                    </a:lnTo>
                    <a:lnTo>
                      <a:pt x="336" y="2399"/>
                    </a:lnTo>
                    <a:lnTo>
                      <a:pt x="339" y="2395"/>
                    </a:lnTo>
                    <a:lnTo>
                      <a:pt x="337" y="2388"/>
                    </a:lnTo>
                    <a:lnTo>
                      <a:pt x="340" y="2385"/>
                    </a:lnTo>
                    <a:lnTo>
                      <a:pt x="341" y="2385"/>
                    </a:lnTo>
                    <a:lnTo>
                      <a:pt x="343" y="2387"/>
                    </a:lnTo>
                    <a:lnTo>
                      <a:pt x="344" y="2385"/>
                    </a:lnTo>
                    <a:lnTo>
                      <a:pt x="343" y="2396"/>
                    </a:lnTo>
                    <a:lnTo>
                      <a:pt x="344" y="2396"/>
                    </a:lnTo>
                    <a:lnTo>
                      <a:pt x="348" y="2392"/>
                    </a:lnTo>
                    <a:lnTo>
                      <a:pt x="354" y="2392"/>
                    </a:lnTo>
                    <a:lnTo>
                      <a:pt x="358" y="2389"/>
                    </a:lnTo>
                    <a:lnTo>
                      <a:pt x="360" y="2391"/>
                    </a:lnTo>
                    <a:lnTo>
                      <a:pt x="363" y="2388"/>
                    </a:lnTo>
                    <a:lnTo>
                      <a:pt x="365" y="2387"/>
                    </a:lnTo>
                    <a:lnTo>
                      <a:pt x="363" y="2384"/>
                    </a:lnTo>
                    <a:lnTo>
                      <a:pt x="366" y="2384"/>
                    </a:lnTo>
                    <a:lnTo>
                      <a:pt x="366" y="2388"/>
                    </a:lnTo>
                    <a:lnTo>
                      <a:pt x="369" y="2389"/>
                    </a:lnTo>
                    <a:lnTo>
                      <a:pt x="370" y="2388"/>
                    </a:lnTo>
                    <a:lnTo>
                      <a:pt x="371" y="2387"/>
                    </a:lnTo>
                    <a:lnTo>
                      <a:pt x="373" y="2387"/>
                    </a:lnTo>
                    <a:lnTo>
                      <a:pt x="377" y="2382"/>
                    </a:lnTo>
                    <a:lnTo>
                      <a:pt x="377" y="2378"/>
                    </a:lnTo>
                    <a:lnTo>
                      <a:pt x="378" y="2378"/>
                    </a:lnTo>
                    <a:lnTo>
                      <a:pt x="378" y="2377"/>
                    </a:lnTo>
                    <a:lnTo>
                      <a:pt x="373" y="2377"/>
                    </a:lnTo>
                    <a:lnTo>
                      <a:pt x="375" y="2373"/>
                    </a:lnTo>
                    <a:lnTo>
                      <a:pt x="373" y="2370"/>
                    </a:lnTo>
                    <a:lnTo>
                      <a:pt x="370" y="2372"/>
                    </a:lnTo>
                    <a:lnTo>
                      <a:pt x="370" y="2369"/>
                    </a:lnTo>
                    <a:lnTo>
                      <a:pt x="369" y="2368"/>
                    </a:lnTo>
                    <a:lnTo>
                      <a:pt x="371" y="2365"/>
                    </a:lnTo>
                    <a:lnTo>
                      <a:pt x="374" y="2370"/>
                    </a:lnTo>
                    <a:lnTo>
                      <a:pt x="378" y="2372"/>
                    </a:lnTo>
                    <a:lnTo>
                      <a:pt x="379" y="2377"/>
                    </a:lnTo>
                    <a:lnTo>
                      <a:pt x="381" y="2376"/>
                    </a:lnTo>
                    <a:lnTo>
                      <a:pt x="381" y="2373"/>
                    </a:lnTo>
                    <a:lnTo>
                      <a:pt x="381" y="2372"/>
                    </a:lnTo>
                    <a:lnTo>
                      <a:pt x="384" y="2373"/>
                    </a:lnTo>
                    <a:lnTo>
                      <a:pt x="385" y="2372"/>
                    </a:lnTo>
                    <a:lnTo>
                      <a:pt x="385" y="2374"/>
                    </a:lnTo>
                    <a:lnTo>
                      <a:pt x="384" y="2377"/>
                    </a:lnTo>
                    <a:lnTo>
                      <a:pt x="386" y="2378"/>
                    </a:lnTo>
                    <a:lnTo>
                      <a:pt x="388" y="2377"/>
                    </a:lnTo>
                    <a:lnTo>
                      <a:pt x="389" y="2377"/>
                    </a:lnTo>
                    <a:lnTo>
                      <a:pt x="392" y="2374"/>
                    </a:lnTo>
                    <a:lnTo>
                      <a:pt x="393" y="2377"/>
                    </a:lnTo>
                    <a:lnTo>
                      <a:pt x="392" y="2378"/>
                    </a:lnTo>
                    <a:lnTo>
                      <a:pt x="392" y="2381"/>
                    </a:lnTo>
                    <a:lnTo>
                      <a:pt x="388" y="2387"/>
                    </a:lnTo>
                    <a:lnTo>
                      <a:pt x="389" y="2389"/>
                    </a:lnTo>
                    <a:lnTo>
                      <a:pt x="384" y="2393"/>
                    </a:lnTo>
                    <a:lnTo>
                      <a:pt x="384" y="2395"/>
                    </a:lnTo>
                    <a:lnTo>
                      <a:pt x="379" y="2396"/>
                    </a:lnTo>
                    <a:lnTo>
                      <a:pt x="381" y="2397"/>
                    </a:lnTo>
                    <a:lnTo>
                      <a:pt x="379" y="2400"/>
                    </a:lnTo>
                    <a:lnTo>
                      <a:pt x="381" y="2401"/>
                    </a:lnTo>
                    <a:lnTo>
                      <a:pt x="384" y="2399"/>
                    </a:lnTo>
                    <a:lnTo>
                      <a:pt x="384" y="2396"/>
                    </a:lnTo>
                    <a:lnTo>
                      <a:pt x="385" y="2395"/>
                    </a:lnTo>
                    <a:lnTo>
                      <a:pt x="386" y="2395"/>
                    </a:lnTo>
                    <a:lnTo>
                      <a:pt x="386" y="2395"/>
                    </a:lnTo>
                    <a:lnTo>
                      <a:pt x="385" y="2399"/>
                    </a:lnTo>
                    <a:lnTo>
                      <a:pt x="384" y="2404"/>
                    </a:lnTo>
                    <a:lnTo>
                      <a:pt x="386" y="2407"/>
                    </a:lnTo>
                    <a:lnTo>
                      <a:pt x="389" y="2404"/>
                    </a:lnTo>
                    <a:lnTo>
                      <a:pt x="390" y="2401"/>
                    </a:lnTo>
                    <a:lnTo>
                      <a:pt x="401" y="2396"/>
                    </a:lnTo>
                    <a:lnTo>
                      <a:pt x="401" y="2389"/>
                    </a:lnTo>
                    <a:lnTo>
                      <a:pt x="403" y="2388"/>
                    </a:lnTo>
                    <a:lnTo>
                      <a:pt x="404" y="2388"/>
                    </a:lnTo>
                    <a:lnTo>
                      <a:pt x="404" y="2388"/>
                    </a:lnTo>
                    <a:lnTo>
                      <a:pt x="407" y="2384"/>
                    </a:lnTo>
                    <a:lnTo>
                      <a:pt x="408" y="2381"/>
                    </a:lnTo>
                    <a:lnTo>
                      <a:pt x="408" y="2384"/>
                    </a:lnTo>
                    <a:lnTo>
                      <a:pt x="407" y="2385"/>
                    </a:lnTo>
                    <a:lnTo>
                      <a:pt x="409" y="2387"/>
                    </a:lnTo>
                    <a:lnTo>
                      <a:pt x="409" y="2387"/>
                    </a:lnTo>
                    <a:lnTo>
                      <a:pt x="413" y="2385"/>
                    </a:lnTo>
                    <a:lnTo>
                      <a:pt x="416" y="2381"/>
                    </a:lnTo>
                    <a:lnTo>
                      <a:pt x="417" y="2382"/>
                    </a:lnTo>
                    <a:lnTo>
                      <a:pt x="419" y="2381"/>
                    </a:lnTo>
                    <a:lnTo>
                      <a:pt x="417" y="2380"/>
                    </a:lnTo>
                    <a:lnTo>
                      <a:pt x="416" y="2378"/>
                    </a:lnTo>
                    <a:lnTo>
                      <a:pt x="416" y="2377"/>
                    </a:lnTo>
                    <a:lnTo>
                      <a:pt x="420" y="2376"/>
                    </a:lnTo>
                    <a:lnTo>
                      <a:pt x="420" y="2382"/>
                    </a:lnTo>
                    <a:lnTo>
                      <a:pt x="419" y="2384"/>
                    </a:lnTo>
                    <a:lnTo>
                      <a:pt x="416" y="2384"/>
                    </a:lnTo>
                    <a:lnTo>
                      <a:pt x="415" y="2385"/>
                    </a:lnTo>
                    <a:lnTo>
                      <a:pt x="415" y="2389"/>
                    </a:lnTo>
                    <a:lnTo>
                      <a:pt x="408" y="2396"/>
                    </a:lnTo>
                    <a:lnTo>
                      <a:pt x="408" y="2400"/>
                    </a:lnTo>
                    <a:lnTo>
                      <a:pt x="405" y="2407"/>
                    </a:lnTo>
                    <a:lnTo>
                      <a:pt x="407" y="2410"/>
                    </a:lnTo>
                    <a:lnTo>
                      <a:pt x="407" y="2412"/>
                    </a:lnTo>
                    <a:lnTo>
                      <a:pt x="405" y="2412"/>
                    </a:lnTo>
                    <a:lnTo>
                      <a:pt x="403" y="2411"/>
                    </a:lnTo>
                    <a:lnTo>
                      <a:pt x="400" y="2412"/>
                    </a:lnTo>
                    <a:lnTo>
                      <a:pt x="398" y="2416"/>
                    </a:lnTo>
                    <a:lnTo>
                      <a:pt x="398" y="2416"/>
                    </a:lnTo>
                    <a:lnTo>
                      <a:pt x="396" y="2416"/>
                    </a:lnTo>
                    <a:lnTo>
                      <a:pt x="394" y="2420"/>
                    </a:lnTo>
                    <a:lnTo>
                      <a:pt x="397" y="2420"/>
                    </a:lnTo>
                    <a:lnTo>
                      <a:pt x="398" y="2423"/>
                    </a:lnTo>
                    <a:lnTo>
                      <a:pt x="398" y="2423"/>
                    </a:lnTo>
                    <a:lnTo>
                      <a:pt x="403" y="2423"/>
                    </a:lnTo>
                    <a:lnTo>
                      <a:pt x="404" y="2422"/>
                    </a:lnTo>
                    <a:lnTo>
                      <a:pt x="407" y="2423"/>
                    </a:lnTo>
                    <a:lnTo>
                      <a:pt x="409" y="2422"/>
                    </a:lnTo>
                    <a:lnTo>
                      <a:pt x="409" y="2423"/>
                    </a:lnTo>
                    <a:lnTo>
                      <a:pt x="411" y="2425"/>
                    </a:lnTo>
                    <a:lnTo>
                      <a:pt x="411" y="2425"/>
                    </a:lnTo>
                    <a:lnTo>
                      <a:pt x="413" y="2420"/>
                    </a:lnTo>
                    <a:lnTo>
                      <a:pt x="417" y="2418"/>
                    </a:lnTo>
                    <a:lnTo>
                      <a:pt x="422" y="2415"/>
                    </a:lnTo>
                    <a:lnTo>
                      <a:pt x="424" y="2412"/>
                    </a:lnTo>
                    <a:lnTo>
                      <a:pt x="426" y="2414"/>
                    </a:lnTo>
                    <a:lnTo>
                      <a:pt x="428" y="2411"/>
                    </a:lnTo>
                    <a:lnTo>
                      <a:pt x="430" y="2410"/>
                    </a:lnTo>
                    <a:lnTo>
                      <a:pt x="428" y="2407"/>
                    </a:lnTo>
                    <a:lnTo>
                      <a:pt x="428" y="2404"/>
                    </a:lnTo>
                    <a:lnTo>
                      <a:pt x="426" y="2406"/>
                    </a:lnTo>
                    <a:lnTo>
                      <a:pt x="424" y="2400"/>
                    </a:lnTo>
                    <a:lnTo>
                      <a:pt x="426" y="2400"/>
                    </a:lnTo>
                    <a:lnTo>
                      <a:pt x="427" y="2400"/>
                    </a:lnTo>
                    <a:lnTo>
                      <a:pt x="430" y="2403"/>
                    </a:lnTo>
                    <a:lnTo>
                      <a:pt x="430" y="2406"/>
                    </a:lnTo>
                    <a:lnTo>
                      <a:pt x="431" y="2407"/>
                    </a:lnTo>
                    <a:lnTo>
                      <a:pt x="432" y="2406"/>
                    </a:lnTo>
                    <a:lnTo>
                      <a:pt x="432" y="2407"/>
                    </a:lnTo>
                    <a:lnTo>
                      <a:pt x="435" y="2408"/>
                    </a:lnTo>
                    <a:lnTo>
                      <a:pt x="436" y="2407"/>
                    </a:lnTo>
                    <a:lnTo>
                      <a:pt x="435" y="2406"/>
                    </a:lnTo>
                    <a:lnTo>
                      <a:pt x="439" y="2403"/>
                    </a:lnTo>
                    <a:lnTo>
                      <a:pt x="439" y="2403"/>
                    </a:lnTo>
                    <a:lnTo>
                      <a:pt x="439" y="2407"/>
                    </a:lnTo>
                    <a:lnTo>
                      <a:pt x="439" y="2410"/>
                    </a:lnTo>
                    <a:lnTo>
                      <a:pt x="439" y="2411"/>
                    </a:lnTo>
                    <a:lnTo>
                      <a:pt x="438" y="2412"/>
                    </a:lnTo>
                    <a:lnTo>
                      <a:pt x="438" y="2414"/>
                    </a:lnTo>
                    <a:lnTo>
                      <a:pt x="438" y="2414"/>
                    </a:lnTo>
                    <a:lnTo>
                      <a:pt x="443" y="2411"/>
                    </a:lnTo>
                    <a:lnTo>
                      <a:pt x="446" y="2410"/>
                    </a:lnTo>
                    <a:lnTo>
                      <a:pt x="449" y="2410"/>
                    </a:lnTo>
                    <a:lnTo>
                      <a:pt x="450" y="2408"/>
                    </a:lnTo>
                    <a:lnTo>
                      <a:pt x="450" y="2410"/>
                    </a:lnTo>
                    <a:lnTo>
                      <a:pt x="451" y="2410"/>
                    </a:lnTo>
                    <a:lnTo>
                      <a:pt x="449" y="2412"/>
                    </a:lnTo>
                    <a:lnTo>
                      <a:pt x="449" y="2414"/>
                    </a:lnTo>
                    <a:lnTo>
                      <a:pt x="449" y="2416"/>
                    </a:lnTo>
                    <a:lnTo>
                      <a:pt x="451" y="2415"/>
                    </a:lnTo>
                    <a:lnTo>
                      <a:pt x="453" y="2416"/>
                    </a:lnTo>
                    <a:lnTo>
                      <a:pt x="453" y="2416"/>
                    </a:lnTo>
                    <a:lnTo>
                      <a:pt x="455" y="2414"/>
                    </a:lnTo>
                    <a:lnTo>
                      <a:pt x="460" y="2412"/>
                    </a:lnTo>
                    <a:lnTo>
                      <a:pt x="460" y="2412"/>
                    </a:lnTo>
                    <a:lnTo>
                      <a:pt x="458" y="2410"/>
                    </a:lnTo>
                    <a:lnTo>
                      <a:pt x="458" y="2406"/>
                    </a:lnTo>
                    <a:lnTo>
                      <a:pt x="461" y="2401"/>
                    </a:lnTo>
                    <a:lnTo>
                      <a:pt x="461" y="2400"/>
                    </a:lnTo>
                    <a:lnTo>
                      <a:pt x="462" y="2399"/>
                    </a:lnTo>
                    <a:lnTo>
                      <a:pt x="464" y="2400"/>
                    </a:lnTo>
                    <a:lnTo>
                      <a:pt x="468" y="2400"/>
                    </a:lnTo>
                    <a:lnTo>
                      <a:pt x="466" y="2397"/>
                    </a:lnTo>
                    <a:lnTo>
                      <a:pt x="469" y="2395"/>
                    </a:lnTo>
                    <a:lnTo>
                      <a:pt x="468" y="2393"/>
                    </a:lnTo>
                    <a:lnTo>
                      <a:pt x="468" y="2393"/>
                    </a:lnTo>
                    <a:lnTo>
                      <a:pt x="470" y="2389"/>
                    </a:lnTo>
                    <a:lnTo>
                      <a:pt x="476" y="2387"/>
                    </a:lnTo>
                    <a:lnTo>
                      <a:pt x="476" y="2387"/>
                    </a:lnTo>
                    <a:lnTo>
                      <a:pt x="474" y="2381"/>
                    </a:lnTo>
                    <a:lnTo>
                      <a:pt x="474" y="2377"/>
                    </a:lnTo>
                    <a:lnTo>
                      <a:pt x="472" y="2376"/>
                    </a:lnTo>
                    <a:lnTo>
                      <a:pt x="474" y="2373"/>
                    </a:lnTo>
                    <a:lnTo>
                      <a:pt x="476" y="2374"/>
                    </a:lnTo>
                    <a:lnTo>
                      <a:pt x="476" y="2374"/>
                    </a:lnTo>
                    <a:lnTo>
                      <a:pt x="477" y="2380"/>
                    </a:lnTo>
                    <a:lnTo>
                      <a:pt x="476" y="2385"/>
                    </a:lnTo>
                    <a:lnTo>
                      <a:pt x="474" y="2389"/>
                    </a:lnTo>
                    <a:lnTo>
                      <a:pt x="472" y="2395"/>
                    </a:lnTo>
                    <a:lnTo>
                      <a:pt x="473" y="2395"/>
                    </a:lnTo>
                    <a:lnTo>
                      <a:pt x="473" y="2395"/>
                    </a:lnTo>
                    <a:lnTo>
                      <a:pt x="476" y="2393"/>
                    </a:lnTo>
                    <a:lnTo>
                      <a:pt x="480" y="2393"/>
                    </a:lnTo>
                    <a:lnTo>
                      <a:pt x="480" y="2391"/>
                    </a:lnTo>
                    <a:lnTo>
                      <a:pt x="478" y="2389"/>
                    </a:lnTo>
                    <a:lnTo>
                      <a:pt x="478" y="2388"/>
                    </a:lnTo>
                    <a:lnTo>
                      <a:pt x="481" y="2387"/>
                    </a:lnTo>
                    <a:lnTo>
                      <a:pt x="483" y="2387"/>
                    </a:lnTo>
                    <a:lnTo>
                      <a:pt x="480" y="2389"/>
                    </a:lnTo>
                    <a:lnTo>
                      <a:pt x="481" y="2391"/>
                    </a:lnTo>
                    <a:lnTo>
                      <a:pt x="483" y="2392"/>
                    </a:lnTo>
                    <a:lnTo>
                      <a:pt x="483" y="2392"/>
                    </a:lnTo>
                    <a:lnTo>
                      <a:pt x="485" y="2389"/>
                    </a:lnTo>
                    <a:lnTo>
                      <a:pt x="489" y="2388"/>
                    </a:lnTo>
                    <a:lnTo>
                      <a:pt x="487" y="2385"/>
                    </a:lnTo>
                    <a:lnTo>
                      <a:pt x="489" y="2384"/>
                    </a:lnTo>
                    <a:lnTo>
                      <a:pt x="491" y="2385"/>
                    </a:lnTo>
                    <a:lnTo>
                      <a:pt x="493" y="2385"/>
                    </a:lnTo>
                    <a:lnTo>
                      <a:pt x="491" y="2384"/>
                    </a:lnTo>
                    <a:lnTo>
                      <a:pt x="492" y="2382"/>
                    </a:lnTo>
                    <a:lnTo>
                      <a:pt x="496" y="2381"/>
                    </a:lnTo>
                    <a:lnTo>
                      <a:pt x="497" y="2381"/>
                    </a:lnTo>
                    <a:lnTo>
                      <a:pt x="497" y="2381"/>
                    </a:lnTo>
                    <a:lnTo>
                      <a:pt x="495" y="2377"/>
                    </a:lnTo>
                    <a:lnTo>
                      <a:pt x="493" y="2374"/>
                    </a:lnTo>
                    <a:lnTo>
                      <a:pt x="495" y="2372"/>
                    </a:lnTo>
                    <a:lnTo>
                      <a:pt x="492" y="2369"/>
                    </a:lnTo>
                    <a:lnTo>
                      <a:pt x="485" y="2368"/>
                    </a:lnTo>
                    <a:lnTo>
                      <a:pt x="485" y="2361"/>
                    </a:lnTo>
                    <a:lnTo>
                      <a:pt x="484" y="2361"/>
                    </a:lnTo>
                    <a:lnTo>
                      <a:pt x="481" y="2355"/>
                    </a:lnTo>
                    <a:lnTo>
                      <a:pt x="484" y="2355"/>
                    </a:lnTo>
                    <a:lnTo>
                      <a:pt x="484" y="2357"/>
                    </a:lnTo>
                    <a:lnTo>
                      <a:pt x="485" y="2358"/>
                    </a:lnTo>
                    <a:lnTo>
                      <a:pt x="488" y="2365"/>
                    </a:lnTo>
                    <a:lnTo>
                      <a:pt x="489" y="2366"/>
                    </a:lnTo>
                    <a:lnTo>
                      <a:pt x="492" y="2363"/>
                    </a:lnTo>
                    <a:lnTo>
                      <a:pt x="496" y="2366"/>
                    </a:lnTo>
                    <a:lnTo>
                      <a:pt x="496" y="2366"/>
                    </a:lnTo>
                    <a:lnTo>
                      <a:pt x="496" y="2369"/>
                    </a:lnTo>
                    <a:lnTo>
                      <a:pt x="497" y="2370"/>
                    </a:lnTo>
                    <a:lnTo>
                      <a:pt x="502" y="2374"/>
                    </a:lnTo>
                    <a:lnTo>
                      <a:pt x="504" y="2374"/>
                    </a:lnTo>
                    <a:lnTo>
                      <a:pt x="506" y="2376"/>
                    </a:lnTo>
                    <a:lnTo>
                      <a:pt x="514" y="2372"/>
                    </a:lnTo>
                    <a:lnTo>
                      <a:pt x="512" y="2368"/>
                    </a:lnTo>
                    <a:lnTo>
                      <a:pt x="518" y="2373"/>
                    </a:lnTo>
                    <a:lnTo>
                      <a:pt x="519" y="2373"/>
                    </a:lnTo>
                    <a:lnTo>
                      <a:pt x="522" y="2370"/>
                    </a:lnTo>
                    <a:lnTo>
                      <a:pt x="523" y="2372"/>
                    </a:lnTo>
                    <a:lnTo>
                      <a:pt x="525" y="2372"/>
                    </a:lnTo>
                    <a:lnTo>
                      <a:pt x="525" y="2372"/>
                    </a:lnTo>
                    <a:lnTo>
                      <a:pt x="525" y="2369"/>
                    </a:lnTo>
                    <a:lnTo>
                      <a:pt x="526" y="2368"/>
                    </a:lnTo>
                    <a:lnTo>
                      <a:pt x="526" y="2368"/>
                    </a:lnTo>
                    <a:lnTo>
                      <a:pt x="531" y="2366"/>
                    </a:lnTo>
                    <a:lnTo>
                      <a:pt x="531" y="2366"/>
                    </a:lnTo>
                    <a:lnTo>
                      <a:pt x="529" y="2363"/>
                    </a:lnTo>
                    <a:lnTo>
                      <a:pt x="526" y="2359"/>
                    </a:lnTo>
                    <a:lnTo>
                      <a:pt x="527" y="2354"/>
                    </a:lnTo>
                    <a:lnTo>
                      <a:pt x="527" y="2354"/>
                    </a:lnTo>
                    <a:lnTo>
                      <a:pt x="529" y="2358"/>
                    </a:lnTo>
                    <a:lnTo>
                      <a:pt x="530" y="2363"/>
                    </a:lnTo>
                    <a:lnTo>
                      <a:pt x="531" y="2365"/>
                    </a:lnTo>
                    <a:lnTo>
                      <a:pt x="537" y="2363"/>
                    </a:lnTo>
                    <a:lnTo>
                      <a:pt x="537" y="2363"/>
                    </a:lnTo>
                    <a:lnTo>
                      <a:pt x="541" y="2365"/>
                    </a:lnTo>
                    <a:lnTo>
                      <a:pt x="545" y="2368"/>
                    </a:lnTo>
                    <a:lnTo>
                      <a:pt x="546" y="2368"/>
                    </a:lnTo>
                    <a:lnTo>
                      <a:pt x="552" y="2372"/>
                    </a:lnTo>
                    <a:lnTo>
                      <a:pt x="554" y="2382"/>
                    </a:lnTo>
                    <a:lnTo>
                      <a:pt x="553" y="2385"/>
                    </a:lnTo>
                    <a:lnTo>
                      <a:pt x="554" y="2385"/>
                    </a:lnTo>
                    <a:lnTo>
                      <a:pt x="554" y="2382"/>
                    </a:lnTo>
                    <a:lnTo>
                      <a:pt x="557" y="2381"/>
                    </a:lnTo>
                    <a:lnTo>
                      <a:pt x="557" y="2377"/>
                    </a:lnTo>
                    <a:lnTo>
                      <a:pt x="557" y="2377"/>
                    </a:lnTo>
                    <a:lnTo>
                      <a:pt x="560" y="2376"/>
                    </a:lnTo>
                    <a:lnTo>
                      <a:pt x="563" y="2374"/>
                    </a:lnTo>
                    <a:lnTo>
                      <a:pt x="564" y="2376"/>
                    </a:lnTo>
                    <a:lnTo>
                      <a:pt x="565" y="2378"/>
                    </a:lnTo>
                    <a:lnTo>
                      <a:pt x="567" y="2380"/>
                    </a:lnTo>
                    <a:lnTo>
                      <a:pt x="567" y="2380"/>
                    </a:lnTo>
                    <a:lnTo>
                      <a:pt x="568" y="2378"/>
                    </a:lnTo>
                    <a:lnTo>
                      <a:pt x="571" y="2377"/>
                    </a:lnTo>
                    <a:lnTo>
                      <a:pt x="572" y="2374"/>
                    </a:lnTo>
                    <a:lnTo>
                      <a:pt x="573" y="2376"/>
                    </a:lnTo>
                    <a:lnTo>
                      <a:pt x="575" y="2374"/>
                    </a:lnTo>
                    <a:lnTo>
                      <a:pt x="573" y="2372"/>
                    </a:lnTo>
                    <a:lnTo>
                      <a:pt x="576" y="2372"/>
                    </a:lnTo>
                    <a:lnTo>
                      <a:pt x="578" y="2370"/>
                    </a:lnTo>
                    <a:lnTo>
                      <a:pt x="578" y="2369"/>
                    </a:lnTo>
                    <a:lnTo>
                      <a:pt x="575" y="2366"/>
                    </a:lnTo>
                    <a:lnTo>
                      <a:pt x="576" y="2361"/>
                    </a:lnTo>
                    <a:lnTo>
                      <a:pt x="583" y="2357"/>
                    </a:lnTo>
                    <a:lnTo>
                      <a:pt x="584" y="2357"/>
                    </a:lnTo>
                    <a:lnTo>
                      <a:pt x="584" y="2357"/>
                    </a:lnTo>
                    <a:lnTo>
                      <a:pt x="584" y="2353"/>
                    </a:lnTo>
                    <a:lnTo>
                      <a:pt x="586" y="2347"/>
                    </a:lnTo>
                    <a:lnTo>
                      <a:pt x="586" y="2346"/>
                    </a:lnTo>
                    <a:lnTo>
                      <a:pt x="576" y="2344"/>
                    </a:lnTo>
                    <a:lnTo>
                      <a:pt x="575" y="2343"/>
                    </a:lnTo>
                    <a:lnTo>
                      <a:pt x="576" y="2339"/>
                    </a:lnTo>
                    <a:lnTo>
                      <a:pt x="578" y="2339"/>
                    </a:lnTo>
                    <a:lnTo>
                      <a:pt x="579" y="2340"/>
                    </a:lnTo>
                    <a:lnTo>
                      <a:pt x="579" y="2342"/>
                    </a:lnTo>
                    <a:lnTo>
                      <a:pt x="579" y="2342"/>
                    </a:lnTo>
                    <a:lnTo>
                      <a:pt x="583" y="2343"/>
                    </a:lnTo>
                    <a:lnTo>
                      <a:pt x="587" y="2344"/>
                    </a:lnTo>
                    <a:lnTo>
                      <a:pt x="588" y="2343"/>
                    </a:lnTo>
                    <a:lnTo>
                      <a:pt x="591" y="2340"/>
                    </a:lnTo>
                    <a:lnTo>
                      <a:pt x="591" y="2340"/>
                    </a:lnTo>
                    <a:lnTo>
                      <a:pt x="591" y="2339"/>
                    </a:lnTo>
                    <a:lnTo>
                      <a:pt x="590" y="2338"/>
                    </a:lnTo>
                    <a:lnTo>
                      <a:pt x="587" y="2336"/>
                    </a:lnTo>
                    <a:lnTo>
                      <a:pt x="586" y="2338"/>
                    </a:lnTo>
                    <a:lnTo>
                      <a:pt x="583" y="2339"/>
                    </a:lnTo>
                    <a:lnTo>
                      <a:pt x="582" y="2338"/>
                    </a:lnTo>
                    <a:lnTo>
                      <a:pt x="583" y="2332"/>
                    </a:lnTo>
                    <a:lnTo>
                      <a:pt x="579" y="2328"/>
                    </a:lnTo>
                    <a:lnTo>
                      <a:pt x="580" y="2328"/>
                    </a:lnTo>
                    <a:lnTo>
                      <a:pt x="580" y="2328"/>
                    </a:lnTo>
                    <a:lnTo>
                      <a:pt x="583" y="2331"/>
                    </a:lnTo>
                    <a:lnTo>
                      <a:pt x="586" y="2334"/>
                    </a:lnTo>
                    <a:lnTo>
                      <a:pt x="588" y="2334"/>
                    </a:lnTo>
                    <a:lnTo>
                      <a:pt x="591" y="2335"/>
                    </a:lnTo>
                    <a:lnTo>
                      <a:pt x="592" y="2335"/>
                    </a:lnTo>
                    <a:lnTo>
                      <a:pt x="591" y="2336"/>
                    </a:lnTo>
                    <a:lnTo>
                      <a:pt x="592" y="2339"/>
                    </a:lnTo>
                    <a:lnTo>
                      <a:pt x="592" y="2340"/>
                    </a:lnTo>
                    <a:lnTo>
                      <a:pt x="592" y="2346"/>
                    </a:lnTo>
                    <a:lnTo>
                      <a:pt x="609" y="2346"/>
                    </a:lnTo>
                    <a:lnTo>
                      <a:pt x="613" y="2350"/>
                    </a:lnTo>
                    <a:lnTo>
                      <a:pt x="614" y="2349"/>
                    </a:lnTo>
                    <a:lnTo>
                      <a:pt x="614" y="2349"/>
                    </a:lnTo>
                    <a:lnTo>
                      <a:pt x="617" y="2351"/>
                    </a:lnTo>
                    <a:lnTo>
                      <a:pt x="620" y="2354"/>
                    </a:lnTo>
                    <a:lnTo>
                      <a:pt x="620" y="2354"/>
                    </a:lnTo>
                    <a:lnTo>
                      <a:pt x="624" y="2351"/>
                    </a:lnTo>
                    <a:lnTo>
                      <a:pt x="626" y="2347"/>
                    </a:lnTo>
                    <a:lnTo>
                      <a:pt x="626" y="2351"/>
                    </a:lnTo>
                    <a:lnTo>
                      <a:pt x="628" y="2353"/>
                    </a:lnTo>
                    <a:lnTo>
                      <a:pt x="628" y="2355"/>
                    </a:lnTo>
                    <a:lnTo>
                      <a:pt x="625" y="2358"/>
                    </a:lnTo>
                    <a:lnTo>
                      <a:pt x="626" y="2359"/>
                    </a:lnTo>
                    <a:lnTo>
                      <a:pt x="628" y="2359"/>
                    </a:lnTo>
                    <a:lnTo>
                      <a:pt x="629" y="2361"/>
                    </a:lnTo>
                    <a:lnTo>
                      <a:pt x="629" y="2358"/>
                    </a:lnTo>
                    <a:lnTo>
                      <a:pt x="630" y="2357"/>
                    </a:lnTo>
                    <a:lnTo>
                      <a:pt x="632" y="2358"/>
                    </a:lnTo>
                    <a:lnTo>
                      <a:pt x="635" y="2359"/>
                    </a:lnTo>
                    <a:lnTo>
                      <a:pt x="636" y="2358"/>
                    </a:lnTo>
                    <a:lnTo>
                      <a:pt x="640" y="2359"/>
                    </a:lnTo>
                    <a:lnTo>
                      <a:pt x="640" y="2361"/>
                    </a:lnTo>
                    <a:lnTo>
                      <a:pt x="641" y="2361"/>
                    </a:lnTo>
                    <a:lnTo>
                      <a:pt x="644" y="2359"/>
                    </a:lnTo>
                    <a:lnTo>
                      <a:pt x="644" y="2357"/>
                    </a:lnTo>
                    <a:lnTo>
                      <a:pt x="645" y="2357"/>
                    </a:lnTo>
                    <a:lnTo>
                      <a:pt x="648" y="2355"/>
                    </a:lnTo>
                    <a:lnTo>
                      <a:pt x="645" y="2347"/>
                    </a:lnTo>
                    <a:lnTo>
                      <a:pt x="647" y="2343"/>
                    </a:lnTo>
                    <a:lnTo>
                      <a:pt x="649" y="2342"/>
                    </a:lnTo>
                    <a:lnTo>
                      <a:pt x="649" y="2340"/>
                    </a:lnTo>
                    <a:lnTo>
                      <a:pt x="655" y="2336"/>
                    </a:lnTo>
                    <a:lnTo>
                      <a:pt x="649" y="2335"/>
                    </a:lnTo>
                    <a:lnTo>
                      <a:pt x="651" y="2335"/>
                    </a:lnTo>
                    <a:lnTo>
                      <a:pt x="652" y="2334"/>
                    </a:lnTo>
                    <a:lnTo>
                      <a:pt x="648" y="2334"/>
                    </a:lnTo>
                    <a:lnTo>
                      <a:pt x="647" y="2330"/>
                    </a:lnTo>
                    <a:lnTo>
                      <a:pt x="649" y="2330"/>
                    </a:lnTo>
                    <a:lnTo>
                      <a:pt x="649" y="2328"/>
                    </a:lnTo>
                    <a:lnTo>
                      <a:pt x="652" y="2320"/>
                    </a:lnTo>
                    <a:lnTo>
                      <a:pt x="652" y="2320"/>
                    </a:lnTo>
                    <a:lnTo>
                      <a:pt x="649" y="2320"/>
                    </a:lnTo>
                    <a:lnTo>
                      <a:pt x="645" y="2321"/>
                    </a:lnTo>
                    <a:lnTo>
                      <a:pt x="641" y="2320"/>
                    </a:lnTo>
                    <a:lnTo>
                      <a:pt x="641" y="2320"/>
                    </a:lnTo>
                    <a:lnTo>
                      <a:pt x="640" y="2320"/>
                    </a:lnTo>
                    <a:lnTo>
                      <a:pt x="637" y="2320"/>
                    </a:lnTo>
                    <a:lnTo>
                      <a:pt x="635" y="2319"/>
                    </a:lnTo>
                    <a:lnTo>
                      <a:pt x="630" y="2316"/>
                    </a:lnTo>
                    <a:lnTo>
                      <a:pt x="626" y="2315"/>
                    </a:lnTo>
                    <a:lnTo>
                      <a:pt x="624" y="2316"/>
                    </a:lnTo>
                    <a:lnTo>
                      <a:pt x="625" y="2313"/>
                    </a:lnTo>
                    <a:lnTo>
                      <a:pt x="637" y="2313"/>
                    </a:lnTo>
                    <a:lnTo>
                      <a:pt x="637" y="2313"/>
                    </a:lnTo>
                    <a:lnTo>
                      <a:pt x="640" y="2316"/>
                    </a:lnTo>
                    <a:lnTo>
                      <a:pt x="643" y="2319"/>
                    </a:lnTo>
                    <a:lnTo>
                      <a:pt x="644" y="2317"/>
                    </a:lnTo>
                    <a:lnTo>
                      <a:pt x="644" y="2316"/>
                    </a:lnTo>
                    <a:lnTo>
                      <a:pt x="648" y="2313"/>
                    </a:lnTo>
                    <a:lnTo>
                      <a:pt x="649" y="2315"/>
                    </a:lnTo>
                    <a:lnTo>
                      <a:pt x="649" y="2315"/>
                    </a:lnTo>
                    <a:lnTo>
                      <a:pt x="651" y="2315"/>
                    </a:lnTo>
                    <a:lnTo>
                      <a:pt x="654" y="2315"/>
                    </a:lnTo>
                    <a:lnTo>
                      <a:pt x="656" y="2311"/>
                    </a:lnTo>
                    <a:lnTo>
                      <a:pt x="655" y="2309"/>
                    </a:lnTo>
                    <a:lnTo>
                      <a:pt x="655" y="2306"/>
                    </a:lnTo>
                    <a:lnTo>
                      <a:pt x="655" y="2304"/>
                    </a:lnTo>
                    <a:lnTo>
                      <a:pt x="656" y="2302"/>
                    </a:lnTo>
                    <a:lnTo>
                      <a:pt x="656" y="2302"/>
                    </a:lnTo>
                    <a:lnTo>
                      <a:pt x="656" y="2306"/>
                    </a:lnTo>
                    <a:lnTo>
                      <a:pt x="658" y="2308"/>
                    </a:lnTo>
                    <a:lnTo>
                      <a:pt x="658" y="2313"/>
                    </a:lnTo>
                    <a:lnTo>
                      <a:pt x="658" y="2313"/>
                    </a:lnTo>
                    <a:lnTo>
                      <a:pt x="659" y="2316"/>
                    </a:lnTo>
                    <a:lnTo>
                      <a:pt x="660" y="2319"/>
                    </a:lnTo>
                    <a:lnTo>
                      <a:pt x="663" y="2321"/>
                    </a:lnTo>
                    <a:lnTo>
                      <a:pt x="664" y="2320"/>
                    </a:lnTo>
                    <a:lnTo>
                      <a:pt x="666" y="2320"/>
                    </a:lnTo>
                    <a:lnTo>
                      <a:pt x="668" y="2319"/>
                    </a:lnTo>
                    <a:lnTo>
                      <a:pt x="668" y="2319"/>
                    </a:lnTo>
                    <a:lnTo>
                      <a:pt x="673" y="2320"/>
                    </a:lnTo>
                    <a:lnTo>
                      <a:pt x="677" y="2320"/>
                    </a:lnTo>
                    <a:lnTo>
                      <a:pt x="677" y="2320"/>
                    </a:lnTo>
                    <a:lnTo>
                      <a:pt x="679" y="2317"/>
                    </a:lnTo>
                    <a:lnTo>
                      <a:pt x="682" y="2317"/>
                    </a:lnTo>
                    <a:lnTo>
                      <a:pt x="689" y="2315"/>
                    </a:lnTo>
                    <a:lnTo>
                      <a:pt x="689" y="2315"/>
                    </a:lnTo>
                    <a:lnTo>
                      <a:pt x="693" y="2317"/>
                    </a:lnTo>
                    <a:lnTo>
                      <a:pt x="697" y="2319"/>
                    </a:lnTo>
                    <a:lnTo>
                      <a:pt x="697" y="2321"/>
                    </a:lnTo>
                    <a:lnTo>
                      <a:pt x="698" y="2323"/>
                    </a:lnTo>
                    <a:lnTo>
                      <a:pt x="697" y="2327"/>
                    </a:lnTo>
                    <a:lnTo>
                      <a:pt x="702" y="2328"/>
                    </a:lnTo>
                    <a:lnTo>
                      <a:pt x="702" y="2330"/>
                    </a:lnTo>
                    <a:lnTo>
                      <a:pt x="704" y="2332"/>
                    </a:lnTo>
                    <a:lnTo>
                      <a:pt x="704" y="2336"/>
                    </a:lnTo>
                    <a:lnTo>
                      <a:pt x="706" y="2339"/>
                    </a:lnTo>
                    <a:lnTo>
                      <a:pt x="708" y="2339"/>
                    </a:lnTo>
                    <a:lnTo>
                      <a:pt x="709" y="2336"/>
                    </a:lnTo>
                    <a:lnTo>
                      <a:pt x="708" y="2334"/>
                    </a:lnTo>
                    <a:lnTo>
                      <a:pt x="705" y="2334"/>
                    </a:lnTo>
                    <a:lnTo>
                      <a:pt x="704" y="2331"/>
                    </a:lnTo>
                    <a:lnTo>
                      <a:pt x="705" y="2328"/>
                    </a:lnTo>
                    <a:lnTo>
                      <a:pt x="709" y="2325"/>
                    </a:lnTo>
                    <a:lnTo>
                      <a:pt x="705" y="2323"/>
                    </a:lnTo>
                    <a:lnTo>
                      <a:pt x="705" y="2321"/>
                    </a:lnTo>
                    <a:lnTo>
                      <a:pt x="704" y="2320"/>
                    </a:lnTo>
                    <a:lnTo>
                      <a:pt x="704" y="2317"/>
                    </a:lnTo>
                    <a:lnTo>
                      <a:pt x="701" y="2316"/>
                    </a:lnTo>
                    <a:lnTo>
                      <a:pt x="701" y="2316"/>
                    </a:lnTo>
                    <a:lnTo>
                      <a:pt x="701" y="2313"/>
                    </a:lnTo>
                    <a:lnTo>
                      <a:pt x="704" y="2311"/>
                    </a:lnTo>
                    <a:lnTo>
                      <a:pt x="708" y="2306"/>
                    </a:lnTo>
                    <a:lnTo>
                      <a:pt x="708" y="2304"/>
                    </a:lnTo>
                    <a:lnTo>
                      <a:pt x="709" y="2301"/>
                    </a:lnTo>
                    <a:lnTo>
                      <a:pt x="709" y="2297"/>
                    </a:lnTo>
                    <a:lnTo>
                      <a:pt x="712" y="2293"/>
                    </a:lnTo>
                    <a:lnTo>
                      <a:pt x="712" y="2293"/>
                    </a:lnTo>
                    <a:lnTo>
                      <a:pt x="712" y="2290"/>
                    </a:lnTo>
                    <a:lnTo>
                      <a:pt x="711" y="2289"/>
                    </a:lnTo>
                    <a:lnTo>
                      <a:pt x="713" y="2290"/>
                    </a:lnTo>
                    <a:lnTo>
                      <a:pt x="713" y="2292"/>
                    </a:lnTo>
                    <a:lnTo>
                      <a:pt x="716" y="2293"/>
                    </a:lnTo>
                    <a:lnTo>
                      <a:pt x="716" y="2292"/>
                    </a:lnTo>
                    <a:lnTo>
                      <a:pt x="719" y="2290"/>
                    </a:lnTo>
                    <a:lnTo>
                      <a:pt x="719" y="2289"/>
                    </a:lnTo>
                    <a:lnTo>
                      <a:pt x="716" y="2287"/>
                    </a:lnTo>
                    <a:lnTo>
                      <a:pt x="715" y="2283"/>
                    </a:lnTo>
                    <a:lnTo>
                      <a:pt x="717" y="2281"/>
                    </a:lnTo>
                    <a:lnTo>
                      <a:pt x="715" y="2281"/>
                    </a:lnTo>
                    <a:lnTo>
                      <a:pt x="715" y="2281"/>
                    </a:lnTo>
                    <a:lnTo>
                      <a:pt x="715" y="2282"/>
                    </a:lnTo>
                    <a:lnTo>
                      <a:pt x="712" y="2283"/>
                    </a:lnTo>
                    <a:lnTo>
                      <a:pt x="708" y="2286"/>
                    </a:lnTo>
                    <a:lnTo>
                      <a:pt x="705" y="2286"/>
                    </a:lnTo>
                    <a:lnTo>
                      <a:pt x="705" y="2283"/>
                    </a:lnTo>
                    <a:lnTo>
                      <a:pt x="705" y="2283"/>
                    </a:lnTo>
                    <a:lnTo>
                      <a:pt x="702" y="2282"/>
                    </a:lnTo>
                    <a:lnTo>
                      <a:pt x="701" y="2281"/>
                    </a:lnTo>
                    <a:lnTo>
                      <a:pt x="701" y="2281"/>
                    </a:lnTo>
                    <a:lnTo>
                      <a:pt x="698" y="2283"/>
                    </a:lnTo>
                    <a:lnTo>
                      <a:pt x="694" y="2285"/>
                    </a:lnTo>
                    <a:lnTo>
                      <a:pt x="692" y="2283"/>
                    </a:lnTo>
                    <a:lnTo>
                      <a:pt x="690" y="2285"/>
                    </a:lnTo>
                    <a:lnTo>
                      <a:pt x="687" y="2283"/>
                    </a:lnTo>
                    <a:lnTo>
                      <a:pt x="685" y="2283"/>
                    </a:lnTo>
                    <a:lnTo>
                      <a:pt x="683" y="2282"/>
                    </a:lnTo>
                    <a:lnTo>
                      <a:pt x="682" y="2277"/>
                    </a:lnTo>
                    <a:lnTo>
                      <a:pt x="678" y="2277"/>
                    </a:lnTo>
                    <a:lnTo>
                      <a:pt x="677" y="2274"/>
                    </a:lnTo>
                    <a:lnTo>
                      <a:pt x="681" y="2275"/>
                    </a:lnTo>
                    <a:lnTo>
                      <a:pt x="681" y="2275"/>
                    </a:lnTo>
                    <a:lnTo>
                      <a:pt x="678" y="2270"/>
                    </a:lnTo>
                    <a:lnTo>
                      <a:pt x="677" y="2267"/>
                    </a:lnTo>
                    <a:lnTo>
                      <a:pt x="677" y="2264"/>
                    </a:lnTo>
                    <a:lnTo>
                      <a:pt x="673" y="2264"/>
                    </a:lnTo>
                    <a:lnTo>
                      <a:pt x="673" y="2264"/>
                    </a:lnTo>
                    <a:lnTo>
                      <a:pt x="671" y="2260"/>
                    </a:lnTo>
                    <a:lnTo>
                      <a:pt x="670" y="2258"/>
                    </a:lnTo>
                    <a:lnTo>
                      <a:pt x="673" y="2255"/>
                    </a:lnTo>
                    <a:lnTo>
                      <a:pt x="673" y="2256"/>
                    </a:lnTo>
                    <a:lnTo>
                      <a:pt x="671" y="2256"/>
                    </a:lnTo>
                    <a:lnTo>
                      <a:pt x="671" y="2259"/>
                    </a:lnTo>
                    <a:lnTo>
                      <a:pt x="677" y="2263"/>
                    </a:lnTo>
                    <a:lnTo>
                      <a:pt x="679" y="2269"/>
                    </a:lnTo>
                    <a:lnTo>
                      <a:pt x="682" y="2270"/>
                    </a:lnTo>
                    <a:lnTo>
                      <a:pt x="681" y="2271"/>
                    </a:lnTo>
                    <a:lnTo>
                      <a:pt x="685" y="2281"/>
                    </a:lnTo>
                    <a:lnTo>
                      <a:pt x="689" y="2282"/>
                    </a:lnTo>
                    <a:lnTo>
                      <a:pt x="692" y="2282"/>
                    </a:lnTo>
                    <a:lnTo>
                      <a:pt x="693" y="2282"/>
                    </a:lnTo>
                    <a:lnTo>
                      <a:pt x="701" y="2278"/>
                    </a:lnTo>
                    <a:lnTo>
                      <a:pt x="702" y="2281"/>
                    </a:lnTo>
                    <a:lnTo>
                      <a:pt x="706" y="2281"/>
                    </a:lnTo>
                    <a:lnTo>
                      <a:pt x="708" y="2283"/>
                    </a:lnTo>
                    <a:lnTo>
                      <a:pt x="709" y="2283"/>
                    </a:lnTo>
                    <a:lnTo>
                      <a:pt x="713" y="2281"/>
                    </a:lnTo>
                    <a:lnTo>
                      <a:pt x="712" y="2277"/>
                    </a:lnTo>
                    <a:lnTo>
                      <a:pt x="717" y="2278"/>
                    </a:lnTo>
                    <a:lnTo>
                      <a:pt x="719" y="2279"/>
                    </a:lnTo>
                    <a:lnTo>
                      <a:pt x="719" y="2279"/>
                    </a:lnTo>
                    <a:lnTo>
                      <a:pt x="719" y="2282"/>
                    </a:lnTo>
                    <a:lnTo>
                      <a:pt x="720" y="2285"/>
                    </a:lnTo>
                    <a:lnTo>
                      <a:pt x="721" y="2287"/>
                    </a:lnTo>
                    <a:lnTo>
                      <a:pt x="723" y="2292"/>
                    </a:lnTo>
                    <a:lnTo>
                      <a:pt x="720" y="2293"/>
                    </a:lnTo>
                    <a:lnTo>
                      <a:pt x="721" y="2297"/>
                    </a:lnTo>
                    <a:lnTo>
                      <a:pt x="725" y="2294"/>
                    </a:lnTo>
                    <a:lnTo>
                      <a:pt x="727" y="2297"/>
                    </a:lnTo>
                    <a:lnTo>
                      <a:pt x="727" y="2297"/>
                    </a:lnTo>
                    <a:lnTo>
                      <a:pt x="728" y="2294"/>
                    </a:lnTo>
                    <a:lnTo>
                      <a:pt x="731" y="2293"/>
                    </a:lnTo>
                    <a:lnTo>
                      <a:pt x="735" y="2292"/>
                    </a:lnTo>
                    <a:lnTo>
                      <a:pt x="735" y="2292"/>
                    </a:lnTo>
                    <a:lnTo>
                      <a:pt x="735" y="2287"/>
                    </a:lnTo>
                    <a:lnTo>
                      <a:pt x="738" y="2285"/>
                    </a:lnTo>
                    <a:lnTo>
                      <a:pt x="738" y="2285"/>
                    </a:lnTo>
                    <a:lnTo>
                      <a:pt x="734" y="2282"/>
                    </a:lnTo>
                    <a:lnTo>
                      <a:pt x="732" y="2279"/>
                    </a:lnTo>
                    <a:lnTo>
                      <a:pt x="731" y="2277"/>
                    </a:lnTo>
                    <a:lnTo>
                      <a:pt x="728" y="2274"/>
                    </a:lnTo>
                    <a:lnTo>
                      <a:pt x="727" y="2274"/>
                    </a:lnTo>
                    <a:lnTo>
                      <a:pt x="723" y="2273"/>
                    </a:lnTo>
                    <a:lnTo>
                      <a:pt x="723" y="2271"/>
                    </a:lnTo>
                    <a:lnTo>
                      <a:pt x="724" y="2271"/>
                    </a:lnTo>
                    <a:lnTo>
                      <a:pt x="724" y="2273"/>
                    </a:lnTo>
                    <a:lnTo>
                      <a:pt x="724" y="2273"/>
                    </a:lnTo>
                    <a:lnTo>
                      <a:pt x="729" y="2273"/>
                    </a:lnTo>
                    <a:lnTo>
                      <a:pt x="734" y="2275"/>
                    </a:lnTo>
                    <a:lnTo>
                      <a:pt x="734" y="2275"/>
                    </a:lnTo>
                    <a:lnTo>
                      <a:pt x="734" y="2278"/>
                    </a:lnTo>
                    <a:lnTo>
                      <a:pt x="735" y="2281"/>
                    </a:lnTo>
                    <a:lnTo>
                      <a:pt x="736" y="2282"/>
                    </a:lnTo>
                    <a:lnTo>
                      <a:pt x="738" y="2281"/>
                    </a:lnTo>
                    <a:lnTo>
                      <a:pt x="738" y="2279"/>
                    </a:lnTo>
                    <a:lnTo>
                      <a:pt x="739" y="2278"/>
                    </a:lnTo>
                    <a:lnTo>
                      <a:pt x="739" y="2278"/>
                    </a:lnTo>
                    <a:lnTo>
                      <a:pt x="739" y="2277"/>
                    </a:lnTo>
                    <a:lnTo>
                      <a:pt x="740" y="2274"/>
                    </a:lnTo>
                    <a:lnTo>
                      <a:pt x="742" y="2279"/>
                    </a:lnTo>
                    <a:lnTo>
                      <a:pt x="740" y="2281"/>
                    </a:lnTo>
                    <a:lnTo>
                      <a:pt x="739" y="2289"/>
                    </a:lnTo>
                    <a:lnTo>
                      <a:pt x="742" y="2289"/>
                    </a:lnTo>
                    <a:lnTo>
                      <a:pt x="743" y="2289"/>
                    </a:lnTo>
                    <a:lnTo>
                      <a:pt x="744" y="2287"/>
                    </a:lnTo>
                    <a:lnTo>
                      <a:pt x="747" y="2285"/>
                    </a:lnTo>
                    <a:lnTo>
                      <a:pt x="746" y="2283"/>
                    </a:lnTo>
                    <a:lnTo>
                      <a:pt x="746" y="2281"/>
                    </a:lnTo>
                    <a:lnTo>
                      <a:pt x="746" y="2281"/>
                    </a:lnTo>
                    <a:lnTo>
                      <a:pt x="748" y="2278"/>
                    </a:lnTo>
                    <a:lnTo>
                      <a:pt x="753" y="2278"/>
                    </a:lnTo>
                    <a:lnTo>
                      <a:pt x="757" y="2279"/>
                    </a:lnTo>
                    <a:lnTo>
                      <a:pt x="758" y="2279"/>
                    </a:lnTo>
                    <a:lnTo>
                      <a:pt x="761" y="2273"/>
                    </a:lnTo>
                    <a:lnTo>
                      <a:pt x="761" y="2273"/>
                    </a:lnTo>
                    <a:lnTo>
                      <a:pt x="765" y="2271"/>
                    </a:lnTo>
                    <a:lnTo>
                      <a:pt x="770" y="2271"/>
                    </a:lnTo>
                    <a:lnTo>
                      <a:pt x="772" y="2273"/>
                    </a:lnTo>
                    <a:lnTo>
                      <a:pt x="773" y="2271"/>
                    </a:lnTo>
                    <a:lnTo>
                      <a:pt x="776" y="2271"/>
                    </a:lnTo>
                    <a:lnTo>
                      <a:pt x="777" y="2270"/>
                    </a:lnTo>
                    <a:lnTo>
                      <a:pt x="777" y="2270"/>
                    </a:lnTo>
                    <a:lnTo>
                      <a:pt x="778" y="2267"/>
                    </a:lnTo>
                    <a:lnTo>
                      <a:pt x="778" y="2263"/>
                    </a:lnTo>
                    <a:lnTo>
                      <a:pt x="781" y="2259"/>
                    </a:lnTo>
                    <a:lnTo>
                      <a:pt x="781" y="2259"/>
                    </a:lnTo>
                    <a:lnTo>
                      <a:pt x="784" y="2260"/>
                    </a:lnTo>
                    <a:lnTo>
                      <a:pt x="786" y="2262"/>
                    </a:lnTo>
                    <a:lnTo>
                      <a:pt x="788" y="2262"/>
                    </a:lnTo>
                    <a:lnTo>
                      <a:pt x="788" y="2255"/>
                    </a:lnTo>
                    <a:lnTo>
                      <a:pt x="791" y="2254"/>
                    </a:lnTo>
                    <a:lnTo>
                      <a:pt x="789" y="2251"/>
                    </a:lnTo>
                    <a:lnTo>
                      <a:pt x="792" y="2245"/>
                    </a:lnTo>
                    <a:lnTo>
                      <a:pt x="791" y="2241"/>
                    </a:lnTo>
                    <a:lnTo>
                      <a:pt x="792" y="2239"/>
                    </a:lnTo>
                    <a:lnTo>
                      <a:pt x="788" y="2236"/>
                    </a:lnTo>
                    <a:lnTo>
                      <a:pt x="778" y="2243"/>
                    </a:lnTo>
                    <a:lnTo>
                      <a:pt x="774" y="2240"/>
                    </a:lnTo>
                    <a:lnTo>
                      <a:pt x="774" y="2240"/>
                    </a:lnTo>
                    <a:lnTo>
                      <a:pt x="778" y="2240"/>
                    </a:lnTo>
                    <a:lnTo>
                      <a:pt x="782" y="2239"/>
                    </a:lnTo>
                    <a:lnTo>
                      <a:pt x="782" y="2239"/>
                    </a:lnTo>
                    <a:lnTo>
                      <a:pt x="784" y="2237"/>
                    </a:lnTo>
                    <a:lnTo>
                      <a:pt x="788" y="2235"/>
                    </a:lnTo>
                    <a:lnTo>
                      <a:pt x="793" y="2232"/>
                    </a:lnTo>
                    <a:lnTo>
                      <a:pt x="793" y="2229"/>
                    </a:lnTo>
                    <a:lnTo>
                      <a:pt x="799" y="2226"/>
                    </a:lnTo>
                    <a:lnTo>
                      <a:pt x="799" y="2222"/>
                    </a:lnTo>
                    <a:lnTo>
                      <a:pt x="801" y="2221"/>
                    </a:lnTo>
                    <a:lnTo>
                      <a:pt x="799" y="2216"/>
                    </a:lnTo>
                    <a:lnTo>
                      <a:pt x="800" y="2213"/>
                    </a:lnTo>
                    <a:lnTo>
                      <a:pt x="796" y="2213"/>
                    </a:lnTo>
                    <a:lnTo>
                      <a:pt x="795" y="2214"/>
                    </a:lnTo>
                    <a:lnTo>
                      <a:pt x="793" y="2217"/>
                    </a:lnTo>
                    <a:lnTo>
                      <a:pt x="792" y="2216"/>
                    </a:lnTo>
                    <a:lnTo>
                      <a:pt x="784" y="2216"/>
                    </a:lnTo>
                    <a:lnTo>
                      <a:pt x="781" y="2218"/>
                    </a:lnTo>
                    <a:lnTo>
                      <a:pt x="781" y="2218"/>
                    </a:lnTo>
                    <a:lnTo>
                      <a:pt x="776" y="2214"/>
                    </a:lnTo>
                    <a:lnTo>
                      <a:pt x="770" y="2213"/>
                    </a:lnTo>
                    <a:lnTo>
                      <a:pt x="763" y="2212"/>
                    </a:lnTo>
                    <a:lnTo>
                      <a:pt x="759" y="2210"/>
                    </a:lnTo>
                    <a:lnTo>
                      <a:pt x="761" y="2210"/>
                    </a:lnTo>
                    <a:lnTo>
                      <a:pt x="765" y="2210"/>
                    </a:lnTo>
                    <a:lnTo>
                      <a:pt x="769" y="2207"/>
                    </a:lnTo>
                    <a:lnTo>
                      <a:pt x="770" y="2207"/>
                    </a:lnTo>
                    <a:lnTo>
                      <a:pt x="772" y="2210"/>
                    </a:lnTo>
                    <a:lnTo>
                      <a:pt x="776" y="2210"/>
                    </a:lnTo>
                    <a:lnTo>
                      <a:pt x="776" y="2214"/>
                    </a:lnTo>
                    <a:lnTo>
                      <a:pt x="776" y="2214"/>
                    </a:lnTo>
                    <a:lnTo>
                      <a:pt x="778" y="2214"/>
                    </a:lnTo>
                    <a:lnTo>
                      <a:pt x="781" y="2217"/>
                    </a:lnTo>
                    <a:lnTo>
                      <a:pt x="782" y="2214"/>
                    </a:lnTo>
                    <a:lnTo>
                      <a:pt x="793" y="2214"/>
                    </a:lnTo>
                    <a:lnTo>
                      <a:pt x="793" y="2212"/>
                    </a:lnTo>
                    <a:lnTo>
                      <a:pt x="786" y="2210"/>
                    </a:lnTo>
                    <a:lnTo>
                      <a:pt x="786" y="2207"/>
                    </a:lnTo>
                    <a:lnTo>
                      <a:pt x="784" y="2207"/>
                    </a:lnTo>
                    <a:lnTo>
                      <a:pt x="781" y="2205"/>
                    </a:lnTo>
                    <a:lnTo>
                      <a:pt x="784" y="2206"/>
                    </a:lnTo>
                    <a:lnTo>
                      <a:pt x="788" y="2205"/>
                    </a:lnTo>
                    <a:lnTo>
                      <a:pt x="791" y="2206"/>
                    </a:lnTo>
                    <a:lnTo>
                      <a:pt x="789" y="2205"/>
                    </a:lnTo>
                    <a:lnTo>
                      <a:pt x="792" y="2202"/>
                    </a:lnTo>
                    <a:lnTo>
                      <a:pt x="791" y="2198"/>
                    </a:lnTo>
                    <a:lnTo>
                      <a:pt x="789" y="2199"/>
                    </a:lnTo>
                    <a:lnTo>
                      <a:pt x="789" y="2199"/>
                    </a:lnTo>
                    <a:lnTo>
                      <a:pt x="785" y="2199"/>
                    </a:lnTo>
                    <a:lnTo>
                      <a:pt x="781" y="2199"/>
                    </a:lnTo>
                    <a:lnTo>
                      <a:pt x="780" y="2197"/>
                    </a:lnTo>
                    <a:lnTo>
                      <a:pt x="774" y="2195"/>
                    </a:lnTo>
                    <a:lnTo>
                      <a:pt x="774" y="2195"/>
                    </a:lnTo>
                    <a:lnTo>
                      <a:pt x="777" y="2194"/>
                    </a:lnTo>
                    <a:lnTo>
                      <a:pt x="780" y="2191"/>
                    </a:lnTo>
                    <a:lnTo>
                      <a:pt x="780" y="2176"/>
                    </a:lnTo>
                    <a:lnTo>
                      <a:pt x="780" y="2176"/>
                    </a:lnTo>
                    <a:lnTo>
                      <a:pt x="777" y="2172"/>
                    </a:lnTo>
                    <a:lnTo>
                      <a:pt x="774" y="2169"/>
                    </a:lnTo>
                    <a:lnTo>
                      <a:pt x="763" y="2171"/>
                    </a:lnTo>
                    <a:lnTo>
                      <a:pt x="762" y="2168"/>
                    </a:lnTo>
                    <a:lnTo>
                      <a:pt x="762" y="2171"/>
                    </a:lnTo>
                    <a:lnTo>
                      <a:pt x="762" y="2171"/>
                    </a:lnTo>
                    <a:lnTo>
                      <a:pt x="758" y="2171"/>
                    </a:lnTo>
                    <a:lnTo>
                      <a:pt x="754" y="2171"/>
                    </a:lnTo>
                    <a:lnTo>
                      <a:pt x="746" y="2169"/>
                    </a:lnTo>
                    <a:lnTo>
                      <a:pt x="743" y="2169"/>
                    </a:lnTo>
                    <a:lnTo>
                      <a:pt x="743" y="2168"/>
                    </a:lnTo>
                    <a:lnTo>
                      <a:pt x="746" y="2167"/>
                    </a:lnTo>
                    <a:lnTo>
                      <a:pt x="751" y="2169"/>
                    </a:lnTo>
                    <a:lnTo>
                      <a:pt x="754" y="2168"/>
                    </a:lnTo>
                    <a:lnTo>
                      <a:pt x="758" y="2169"/>
                    </a:lnTo>
                    <a:lnTo>
                      <a:pt x="758" y="2169"/>
                    </a:lnTo>
                    <a:lnTo>
                      <a:pt x="759" y="2167"/>
                    </a:lnTo>
                    <a:lnTo>
                      <a:pt x="759" y="2163"/>
                    </a:lnTo>
                    <a:lnTo>
                      <a:pt x="758" y="2161"/>
                    </a:lnTo>
                    <a:lnTo>
                      <a:pt x="755" y="2157"/>
                    </a:lnTo>
                    <a:lnTo>
                      <a:pt x="755" y="2157"/>
                    </a:lnTo>
                    <a:lnTo>
                      <a:pt x="748" y="2157"/>
                    </a:lnTo>
                    <a:lnTo>
                      <a:pt x="743" y="2156"/>
                    </a:lnTo>
                    <a:lnTo>
                      <a:pt x="744" y="2155"/>
                    </a:lnTo>
                    <a:lnTo>
                      <a:pt x="750" y="2157"/>
                    </a:lnTo>
                    <a:lnTo>
                      <a:pt x="757" y="2155"/>
                    </a:lnTo>
                    <a:lnTo>
                      <a:pt x="757" y="2155"/>
                    </a:lnTo>
                    <a:lnTo>
                      <a:pt x="762" y="2160"/>
                    </a:lnTo>
                    <a:lnTo>
                      <a:pt x="769" y="2163"/>
                    </a:lnTo>
                    <a:lnTo>
                      <a:pt x="770" y="2161"/>
                    </a:lnTo>
                    <a:lnTo>
                      <a:pt x="772" y="2163"/>
                    </a:lnTo>
                    <a:lnTo>
                      <a:pt x="777" y="2163"/>
                    </a:lnTo>
                    <a:lnTo>
                      <a:pt x="776" y="2164"/>
                    </a:lnTo>
                    <a:lnTo>
                      <a:pt x="777" y="2165"/>
                    </a:lnTo>
                    <a:lnTo>
                      <a:pt x="778" y="2167"/>
                    </a:lnTo>
                    <a:lnTo>
                      <a:pt x="778" y="2167"/>
                    </a:lnTo>
                    <a:lnTo>
                      <a:pt x="781" y="2161"/>
                    </a:lnTo>
                    <a:lnTo>
                      <a:pt x="784" y="2155"/>
                    </a:lnTo>
                    <a:lnTo>
                      <a:pt x="784" y="2153"/>
                    </a:lnTo>
                    <a:lnTo>
                      <a:pt x="784" y="2153"/>
                    </a:lnTo>
                    <a:lnTo>
                      <a:pt x="780" y="2153"/>
                    </a:lnTo>
                    <a:lnTo>
                      <a:pt x="776" y="2152"/>
                    </a:lnTo>
                    <a:lnTo>
                      <a:pt x="776" y="2152"/>
                    </a:lnTo>
                    <a:lnTo>
                      <a:pt x="780" y="2150"/>
                    </a:lnTo>
                    <a:lnTo>
                      <a:pt x="784" y="2152"/>
                    </a:lnTo>
                    <a:lnTo>
                      <a:pt x="785" y="2153"/>
                    </a:lnTo>
                    <a:lnTo>
                      <a:pt x="785" y="2156"/>
                    </a:lnTo>
                    <a:lnTo>
                      <a:pt x="786" y="2156"/>
                    </a:lnTo>
                    <a:lnTo>
                      <a:pt x="788" y="2152"/>
                    </a:lnTo>
                    <a:lnTo>
                      <a:pt x="789" y="2152"/>
                    </a:lnTo>
                    <a:lnTo>
                      <a:pt x="789" y="2152"/>
                    </a:lnTo>
                    <a:lnTo>
                      <a:pt x="796" y="2153"/>
                    </a:lnTo>
                    <a:lnTo>
                      <a:pt x="797" y="2156"/>
                    </a:lnTo>
                    <a:lnTo>
                      <a:pt x="796" y="2156"/>
                    </a:lnTo>
                    <a:lnTo>
                      <a:pt x="793" y="2155"/>
                    </a:lnTo>
                    <a:lnTo>
                      <a:pt x="791" y="2155"/>
                    </a:lnTo>
                    <a:lnTo>
                      <a:pt x="791" y="2155"/>
                    </a:lnTo>
                    <a:lnTo>
                      <a:pt x="788" y="2157"/>
                    </a:lnTo>
                    <a:lnTo>
                      <a:pt x="782" y="2160"/>
                    </a:lnTo>
                    <a:lnTo>
                      <a:pt x="789" y="2164"/>
                    </a:lnTo>
                    <a:lnTo>
                      <a:pt x="792" y="2163"/>
                    </a:lnTo>
                    <a:lnTo>
                      <a:pt x="793" y="2164"/>
                    </a:lnTo>
                    <a:lnTo>
                      <a:pt x="799" y="2161"/>
                    </a:lnTo>
                    <a:lnTo>
                      <a:pt x="800" y="2161"/>
                    </a:lnTo>
                    <a:lnTo>
                      <a:pt x="800" y="2164"/>
                    </a:lnTo>
                    <a:lnTo>
                      <a:pt x="801" y="2164"/>
                    </a:lnTo>
                    <a:lnTo>
                      <a:pt x="801" y="2161"/>
                    </a:lnTo>
                    <a:lnTo>
                      <a:pt x="803" y="2161"/>
                    </a:lnTo>
                    <a:lnTo>
                      <a:pt x="804" y="2163"/>
                    </a:lnTo>
                    <a:lnTo>
                      <a:pt x="807" y="2164"/>
                    </a:lnTo>
                    <a:lnTo>
                      <a:pt x="807" y="2165"/>
                    </a:lnTo>
                    <a:lnTo>
                      <a:pt x="804" y="2165"/>
                    </a:lnTo>
                    <a:lnTo>
                      <a:pt x="804" y="2168"/>
                    </a:lnTo>
                    <a:lnTo>
                      <a:pt x="807" y="2168"/>
                    </a:lnTo>
                    <a:lnTo>
                      <a:pt x="812" y="2167"/>
                    </a:lnTo>
                    <a:lnTo>
                      <a:pt x="810" y="2167"/>
                    </a:lnTo>
                    <a:lnTo>
                      <a:pt x="811" y="2165"/>
                    </a:lnTo>
                    <a:lnTo>
                      <a:pt x="811" y="2165"/>
                    </a:lnTo>
                    <a:lnTo>
                      <a:pt x="815" y="2167"/>
                    </a:lnTo>
                    <a:lnTo>
                      <a:pt x="818" y="2168"/>
                    </a:lnTo>
                    <a:lnTo>
                      <a:pt x="819" y="2168"/>
                    </a:lnTo>
                    <a:lnTo>
                      <a:pt x="819" y="2167"/>
                    </a:lnTo>
                    <a:lnTo>
                      <a:pt x="816" y="2167"/>
                    </a:lnTo>
                    <a:lnTo>
                      <a:pt x="818" y="2165"/>
                    </a:lnTo>
                    <a:lnTo>
                      <a:pt x="818" y="2165"/>
                    </a:lnTo>
                    <a:lnTo>
                      <a:pt x="822" y="2164"/>
                    </a:lnTo>
                    <a:lnTo>
                      <a:pt x="824" y="2165"/>
                    </a:lnTo>
                    <a:lnTo>
                      <a:pt x="826" y="2167"/>
                    </a:lnTo>
                    <a:lnTo>
                      <a:pt x="829" y="2165"/>
                    </a:lnTo>
                    <a:lnTo>
                      <a:pt x="831" y="2167"/>
                    </a:lnTo>
                    <a:lnTo>
                      <a:pt x="831" y="2164"/>
                    </a:lnTo>
                    <a:lnTo>
                      <a:pt x="830" y="2163"/>
                    </a:lnTo>
                    <a:lnTo>
                      <a:pt x="830" y="2160"/>
                    </a:lnTo>
                    <a:lnTo>
                      <a:pt x="831" y="2160"/>
                    </a:lnTo>
                    <a:lnTo>
                      <a:pt x="833" y="2161"/>
                    </a:lnTo>
                    <a:lnTo>
                      <a:pt x="834" y="2160"/>
                    </a:lnTo>
                    <a:lnTo>
                      <a:pt x="837" y="2159"/>
                    </a:lnTo>
                    <a:lnTo>
                      <a:pt x="837" y="2153"/>
                    </a:lnTo>
                    <a:lnTo>
                      <a:pt x="838" y="2159"/>
                    </a:lnTo>
                    <a:lnTo>
                      <a:pt x="838" y="2159"/>
                    </a:lnTo>
                    <a:lnTo>
                      <a:pt x="835" y="2160"/>
                    </a:lnTo>
                    <a:lnTo>
                      <a:pt x="833" y="2163"/>
                    </a:lnTo>
                    <a:lnTo>
                      <a:pt x="835" y="2165"/>
                    </a:lnTo>
                    <a:lnTo>
                      <a:pt x="835" y="2167"/>
                    </a:lnTo>
                    <a:lnTo>
                      <a:pt x="838" y="2167"/>
                    </a:lnTo>
                    <a:lnTo>
                      <a:pt x="838" y="2168"/>
                    </a:lnTo>
                    <a:lnTo>
                      <a:pt x="829" y="2169"/>
                    </a:lnTo>
                    <a:lnTo>
                      <a:pt x="827" y="2171"/>
                    </a:lnTo>
                    <a:lnTo>
                      <a:pt x="827" y="2174"/>
                    </a:lnTo>
                    <a:lnTo>
                      <a:pt x="823" y="2179"/>
                    </a:lnTo>
                    <a:lnTo>
                      <a:pt x="824" y="2183"/>
                    </a:lnTo>
                    <a:lnTo>
                      <a:pt x="826" y="2183"/>
                    </a:lnTo>
                    <a:lnTo>
                      <a:pt x="826" y="2183"/>
                    </a:lnTo>
                    <a:lnTo>
                      <a:pt x="831" y="2183"/>
                    </a:lnTo>
                    <a:lnTo>
                      <a:pt x="837" y="2180"/>
                    </a:lnTo>
                    <a:lnTo>
                      <a:pt x="837" y="2182"/>
                    </a:lnTo>
                    <a:lnTo>
                      <a:pt x="837" y="2183"/>
                    </a:lnTo>
                    <a:lnTo>
                      <a:pt x="833" y="2184"/>
                    </a:lnTo>
                    <a:lnTo>
                      <a:pt x="829" y="2188"/>
                    </a:lnTo>
                    <a:lnTo>
                      <a:pt x="829" y="2190"/>
                    </a:lnTo>
                    <a:lnTo>
                      <a:pt x="830" y="2191"/>
                    </a:lnTo>
                    <a:lnTo>
                      <a:pt x="827" y="2193"/>
                    </a:lnTo>
                    <a:lnTo>
                      <a:pt x="827" y="2193"/>
                    </a:lnTo>
                    <a:lnTo>
                      <a:pt x="823" y="2193"/>
                    </a:lnTo>
                    <a:lnTo>
                      <a:pt x="819" y="2193"/>
                    </a:lnTo>
                    <a:lnTo>
                      <a:pt x="814" y="2198"/>
                    </a:lnTo>
                    <a:lnTo>
                      <a:pt x="815" y="2203"/>
                    </a:lnTo>
                    <a:lnTo>
                      <a:pt x="814" y="2205"/>
                    </a:lnTo>
                    <a:lnTo>
                      <a:pt x="810" y="2203"/>
                    </a:lnTo>
                    <a:lnTo>
                      <a:pt x="811" y="2202"/>
                    </a:lnTo>
                    <a:lnTo>
                      <a:pt x="810" y="2201"/>
                    </a:lnTo>
                    <a:lnTo>
                      <a:pt x="808" y="2202"/>
                    </a:lnTo>
                    <a:lnTo>
                      <a:pt x="808" y="2203"/>
                    </a:lnTo>
                    <a:lnTo>
                      <a:pt x="810" y="2205"/>
                    </a:lnTo>
                    <a:lnTo>
                      <a:pt x="804" y="2209"/>
                    </a:lnTo>
                    <a:lnTo>
                      <a:pt x="804" y="2212"/>
                    </a:lnTo>
                    <a:lnTo>
                      <a:pt x="804" y="2212"/>
                    </a:lnTo>
                    <a:lnTo>
                      <a:pt x="807" y="2213"/>
                    </a:lnTo>
                    <a:lnTo>
                      <a:pt x="810" y="2214"/>
                    </a:lnTo>
                    <a:lnTo>
                      <a:pt x="810" y="2218"/>
                    </a:lnTo>
                    <a:lnTo>
                      <a:pt x="808" y="2220"/>
                    </a:lnTo>
                    <a:lnTo>
                      <a:pt x="808" y="2222"/>
                    </a:lnTo>
                    <a:lnTo>
                      <a:pt x="807" y="2224"/>
                    </a:lnTo>
                    <a:lnTo>
                      <a:pt x="811" y="2224"/>
                    </a:lnTo>
                    <a:lnTo>
                      <a:pt x="812" y="2224"/>
                    </a:lnTo>
                    <a:lnTo>
                      <a:pt x="814" y="2222"/>
                    </a:lnTo>
                    <a:lnTo>
                      <a:pt x="816" y="2224"/>
                    </a:lnTo>
                    <a:lnTo>
                      <a:pt x="818" y="2222"/>
                    </a:lnTo>
                    <a:lnTo>
                      <a:pt x="818" y="2222"/>
                    </a:lnTo>
                    <a:lnTo>
                      <a:pt x="820" y="2222"/>
                    </a:lnTo>
                    <a:lnTo>
                      <a:pt x="824" y="2224"/>
                    </a:lnTo>
                    <a:lnTo>
                      <a:pt x="826" y="2222"/>
                    </a:lnTo>
                    <a:lnTo>
                      <a:pt x="829" y="2224"/>
                    </a:lnTo>
                    <a:lnTo>
                      <a:pt x="830" y="2222"/>
                    </a:lnTo>
                    <a:lnTo>
                      <a:pt x="834" y="2222"/>
                    </a:lnTo>
                    <a:lnTo>
                      <a:pt x="837" y="2226"/>
                    </a:lnTo>
                    <a:lnTo>
                      <a:pt x="837" y="2229"/>
                    </a:lnTo>
                    <a:lnTo>
                      <a:pt x="842" y="2226"/>
                    </a:lnTo>
                    <a:lnTo>
                      <a:pt x="842" y="2226"/>
                    </a:lnTo>
                    <a:lnTo>
                      <a:pt x="849" y="2220"/>
                    </a:lnTo>
                    <a:lnTo>
                      <a:pt x="852" y="2216"/>
                    </a:lnTo>
                    <a:lnTo>
                      <a:pt x="857" y="2214"/>
                    </a:lnTo>
                    <a:lnTo>
                      <a:pt x="867" y="2213"/>
                    </a:lnTo>
                    <a:lnTo>
                      <a:pt x="867" y="2213"/>
                    </a:lnTo>
                    <a:lnTo>
                      <a:pt x="869" y="2214"/>
                    </a:lnTo>
                    <a:lnTo>
                      <a:pt x="869" y="2214"/>
                    </a:lnTo>
                    <a:lnTo>
                      <a:pt x="873" y="2214"/>
                    </a:lnTo>
                    <a:lnTo>
                      <a:pt x="876" y="2214"/>
                    </a:lnTo>
                    <a:lnTo>
                      <a:pt x="881" y="2210"/>
                    </a:lnTo>
                    <a:lnTo>
                      <a:pt x="881" y="2209"/>
                    </a:lnTo>
                    <a:lnTo>
                      <a:pt x="884" y="2210"/>
                    </a:lnTo>
                    <a:lnTo>
                      <a:pt x="887" y="2207"/>
                    </a:lnTo>
                    <a:lnTo>
                      <a:pt x="891" y="2207"/>
                    </a:lnTo>
                    <a:lnTo>
                      <a:pt x="899" y="2203"/>
                    </a:lnTo>
                    <a:lnTo>
                      <a:pt x="898" y="2202"/>
                    </a:lnTo>
                    <a:lnTo>
                      <a:pt x="898" y="2202"/>
                    </a:lnTo>
                    <a:lnTo>
                      <a:pt x="895" y="2201"/>
                    </a:lnTo>
                    <a:lnTo>
                      <a:pt x="892" y="2197"/>
                    </a:lnTo>
                    <a:lnTo>
                      <a:pt x="892" y="2191"/>
                    </a:lnTo>
                    <a:lnTo>
                      <a:pt x="892" y="2191"/>
                    </a:lnTo>
                    <a:lnTo>
                      <a:pt x="896" y="2186"/>
                    </a:lnTo>
                    <a:lnTo>
                      <a:pt x="902" y="2182"/>
                    </a:lnTo>
                    <a:lnTo>
                      <a:pt x="902" y="2182"/>
                    </a:lnTo>
                    <a:lnTo>
                      <a:pt x="907" y="2179"/>
                    </a:lnTo>
                    <a:lnTo>
                      <a:pt x="913" y="2178"/>
                    </a:lnTo>
                    <a:lnTo>
                      <a:pt x="913" y="2178"/>
                    </a:lnTo>
                    <a:lnTo>
                      <a:pt x="919" y="2176"/>
                    </a:lnTo>
                    <a:lnTo>
                      <a:pt x="919" y="2176"/>
                    </a:lnTo>
                    <a:lnTo>
                      <a:pt x="925" y="2175"/>
                    </a:lnTo>
                    <a:lnTo>
                      <a:pt x="928" y="2174"/>
                    </a:lnTo>
                    <a:lnTo>
                      <a:pt x="930" y="2175"/>
                    </a:lnTo>
                    <a:lnTo>
                      <a:pt x="930" y="2175"/>
                    </a:lnTo>
                    <a:lnTo>
                      <a:pt x="933" y="2174"/>
                    </a:lnTo>
                    <a:lnTo>
                      <a:pt x="937" y="2172"/>
                    </a:lnTo>
                    <a:lnTo>
                      <a:pt x="937" y="2171"/>
                    </a:lnTo>
                    <a:lnTo>
                      <a:pt x="940" y="2171"/>
                    </a:lnTo>
                    <a:lnTo>
                      <a:pt x="940" y="2171"/>
                    </a:lnTo>
                    <a:lnTo>
                      <a:pt x="943" y="2172"/>
                    </a:lnTo>
                    <a:lnTo>
                      <a:pt x="947" y="2171"/>
                    </a:lnTo>
                    <a:lnTo>
                      <a:pt x="948" y="2169"/>
                    </a:lnTo>
                    <a:lnTo>
                      <a:pt x="949" y="2168"/>
                    </a:lnTo>
                    <a:lnTo>
                      <a:pt x="947" y="2165"/>
                    </a:lnTo>
                    <a:lnTo>
                      <a:pt x="944" y="2165"/>
                    </a:lnTo>
                    <a:lnTo>
                      <a:pt x="944" y="2165"/>
                    </a:lnTo>
                    <a:lnTo>
                      <a:pt x="943" y="2163"/>
                    </a:lnTo>
                    <a:lnTo>
                      <a:pt x="940" y="2161"/>
                    </a:lnTo>
                    <a:lnTo>
                      <a:pt x="936" y="2161"/>
                    </a:lnTo>
                    <a:lnTo>
                      <a:pt x="934" y="2160"/>
                    </a:lnTo>
                    <a:lnTo>
                      <a:pt x="934" y="2153"/>
                    </a:lnTo>
                    <a:lnTo>
                      <a:pt x="928" y="2157"/>
                    </a:lnTo>
                    <a:lnTo>
                      <a:pt x="926" y="2157"/>
                    </a:lnTo>
                    <a:lnTo>
                      <a:pt x="929" y="2155"/>
                    </a:lnTo>
                    <a:lnTo>
                      <a:pt x="930" y="2153"/>
                    </a:lnTo>
                    <a:lnTo>
                      <a:pt x="930" y="2152"/>
                    </a:lnTo>
                    <a:lnTo>
                      <a:pt x="933" y="2149"/>
                    </a:lnTo>
                    <a:lnTo>
                      <a:pt x="932" y="2148"/>
                    </a:lnTo>
                    <a:lnTo>
                      <a:pt x="934" y="2146"/>
                    </a:lnTo>
                    <a:lnTo>
                      <a:pt x="934" y="2149"/>
                    </a:lnTo>
                    <a:lnTo>
                      <a:pt x="937" y="2150"/>
                    </a:lnTo>
                    <a:lnTo>
                      <a:pt x="937" y="2152"/>
                    </a:lnTo>
                    <a:lnTo>
                      <a:pt x="938" y="2152"/>
                    </a:lnTo>
                    <a:lnTo>
                      <a:pt x="940" y="2150"/>
                    </a:lnTo>
                    <a:lnTo>
                      <a:pt x="941" y="2150"/>
                    </a:lnTo>
                    <a:lnTo>
                      <a:pt x="941" y="2150"/>
                    </a:lnTo>
                    <a:lnTo>
                      <a:pt x="948" y="2141"/>
                    </a:lnTo>
                    <a:lnTo>
                      <a:pt x="952" y="2136"/>
                    </a:lnTo>
                    <a:lnTo>
                      <a:pt x="956" y="2134"/>
                    </a:lnTo>
                    <a:lnTo>
                      <a:pt x="956" y="2134"/>
                    </a:lnTo>
                    <a:lnTo>
                      <a:pt x="957" y="2131"/>
                    </a:lnTo>
                    <a:lnTo>
                      <a:pt x="957" y="2127"/>
                    </a:lnTo>
                    <a:lnTo>
                      <a:pt x="955" y="2122"/>
                    </a:lnTo>
                    <a:lnTo>
                      <a:pt x="955" y="2122"/>
                    </a:lnTo>
                    <a:lnTo>
                      <a:pt x="952" y="2113"/>
                    </a:lnTo>
                    <a:lnTo>
                      <a:pt x="949" y="2114"/>
                    </a:lnTo>
                    <a:lnTo>
                      <a:pt x="949" y="2111"/>
                    </a:lnTo>
                    <a:lnTo>
                      <a:pt x="952" y="2110"/>
                    </a:lnTo>
                    <a:lnTo>
                      <a:pt x="951" y="2107"/>
                    </a:lnTo>
                    <a:lnTo>
                      <a:pt x="945" y="2107"/>
                    </a:lnTo>
                    <a:lnTo>
                      <a:pt x="945" y="2107"/>
                    </a:lnTo>
                    <a:lnTo>
                      <a:pt x="943" y="2102"/>
                    </a:lnTo>
                    <a:lnTo>
                      <a:pt x="943" y="2099"/>
                    </a:lnTo>
                    <a:lnTo>
                      <a:pt x="943" y="2096"/>
                    </a:lnTo>
                    <a:lnTo>
                      <a:pt x="943" y="2096"/>
                    </a:lnTo>
                    <a:lnTo>
                      <a:pt x="948" y="2095"/>
                    </a:lnTo>
                    <a:lnTo>
                      <a:pt x="949" y="2094"/>
                    </a:lnTo>
                    <a:lnTo>
                      <a:pt x="951" y="2096"/>
                    </a:lnTo>
                    <a:lnTo>
                      <a:pt x="951" y="2096"/>
                    </a:lnTo>
                    <a:lnTo>
                      <a:pt x="948" y="2096"/>
                    </a:lnTo>
                    <a:lnTo>
                      <a:pt x="944" y="2096"/>
                    </a:lnTo>
                    <a:lnTo>
                      <a:pt x="944" y="2098"/>
                    </a:lnTo>
                    <a:lnTo>
                      <a:pt x="944" y="2102"/>
                    </a:lnTo>
                    <a:lnTo>
                      <a:pt x="944" y="2102"/>
                    </a:lnTo>
                    <a:lnTo>
                      <a:pt x="945" y="2103"/>
                    </a:lnTo>
                    <a:lnTo>
                      <a:pt x="948" y="2104"/>
                    </a:lnTo>
                    <a:lnTo>
                      <a:pt x="953" y="2106"/>
                    </a:lnTo>
                    <a:lnTo>
                      <a:pt x="955" y="2110"/>
                    </a:lnTo>
                    <a:lnTo>
                      <a:pt x="960" y="2111"/>
                    </a:lnTo>
                    <a:lnTo>
                      <a:pt x="960" y="2114"/>
                    </a:lnTo>
                    <a:lnTo>
                      <a:pt x="963" y="2114"/>
                    </a:lnTo>
                    <a:lnTo>
                      <a:pt x="963" y="2119"/>
                    </a:lnTo>
                    <a:lnTo>
                      <a:pt x="963" y="2122"/>
                    </a:lnTo>
                    <a:lnTo>
                      <a:pt x="962" y="2123"/>
                    </a:lnTo>
                    <a:lnTo>
                      <a:pt x="959" y="2123"/>
                    </a:lnTo>
                    <a:lnTo>
                      <a:pt x="962" y="2125"/>
                    </a:lnTo>
                    <a:lnTo>
                      <a:pt x="962" y="2131"/>
                    </a:lnTo>
                    <a:lnTo>
                      <a:pt x="963" y="2133"/>
                    </a:lnTo>
                    <a:lnTo>
                      <a:pt x="964" y="2133"/>
                    </a:lnTo>
                    <a:lnTo>
                      <a:pt x="967" y="2134"/>
                    </a:lnTo>
                    <a:lnTo>
                      <a:pt x="972" y="2131"/>
                    </a:lnTo>
                    <a:lnTo>
                      <a:pt x="975" y="2131"/>
                    </a:lnTo>
                    <a:lnTo>
                      <a:pt x="975" y="2129"/>
                    </a:lnTo>
                    <a:lnTo>
                      <a:pt x="982" y="2126"/>
                    </a:lnTo>
                    <a:lnTo>
                      <a:pt x="986" y="2129"/>
                    </a:lnTo>
                    <a:lnTo>
                      <a:pt x="986" y="2129"/>
                    </a:lnTo>
                    <a:lnTo>
                      <a:pt x="989" y="2130"/>
                    </a:lnTo>
                    <a:lnTo>
                      <a:pt x="989" y="2131"/>
                    </a:lnTo>
                    <a:lnTo>
                      <a:pt x="989" y="2131"/>
                    </a:lnTo>
                    <a:lnTo>
                      <a:pt x="995" y="2134"/>
                    </a:lnTo>
                    <a:lnTo>
                      <a:pt x="998" y="2133"/>
                    </a:lnTo>
                    <a:lnTo>
                      <a:pt x="1001" y="2133"/>
                    </a:lnTo>
                    <a:lnTo>
                      <a:pt x="1004" y="2131"/>
                    </a:lnTo>
                    <a:lnTo>
                      <a:pt x="1005" y="2131"/>
                    </a:lnTo>
                    <a:lnTo>
                      <a:pt x="1006" y="2129"/>
                    </a:lnTo>
                    <a:lnTo>
                      <a:pt x="1005" y="2127"/>
                    </a:lnTo>
                    <a:lnTo>
                      <a:pt x="1002" y="2127"/>
                    </a:lnTo>
                    <a:lnTo>
                      <a:pt x="1001" y="2125"/>
                    </a:lnTo>
                    <a:lnTo>
                      <a:pt x="1001" y="2125"/>
                    </a:lnTo>
                    <a:lnTo>
                      <a:pt x="1002" y="2122"/>
                    </a:lnTo>
                    <a:lnTo>
                      <a:pt x="1006" y="2119"/>
                    </a:lnTo>
                    <a:lnTo>
                      <a:pt x="1005" y="2117"/>
                    </a:lnTo>
                    <a:lnTo>
                      <a:pt x="1005" y="2117"/>
                    </a:lnTo>
                    <a:lnTo>
                      <a:pt x="1009" y="2113"/>
                    </a:lnTo>
                    <a:lnTo>
                      <a:pt x="1014" y="2111"/>
                    </a:lnTo>
                    <a:lnTo>
                      <a:pt x="1018" y="2111"/>
                    </a:lnTo>
                    <a:lnTo>
                      <a:pt x="1024" y="2111"/>
                    </a:lnTo>
                    <a:lnTo>
                      <a:pt x="1028" y="2110"/>
                    </a:lnTo>
                    <a:lnTo>
                      <a:pt x="1031" y="2111"/>
                    </a:lnTo>
                    <a:lnTo>
                      <a:pt x="1035" y="2108"/>
                    </a:lnTo>
                    <a:lnTo>
                      <a:pt x="1040" y="2108"/>
                    </a:lnTo>
                    <a:lnTo>
                      <a:pt x="1040" y="2108"/>
                    </a:lnTo>
                    <a:lnTo>
                      <a:pt x="1043" y="2106"/>
                    </a:lnTo>
                    <a:lnTo>
                      <a:pt x="1046" y="2103"/>
                    </a:lnTo>
                    <a:lnTo>
                      <a:pt x="1048" y="2103"/>
                    </a:lnTo>
                    <a:lnTo>
                      <a:pt x="1050" y="2102"/>
                    </a:lnTo>
                    <a:lnTo>
                      <a:pt x="1051" y="2102"/>
                    </a:lnTo>
                    <a:lnTo>
                      <a:pt x="1052" y="2100"/>
                    </a:lnTo>
                    <a:lnTo>
                      <a:pt x="1052" y="2100"/>
                    </a:lnTo>
                    <a:lnTo>
                      <a:pt x="1052" y="2095"/>
                    </a:lnTo>
                    <a:lnTo>
                      <a:pt x="1055" y="2091"/>
                    </a:lnTo>
                    <a:lnTo>
                      <a:pt x="1055" y="2091"/>
                    </a:lnTo>
                    <a:lnTo>
                      <a:pt x="1052" y="2088"/>
                    </a:lnTo>
                    <a:lnTo>
                      <a:pt x="1052" y="2085"/>
                    </a:lnTo>
                    <a:lnTo>
                      <a:pt x="1052" y="2083"/>
                    </a:lnTo>
                    <a:lnTo>
                      <a:pt x="1055" y="2083"/>
                    </a:lnTo>
                    <a:lnTo>
                      <a:pt x="1055" y="2083"/>
                    </a:lnTo>
                    <a:lnTo>
                      <a:pt x="1055" y="2079"/>
                    </a:lnTo>
                    <a:lnTo>
                      <a:pt x="1055" y="2076"/>
                    </a:lnTo>
                    <a:lnTo>
                      <a:pt x="1059" y="2072"/>
                    </a:lnTo>
                    <a:lnTo>
                      <a:pt x="1063" y="2069"/>
                    </a:lnTo>
                    <a:lnTo>
                      <a:pt x="1069" y="2066"/>
                    </a:lnTo>
                    <a:lnTo>
                      <a:pt x="1069" y="2065"/>
                    </a:lnTo>
                    <a:lnTo>
                      <a:pt x="1070" y="2064"/>
                    </a:lnTo>
                    <a:lnTo>
                      <a:pt x="1070" y="2064"/>
                    </a:lnTo>
                    <a:lnTo>
                      <a:pt x="1067" y="2064"/>
                    </a:lnTo>
                    <a:lnTo>
                      <a:pt x="1062" y="2064"/>
                    </a:lnTo>
                    <a:lnTo>
                      <a:pt x="1051" y="2065"/>
                    </a:lnTo>
                    <a:lnTo>
                      <a:pt x="1046" y="2060"/>
                    </a:lnTo>
                    <a:lnTo>
                      <a:pt x="1043" y="2045"/>
                    </a:lnTo>
                    <a:lnTo>
                      <a:pt x="1043" y="2045"/>
                    </a:lnTo>
                    <a:lnTo>
                      <a:pt x="1043" y="2045"/>
                    </a:lnTo>
                    <a:lnTo>
                      <a:pt x="1042" y="2047"/>
                    </a:lnTo>
                    <a:lnTo>
                      <a:pt x="1043" y="2050"/>
                    </a:lnTo>
                    <a:lnTo>
                      <a:pt x="1044" y="2054"/>
                    </a:lnTo>
                    <a:lnTo>
                      <a:pt x="1043" y="2057"/>
                    </a:lnTo>
                    <a:lnTo>
                      <a:pt x="1042" y="2058"/>
                    </a:lnTo>
                    <a:lnTo>
                      <a:pt x="1039" y="2057"/>
                    </a:lnTo>
                    <a:lnTo>
                      <a:pt x="1037" y="2058"/>
                    </a:lnTo>
                    <a:lnTo>
                      <a:pt x="1035" y="2057"/>
                    </a:lnTo>
                    <a:lnTo>
                      <a:pt x="1032" y="2060"/>
                    </a:lnTo>
                    <a:lnTo>
                      <a:pt x="1031" y="2058"/>
                    </a:lnTo>
                    <a:lnTo>
                      <a:pt x="1031" y="2057"/>
                    </a:lnTo>
                    <a:lnTo>
                      <a:pt x="1036" y="2054"/>
                    </a:lnTo>
                    <a:lnTo>
                      <a:pt x="1035" y="2053"/>
                    </a:lnTo>
                    <a:lnTo>
                      <a:pt x="1035" y="2051"/>
                    </a:lnTo>
                    <a:lnTo>
                      <a:pt x="1035" y="2050"/>
                    </a:lnTo>
                    <a:lnTo>
                      <a:pt x="1036" y="2049"/>
                    </a:lnTo>
                    <a:lnTo>
                      <a:pt x="1033" y="2047"/>
                    </a:lnTo>
                    <a:lnTo>
                      <a:pt x="1035" y="2045"/>
                    </a:lnTo>
                    <a:lnTo>
                      <a:pt x="1036" y="2045"/>
                    </a:lnTo>
                    <a:lnTo>
                      <a:pt x="1039" y="2046"/>
                    </a:lnTo>
                    <a:lnTo>
                      <a:pt x="1040" y="2042"/>
                    </a:lnTo>
                    <a:lnTo>
                      <a:pt x="1040" y="2042"/>
                    </a:lnTo>
                    <a:lnTo>
                      <a:pt x="1039" y="2039"/>
                    </a:lnTo>
                    <a:lnTo>
                      <a:pt x="1037" y="2034"/>
                    </a:lnTo>
                    <a:lnTo>
                      <a:pt x="1032" y="2032"/>
                    </a:lnTo>
                    <a:lnTo>
                      <a:pt x="1033" y="2032"/>
                    </a:lnTo>
                    <a:lnTo>
                      <a:pt x="1035" y="2032"/>
                    </a:lnTo>
                    <a:lnTo>
                      <a:pt x="1037" y="2031"/>
                    </a:lnTo>
                    <a:lnTo>
                      <a:pt x="1040" y="2034"/>
                    </a:lnTo>
                    <a:lnTo>
                      <a:pt x="1040" y="2038"/>
                    </a:lnTo>
                    <a:lnTo>
                      <a:pt x="1042" y="2042"/>
                    </a:lnTo>
                    <a:lnTo>
                      <a:pt x="1043" y="2042"/>
                    </a:lnTo>
                    <a:lnTo>
                      <a:pt x="1048" y="2038"/>
                    </a:lnTo>
                    <a:lnTo>
                      <a:pt x="1048" y="2037"/>
                    </a:lnTo>
                    <a:lnTo>
                      <a:pt x="1052" y="2034"/>
                    </a:lnTo>
                    <a:lnTo>
                      <a:pt x="1050" y="2032"/>
                    </a:lnTo>
                    <a:lnTo>
                      <a:pt x="1048" y="2031"/>
                    </a:lnTo>
                    <a:lnTo>
                      <a:pt x="1051" y="2032"/>
                    </a:lnTo>
                    <a:lnTo>
                      <a:pt x="1052" y="2031"/>
                    </a:lnTo>
                    <a:lnTo>
                      <a:pt x="1054" y="2031"/>
                    </a:lnTo>
                    <a:lnTo>
                      <a:pt x="1052" y="2031"/>
                    </a:lnTo>
                    <a:lnTo>
                      <a:pt x="1052" y="2031"/>
                    </a:lnTo>
                    <a:lnTo>
                      <a:pt x="1052" y="2035"/>
                    </a:lnTo>
                    <a:lnTo>
                      <a:pt x="1054" y="2038"/>
                    </a:lnTo>
                    <a:lnTo>
                      <a:pt x="1054" y="2038"/>
                    </a:lnTo>
                    <a:lnTo>
                      <a:pt x="1056" y="2039"/>
                    </a:lnTo>
                    <a:lnTo>
                      <a:pt x="1058" y="2042"/>
                    </a:lnTo>
                    <a:lnTo>
                      <a:pt x="1058" y="2042"/>
                    </a:lnTo>
                    <a:lnTo>
                      <a:pt x="1056" y="2045"/>
                    </a:lnTo>
                    <a:lnTo>
                      <a:pt x="1058" y="2046"/>
                    </a:lnTo>
                    <a:lnTo>
                      <a:pt x="1058" y="2046"/>
                    </a:lnTo>
                    <a:lnTo>
                      <a:pt x="1062" y="2046"/>
                    </a:lnTo>
                    <a:lnTo>
                      <a:pt x="1065" y="2049"/>
                    </a:lnTo>
                    <a:lnTo>
                      <a:pt x="1065" y="2047"/>
                    </a:lnTo>
                    <a:lnTo>
                      <a:pt x="1066" y="2043"/>
                    </a:lnTo>
                    <a:lnTo>
                      <a:pt x="1066" y="2041"/>
                    </a:lnTo>
                    <a:lnTo>
                      <a:pt x="1069" y="2035"/>
                    </a:lnTo>
                    <a:lnTo>
                      <a:pt x="1078" y="2031"/>
                    </a:lnTo>
                    <a:lnTo>
                      <a:pt x="1084" y="2032"/>
                    </a:lnTo>
                    <a:lnTo>
                      <a:pt x="1086" y="2032"/>
                    </a:lnTo>
                    <a:lnTo>
                      <a:pt x="1088" y="2030"/>
                    </a:lnTo>
                    <a:lnTo>
                      <a:pt x="1089" y="2030"/>
                    </a:lnTo>
                    <a:lnTo>
                      <a:pt x="1090" y="2027"/>
                    </a:lnTo>
                    <a:lnTo>
                      <a:pt x="1092" y="2027"/>
                    </a:lnTo>
                    <a:lnTo>
                      <a:pt x="1094" y="2026"/>
                    </a:lnTo>
                    <a:lnTo>
                      <a:pt x="1094" y="2024"/>
                    </a:lnTo>
                    <a:lnTo>
                      <a:pt x="1097" y="2020"/>
                    </a:lnTo>
                    <a:lnTo>
                      <a:pt x="1100" y="2022"/>
                    </a:lnTo>
                    <a:lnTo>
                      <a:pt x="1100" y="2022"/>
                    </a:lnTo>
                    <a:lnTo>
                      <a:pt x="1104" y="2019"/>
                    </a:lnTo>
                    <a:lnTo>
                      <a:pt x="1111" y="2016"/>
                    </a:lnTo>
                    <a:lnTo>
                      <a:pt x="1118" y="2015"/>
                    </a:lnTo>
                    <a:lnTo>
                      <a:pt x="1120" y="2015"/>
                    </a:lnTo>
                    <a:lnTo>
                      <a:pt x="1122" y="2016"/>
                    </a:lnTo>
                    <a:lnTo>
                      <a:pt x="1122" y="2016"/>
                    </a:lnTo>
                    <a:lnTo>
                      <a:pt x="1128" y="2013"/>
                    </a:lnTo>
                    <a:lnTo>
                      <a:pt x="1134" y="2009"/>
                    </a:lnTo>
                    <a:lnTo>
                      <a:pt x="1135" y="2012"/>
                    </a:lnTo>
                    <a:lnTo>
                      <a:pt x="1135" y="2012"/>
                    </a:lnTo>
                    <a:lnTo>
                      <a:pt x="1139" y="2011"/>
                    </a:lnTo>
                    <a:lnTo>
                      <a:pt x="1145" y="2012"/>
                    </a:lnTo>
                    <a:lnTo>
                      <a:pt x="1146" y="2011"/>
                    </a:lnTo>
                    <a:lnTo>
                      <a:pt x="1147" y="2012"/>
                    </a:lnTo>
                    <a:lnTo>
                      <a:pt x="1149" y="2011"/>
                    </a:lnTo>
                    <a:lnTo>
                      <a:pt x="1149" y="2011"/>
                    </a:lnTo>
                    <a:lnTo>
                      <a:pt x="1151" y="2012"/>
                    </a:lnTo>
                    <a:lnTo>
                      <a:pt x="1154" y="2013"/>
                    </a:lnTo>
                    <a:lnTo>
                      <a:pt x="1157" y="2011"/>
                    </a:lnTo>
                    <a:lnTo>
                      <a:pt x="1166" y="2011"/>
                    </a:lnTo>
                    <a:lnTo>
                      <a:pt x="1168" y="2012"/>
                    </a:lnTo>
                    <a:lnTo>
                      <a:pt x="1168" y="2012"/>
                    </a:lnTo>
                    <a:lnTo>
                      <a:pt x="1173" y="2013"/>
                    </a:lnTo>
                    <a:lnTo>
                      <a:pt x="1177" y="2015"/>
                    </a:lnTo>
                    <a:lnTo>
                      <a:pt x="1180" y="2013"/>
                    </a:lnTo>
                    <a:lnTo>
                      <a:pt x="1185" y="2016"/>
                    </a:lnTo>
                    <a:lnTo>
                      <a:pt x="1185" y="2016"/>
                    </a:lnTo>
                    <a:lnTo>
                      <a:pt x="1188" y="2013"/>
                    </a:lnTo>
                    <a:lnTo>
                      <a:pt x="1192" y="2013"/>
                    </a:lnTo>
                    <a:lnTo>
                      <a:pt x="1199" y="2013"/>
                    </a:lnTo>
                    <a:lnTo>
                      <a:pt x="1199" y="2013"/>
                    </a:lnTo>
                    <a:lnTo>
                      <a:pt x="1204" y="2012"/>
                    </a:lnTo>
                    <a:lnTo>
                      <a:pt x="1204" y="2012"/>
                    </a:lnTo>
                    <a:lnTo>
                      <a:pt x="1207" y="2008"/>
                    </a:lnTo>
                    <a:lnTo>
                      <a:pt x="1208" y="2003"/>
                    </a:lnTo>
                    <a:lnTo>
                      <a:pt x="1208" y="2003"/>
                    </a:lnTo>
                    <a:lnTo>
                      <a:pt x="1210" y="2000"/>
                    </a:lnTo>
                    <a:lnTo>
                      <a:pt x="1214" y="1999"/>
                    </a:lnTo>
                    <a:lnTo>
                      <a:pt x="1214" y="1999"/>
                    </a:lnTo>
                    <a:lnTo>
                      <a:pt x="1223" y="2001"/>
                    </a:lnTo>
                    <a:lnTo>
                      <a:pt x="1229" y="2003"/>
                    </a:lnTo>
                    <a:lnTo>
                      <a:pt x="1233" y="2004"/>
                    </a:lnTo>
                    <a:lnTo>
                      <a:pt x="1230" y="2001"/>
                    </a:lnTo>
                    <a:lnTo>
                      <a:pt x="1225" y="2001"/>
                    </a:lnTo>
                    <a:lnTo>
                      <a:pt x="1223" y="2000"/>
                    </a:lnTo>
                    <a:lnTo>
                      <a:pt x="1222" y="1992"/>
                    </a:lnTo>
                    <a:lnTo>
                      <a:pt x="1222" y="1992"/>
                    </a:lnTo>
                    <a:lnTo>
                      <a:pt x="1229" y="1992"/>
                    </a:lnTo>
                    <a:lnTo>
                      <a:pt x="1234" y="1996"/>
                    </a:lnTo>
                    <a:lnTo>
                      <a:pt x="1236" y="1996"/>
                    </a:lnTo>
                    <a:lnTo>
                      <a:pt x="1240" y="1993"/>
                    </a:lnTo>
                    <a:lnTo>
                      <a:pt x="1240" y="1993"/>
                    </a:lnTo>
                    <a:lnTo>
                      <a:pt x="1238" y="1996"/>
                    </a:lnTo>
                    <a:lnTo>
                      <a:pt x="1238" y="1996"/>
                    </a:lnTo>
                    <a:lnTo>
                      <a:pt x="1238" y="1999"/>
                    </a:lnTo>
                    <a:lnTo>
                      <a:pt x="1240" y="1997"/>
                    </a:lnTo>
                    <a:lnTo>
                      <a:pt x="1242" y="1999"/>
                    </a:lnTo>
                    <a:lnTo>
                      <a:pt x="1242" y="1999"/>
                    </a:lnTo>
                    <a:lnTo>
                      <a:pt x="1237" y="2001"/>
                    </a:lnTo>
                    <a:lnTo>
                      <a:pt x="1232" y="2007"/>
                    </a:lnTo>
                    <a:lnTo>
                      <a:pt x="1233" y="2008"/>
                    </a:lnTo>
                    <a:lnTo>
                      <a:pt x="1227" y="2013"/>
                    </a:lnTo>
                    <a:lnTo>
                      <a:pt x="1227" y="2019"/>
                    </a:lnTo>
                    <a:lnTo>
                      <a:pt x="1230" y="2016"/>
                    </a:lnTo>
                    <a:lnTo>
                      <a:pt x="1232" y="2018"/>
                    </a:lnTo>
                    <a:lnTo>
                      <a:pt x="1232" y="2018"/>
                    </a:lnTo>
                    <a:lnTo>
                      <a:pt x="1234" y="2016"/>
                    </a:lnTo>
                    <a:lnTo>
                      <a:pt x="1238" y="2013"/>
                    </a:lnTo>
                    <a:lnTo>
                      <a:pt x="1245" y="2012"/>
                    </a:lnTo>
                    <a:lnTo>
                      <a:pt x="1245" y="2011"/>
                    </a:lnTo>
                    <a:lnTo>
                      <a:pt x="1250" y="2012"/>
                    </a:lnTo>
                    <a:lnTo>
                      <a:pt x="1252" y="2012"/>
                    </a:lnTo>
                    <a:lnTo>
                      <a:pt x="1253" y="2015"/>
                    </a:lnTo>
                    <a:lnTo>
                      <a:pt x="1253" y="2015"/>
                    </a:lnTo>
                    <a:lnTo>
                      <a:pt x="1257" y="2015"/>
                    </a:lnTo>
                    <a:lnTo>
                      <a:pt x="1260" y="2013"/>
                    </a:lnTo>
                    <a:lnTo>
                      <a:pt x="1260" y="2011"/>
                    </a:lnTo>
                    <a:lnTo>
                      <a:pt x="1263" y="2012"/>
                    </a:lnTo>
                    <a:lnTo>
                      <a:pt x="1269" y="2007"/>
                    </a:lnTo>
                    <a:lnTo>
                      <a:pt x="1271" y="2004"/>
                    </a:lnTo>
                    <a:lnTo>
                      <a:pt x="1268" y="2005"/>
                    </a:lnTo>
                    <a:lnTo>
                      <a:pt x="1268" y="2001"/>
                    </a:lnTo>
                    <a:lnTo>
                      <a:pt x="1271" y="2001"/>
                    </a:lnTo>
                    <a:lnTo>
                      <a:pt x="1271" y="2001"/>
                    </a:lnTo>
                    <a:lnTo>
                      <a:pt x="1272" y="1999"/>
                    </a:lnTo>
                    <a:lnTo>
                      <a:pt x="1274" y="1997"/>
                    </a:lnTo>
                    <a:lnTo>
                      <a:pt x="1275" y="1996"/>
                    </a:lnTo>
                    <a:lnTo>
                      <a:pt x="1276" y="1992"/>
                    </a:lnTo>
                    <a:lnTo>
                      <a:pt x="1276" y="1992"/>
                    </a:lnTo>
                    <a:lnTo>
                      <a:pt x="1278" y="1990"/>
                    </a:lnTo>
                    <a:lnTo>
                      <a:pt x="1279" y="1989"/>
                    </a:lnTo>
                    <a:lnTo>
                      <a:pt x="1284" y="1986"/>
                    </a:lnTo>
                    <a:lnTo>
                      <a:pt x="1284" y="1985"/>
                    </a:lnTo>
                    <a:lnTo>
                      <a:pt x="1278" y="1986"/>
                    </a:lnTo>
                    <a:lnTo>
                      <a:pt x="1276" y="1986"/>
                    </a:lnTo>
                    <a:lnTo>
                      <a:pt x="1276" y="1982"/>
                    </a:lnTo>
                    <a:lnTo>
                      <a:pt x="1272" y="1982"/>
                    </a:lnTo>
                    <a:lnTo>
                      <a:pt x="1272" y="1982"/>
                    </a:lnTo>
                    <a:lnTo>
                      <a:pt x="1274" y="1974"/>
                    </a:lnTo>
                    <a:lnTo>
                      <a:pt x="1275" y="1971"/>
                    </a:lnTo>
                    <a:lnTo>
                      <a:pt x="1276" y="1969"/>
                    </a:lnTo>
                    <a:lnTo>
                      <a:pt x="1275" y="1965"/>
                    </a:lnTo>
                    <a:lnTo>
                      <a:pt x="1275" y="1965"/>
                    </a:lnTo>
                    <a:lnTo>
                      <a:pt x="1276" y="1962"/>
                    </a:lnTo>
                    <a:lnTo>
                      <a:pt x="1278" y="1958"/>
                    </a:lnTo>
                    <a:lnTo>
                      <a:pt x="1278" y="1948"/>
                    </a:lnTo>
                    <a:lnTo>
                      <a:pt x="1278" y="1948"/>
                    </a:lnTo>
                    <a:lnTo>
                      <a:pt x="1272" y="1946"/>
                    </a:lnTo>
                    <a:lnTo>
                      <a:pt x="1268" y="1942"/>
                    </a:lnTo>
                    <a:lnTo>
                      <a:pt x="1268" y="1942"/>
                    </a:lnTo>
                    <a:lnTo>
                      <a:pt x="1268" y="1935"/>
                    </a:lnTo>
                    <a:lnTo>
                      <a:pt x="1269" y="1932"/>
                    </a:lnTo>
                    <a:lnTo>
                      <a:pt x="1271" y="1931"/>
                    </a:lnTo>
                    <a:lnTo>
                      <a:pt x="1269" y="1929"/>
                    </a:lnTo>
                    <a:lnTo>
                      <a:pt x="1265" y="1928"/>
                    </a:lnTo>
                    <a:lnTo>
                      <a:pt x="1265" y="1927"/>
                    </a:lnTo>
                    <a:lnTo>
                      <a:pt x="1268" y="1924"/>
                    </a:lnTo>
                    <a:lnTo>
                      <a:pt x="1271" y="1924"/>
                    </a:lnTo>
                    <a:lnTo>
                      <a:pt x="1274" y="1927"/>
                    </a:lnTo>
                    <a:lnTo>
                      <a:pt x="1278" y="1924"/>
                    </a:lnTo>
                    <a:lnTo>
                      <a:pt x="1275" y="1927"/>
                    </a:lnTo>
                    <a:lnTo>
                      <a:pt x="1276" y="1933"/>
                    </a:lnTo>
                    <a:lnTo>
                      <a:pt x="1275" y="1936"/>
                    </a:lnTo>
                    <a:lnTo>
                      <a:pt x="1272" y="1938"/>
                    </a:lnTo>
                    <a:lnTo>
                      <a:pt x="1272" y="1939"/>
                    </a:lnTo>
                    <a:lnTo>
                      <a:pt x="1274" y="1942"/>
                    </a:lnTo>
                    <a:lnTo>
                      <a:pt x="1274" y="1942"/>
                    </a:lnTo>
                    <a:lnTo>
                      <a:pt x="1278" y="1944"/>
                    </a:lnTo>
                    <a:lnTo>
                      <a:pt x="1280" y="1947"/>
                    </a:lnTo>
                    <a:lnTo>
                      <a:pt x="1283" y="1947"/>
                    </a:lnTo>
                    <a:lnTo>
                      <a:pt x="1283" y="1947"/>
                    </a:lnTo>
                    <a:lnTo>
                      <a:pt x="1286" y="1950"/>
                    </a:lnTo>
                    <a:lnTo>
                      <a:pt x="1287" y="1952"/>
                    </a:lnTo>
                    <a:lnTo>
                      <a:pt x="1288" y="1955"/>
                    </a:lnTo>
                    <a:lnTo>
                      <a:pt x="1290" y="1958"/>
                    </a:lnTo>
                    <a:lnTo>
                      <a:pt x="1290" y="1961"/>
                    </a:lnTo>
                    <a:lnTo>
                      <a:pt x="1295" y="1962"/>
                    </a:lnTo>
                    <a:lnTo>
                      <a:pt x="1295" y="1966"/>
                    </a:lnTo>
                    <a:lnTo>
                      <a:pt x="1299" y="1969"/>
                    </a:lnTo>
                    <a:lnTo>
                      <a:pt x="1299" y="1969"/>
                    </a:lnTo>
                    <a:lnTo>
                      <a:pt x="1299" y="1970"/>
                    </a:lnTo>
                    <a:lnTo>
                      <a:pt x="1302" y="1973"/>
                    </a:lnTo>
                    <a:lnTo>
                      <a:pt x="1302" y="1977"/>
                    </a:lnTo>
                    <a:lnTo>
                      <a:pt x="1298" y="1978"/>
                    </a:lnTo>
                    <a:lnTo>
                      <a:pt x="1298" y="1978"/>
                    </a:lnTo>
                    <a:lnTo>
                      <a:pt x="1299" y="1981"/>
                    </a:lnTo>
                    <a:lnTo>
                      <a:pt x="1299" y="1981"/>
                    </a:lnTo>
                    <a:lnTo>
                      <a:pt x="1302" y="1986"/>
                    </a:lnTo>
                    <a:lnTo>
                      <a:pt x="1303" y="1990"/>
                    </a:lnTo>
                    <a:lnTo>
                      <a:pt x="1303" y="2000"/>
                    </a:lnTo>
                    <a:lnTo>
                      <a:pt x="1303" y="2000"/>
                    </a:lnTo>
                    <a:lnTo>
                      <a:pt x="1302" y="2001"/>
                    </a:lnTo>
                    <a:lnTo>
                      <a:pt x="1298" y="2004"/>
                    </a:lnTo>
                    <a:lnTo>
                      <a:pt x="1298" y="2007"/>
                    </a:lnTo>
                    <a:lnTo>
                      <a:pt x="1298" y="2007"/>
                    </a:lnTo>
                    <a:lnTo>
                      <a:pt x="1294" y="2011"/>
                    </a:lnTo>
                    <a:lnTo>
                      <a:pt x="1291" y="2015"/>
                    </a:lnTo>
                    <a:lnTo>
                      <a:pt x="1293" y="2018"/>
                    </a:lnTo>
                    <a:lnTo>
                      <a:pt x="1291" y="2020"/>
                    </a:lnTo>
                    <a:lnTo>
                      <a:pt x="1295" y="2019"/>
                    </a:lnTo>
                    <a:lnTo>
                      <a:pt x="1299" y="2016"/>
                    </a:lnTo>
                    <a:lnTo>
                      <a:pt x="1299" y="2012"/>
                    </a:lnTo>
                    <a:lnTo>
                      <a:pt x="1302" y="2008"/>
                    </a:lnTo>
                    <a:lnTo>
                      <a:pt x="1302" y="2007"/>
                    </a:lnTo>
                    <a:lnTo>
                      <a:pt x="1306" y="2005"/>
                    </a:lnTo>
                    <a:lnTo>
                      <a:pt x="1307" y="2004"/>
                    </a:lnTo>
                    <a:lnTo>
                      <a:pt x="1307" y="2000"/>
                    </a:lnTo>
                    <a:lnTo>
                      <a:pt x="1310" y="2000"/>
                    </a:lnTo>
                    <a:lnTo>
                      <a:pt x="1309" y="1999"/>
                    </a:lnTo>
                    <a:lnTo>
                      <a:pt x="1310" y="1997"/>
                    </a:lnTo>
                    <a:lnTo>
                      <a:pt x="1320" y="1993"/>
                    </a:lnTo>
                    <a:lnTo>
                      <a:pt x="1322" y="1989"/>
                    </a:lnTo>
                    <a:lnTo>
                      <a:pt x="1326" y="1989"/>
                    </a:lnTo>
                    <a:lnTo>
                      <a:pt x="1328" y="1990"/>
                    </a:lnTo>
                    <a:lnTo>
                      <a:pt x="1329" y="1990"/>
                    </a:lnTo>
                    <a:lnTo>
                      <a:pt x="1329" y="1989"/>
                    </a:lnTo>
                    <a:lnTo>
                      <a:pt x="1328" y="1988"/>
                    </a:lnTo>
                    <a:lnTo>
                      <a:pt x="1328" y="1982"/>
                    </a:lnTo>
                    <a:lnTo>
                      <a:pt x="1331" y="1978"/>
                    </a:lnTo>
                    <a:lnTo>
                      <a:pt x="1331" y="1978"/>
                    </a:lnTo>
                    <a:lnTo>
                      <a:pt x="1325" y="1980"/>
                    </a:lnTo>
                    <a:lnTo>
                      <a:pt x="1325" y="1978"/>
                    </a:lnTo>
                    <a:lnTo>
                      <a:pt x="1328" y="1977"/>
                    </a:lnTo>
                    <a:lnTo>
                      <a:pt x="1328" y="1974"/>
                    </a:lnTo>
                    <a:lnTo>
                      <a:pt x="1333" y="1967"/>
                    </a:lnTo>
                    <a:lnTo>
                      <a:pt x="1331" y="1963"/>
                    </a:lnTo>
                    <a:lnTo>
                      <a:pt x="1331" y="1963"/>
                    </a:lnTo>
                    <a:lnTo>
                      <a:pt x="1326" y="1966"/>
                    </a:lnTo>
                    <a:lnTo>
                      <a:pt x="1324" y="1966"/>
                    </a:lnTo>
                    <a:lnTo>
                      <a:pt x="1325" y="1965"/>
                    </a:lnTo>
                    <a:lnTo>
                      <a:pt x="1325" y="1962"/>
                    </a:lnTo>
                    <a:lnTo>
                      <a:pt x="1329" y="1959"/>
                    </a:lnTo>
                    <a:lnTo>
                      <a:pt x="1329" y="1959"/>
                    </a:lnTo>
                    <a:lnTo>
                      <a:pt x="1328" y="1958"/>
                    </a:lnTo>
                    <a:lnTo>
                      <a:pt x="1326" y="1955"/>
                    </a:lnTo>
                    <a:lnTo>
                      <a:pt x="1332" y="1955"/>
                    </a:lnTo>
                    <a:lnTo>
                      <a:pt x="1340" y="1947"/>
                    </a:lnTo>
                    <a:lnTo>
                      <a:pt x="1339" y="1947"/>
                    </a:lnTo>
                    <a:lnTo>
                      <a:pt x="1341" y="1946"/>
                    </a:lnTo>
                    <a:lnTo>
                      <a:pt x="1345" y="1947"/>
                    </a:lnTo>
                    <a:lnTo>
                      <a:pt x="1352" y="1940"/>
                    </a:lnTo>
                    <a:lnTo>
                      <a:pt x="1352" y="1938"/>
                    </a:lnTo>
                    <a:lnTo>
                      <a:pt x="1352" y="1936"/>
                    </a:lnTo>
                    <a:lnTo>
                      <a:pt x="1354" y="1933"/>
                    </a:lnTo>
                    <a:lnTo>
                      <a:pt x="1356" y="1943"/>
                    </a:lnTo>
                    <a:lnTo>
                      <a:pt x="1356" y="1943"/>
                    </a:lnTo>
                    <a:lnTo>
                      <a:pt x="1350" y="1948"/>
                    </a:lnTo>
                    <a:lnTo>
                      <a:pt x="1344" y="1955"/>
                    </a:lnTo>
                    <a:lnTo>
                      <a:pt x="1343" y="1965"/>
                    </a:lnTo>
                    <a:lnTo>
                      <a:pt x="1341" y="1965"/>
                    </a:lnTo>
                    <a:lnTo>
                      <a:pt x="1340" y="1962"/>
                    </a:lnTo>
                    <a:lnTo>
                      <a:pt x="1340" y="1959"/>
                    </a:lnTo>
                    <a:lnTo>
                      <a:pt x="1340" y="1959"/>
                    </a:lnTo>
                    <a:lnTo>
                      <a:pt x="1337" y="1961"/>
                    </a:lnTo>
                    <a:lnTo>
                      <a:pt x="1336" y="1962"/>
                    </a:lnTo>
                    <a:lnTo>
                      <a:pt x="1337" y="1966"/>
                    </a:lnTo>
                    <a:lnTo>
                      <a:pt x="1337" y="1966"/>
                    </a:lnTo>
                    <a:lnTo>
                      <a:pt x="1341" y="1967"/>
                    </a:lnTo>
                    <a:lnTo>
                      <a:pt x="1344" y="1970"/>
                    </a:lnTo>
                    <a:lnTo>
                      <a:pt x="1345" y="1969"/>
                    </a:lnTo>
                    <a:lnTo>
                      <a:pt x="1348" y="1970"/>
                    </a:lnTo>
                    <a:lnTo>
                      <a:pt x="1356" y="1965"/>
                    </a:lnTo>
                    <a:lnTo>
                      <a:pt x="1362" y="1966"/>
                    </a:lnTo>
                    <a:lnTo>
                      <a:pt x="1367" y="1963"/>
                    </a:lnTo>
                    <a:lnTo>
                      <a:pt x="1370" y="1965"/>
                    </a:lnTo>
                    <a:lnTo>
                      <a:pt x="1374" y="1961"/>
                    </a:lnTo>
                    <a:lnTo>
                      <a:pt x="1375" y="1962"/>
                    </a:lnTo>
                    <a:lnTo>
                      <a:pt x="1382" y="1962"/>
                    </a:lnTo>
                    <a:lnTo>
                      <a:pt x="1386" y="1965"/>
                    </a:lnTo>
                    <a:lnTo>
                      <a:pt x="1389" y="1963"/>
                    </a:lnTo>
                    <a:lnTo>
                      <a:pt x="1393" y="1965"/>
                    </a:lnTo>
                    <a:lnTo>
                      <a:pt x="1393" y="1963"/>
                    </a:lnTo>
                    <a:lnTo>
                      <a:pt x="1393" y="1959"/>
                    </a:lnTo>
                    <a:lnTo>
                      <a:pt x="1396" y="1961"/>
                    </a:lnTo>
                    <a:lnTo>
                      <a:pt x="1394" y="1963"/>
                    </a:lnTo>
                    <a:lnTo>
                      <a:pt x="1394" y="1966"/>
                    </a:lnTo>
                    <a:lnTo>
                      <a:pt x="1401" y="1969"/>
                    </a:lnTo>
                    <a:lnTo>
                      <a:pt x="1401" y="1971"/>
                    </a:lnTo>
                    <a:lnTo>
                      <a:pt x="1396" y="1970"/>
                    </a:lnTo>
                    <a:lnTo>
                      <a:pt x="1396" y="1970"/>
                    </a:lnTo>
                    <a:lnTo>
                      <a:pt x="1392" y="1967"/>
                    </a:lnTo>
                    <a:lnTo>
                      <a:pt x="1388" y="1966"/>
                    </a:lnTo>
                    <a:lnTo>
                      <a:pt x="1383" y="1965"/>
                    </a:lnTo>
                    <a:lnTo>
                      <a:pt x="1381" y="1963"/>
                    </a:lnTo>
                    <a:lnTo>
                      <a:pt x="1381" y="1963"/>
                    </a:lnTo>
                    <a:lnTo>
                      <a:pt x="1378" y="1963"/>
                    </a:lnTo>
                    <a:lnTo>
                      <a:pt x="1375" y="1963"/>
                    </a:lnTo>
                    <a:lnTo>
                      <a:pt x="1375" y="1965"/>
                    </a:lnTo>
                    <a:lnTo>
                      <a:pt x="1375" y="1965"/>
                    </a:lnTo>
                    <a:lnTo>
                      <a:pt x="1386" y="1967"/>
                    </a:lnTo>
                    <a:lnTo>
                      <a:pt x="1397" y="1973"/>
                    </a:lnTo>
                    <a:lnTo>
                      <a:pt x="1407" y="1980"/>
                    </a:lnTo>
                    <a:lnTo>
                      <a:pt x="1415" y="1988"/>
                    </a:lnTo>
                    <a:lnTo>
                      <a:pt x="1415" y="1990"/>
                    </a:lnTo>
                    <a:lnTo>
                      <a:pt x="1415" y="1990"/>
                    </a:lnTo>
                    <a:lnTo>
                      <a:pt x="1417" y="1989"/>
                    </a:lnTo>
                    <a:lnTo>
                      <a:pt x="1420" y="1989"/>
                    </a:lnTo>
                    <a:lnTo>
                      <a:pt x="1426" y="1988"/>
                    </a:lnTo>
                    <a:lnTo>
                      <a:pt x="1426" y="1988"/>
                    </a:lnTo>
                    <a:lnTo>
                      <a:pt x="1430" y="1985"/>
                    </a:lnTo>
                    <a:lnTo>
                      <a:pt x="1434" y="1982"/>
                    </a:lnTo>
                    <a:lnTo>
                      <a:pt x="1434" y="1982"/>
                    </a:lnTo>
                    <a:lnTo>
                      <a:pt x="1443" y="1981"/>
                    </a:lnTo>
                    <a:lnTo>
                      <a:pt x="1447" y="1980"/>
                    </a:lnTo>
                    <a:lnTo>
                      <a:pt x="1453" y="1977"/>
                    </a:lnTo>
                    <a:lnTo>
                      <a:pt x="1453" y="1973"/>
                    </a:lnTo>
                    <a:lnTo>
                      <a:pt x="1451" y="1971"/>
                    </a:lnTo>
                    <a:lnTo>
                      <a:pt x="1451" y="1971"/>
                    </a:lnTo>
                    <a:lnTo>
                      <a:pt x="1451" y="1969"/>
                    </a:lnTo>
                    <a:lnTo>
                      <a:pt x="1453" y="1966"/>
                    </a:lnTo>
                    <a:lnTo>
                      <a:pt x="1455" y="1970"/>
                    </a:lnTo>
                    <a:lnTo>
                      <a:pt x="1457" y="1971"/>
                    </a:lnTo>
                    <a:lnTo>
                      <a:pt x="1457" y="1970"/>
                    </a:lnTo>
                    <a:lnTo>
                      <a:pt x="1458" y="1970"/>
                    </a:lnTo>
                    <a:lnTo>
                      <a:pt x="1458" y="1971"/>
                    </a:lnTo>
                    <a:lnTo>
                      <a:pt x="1461" y="1971"/>
                    </a:lnTo>
                    <a:lnTo>
                      <a:pt x="1461" y="1969"/>
                    </a:lnTo>
                    <a:lnTo>
                      <a:pt x="1462" y="1969"/>
                    </a:lnTo>
                    <a:lnTo>
                      <a:pt x="1462" y="1973"/>
                    </a:lnTo>
                    <a:lnTo>
                      <a:pt x="1465" y="1974"/>
                    </a:lnTo>
                    <a:lnTo>
                      <a:pt x="1469" y="1974"/>
                    </a:lnTo>
                    <a:lnTo>
                      <a:pt x="1469" y="1978"/>
                    </a:lnTo>
                    <a:lnTo>
                      <a:pt x="1466" y="1978"/>
                    </a:lnTo>
                    <a:lnTo>
                      <a:pt x="1468" y="1977"/>
                    </a:lnTo>
                    <a:lnTo>
                      <a:pt x="1465" y="1975"/>
                    </a:lnTo>
                    <a:lnTo>
                      <a:pt x="1465" y="1977"/>
                    </a:lnTo>
                    <a:lnTo>
                      <a:pt x="1465" y="1978"/>
                    </a:lnTo>
                    <a:lnTo>
                      <a:pt x="1465" y="1978"/>
                    </a:lnTo>
                    <a:lnTo>
                      <a:pt x="1457" y="1978"/>
                    </a:lnTo>
                    <a:lnTo>
                      <a:pt x="1449" y="1980"/>
                    </a:lnTo>
                    <a:lnTo>
                      <a:pt x="1449" y="1980"/>
                    </a:lnTo>
                    <a:lnTo>
                      <a:pt x="1457" y="1978"/>
                    </a:lnTo>
                    <a:lnTo>
                      <a:pt x="1466" y="1980"/>
                    </a:lnTo>
                    <a:lnTo>
                      <a:pt x="1483" y="1984"/>
                    </a:lnTo>
                    <a:lnTo>
                      <a:pt x="1483" y="1984"/>
                    </a:lnTo>
                    <a:lnTo>
                      <a:pt x="1488" y="1988"/>
                    </a:lnTo>
                    <a:lnTo>
                      <a:pt x="1495" y="1989"/>
                    </a:lnTo>
                    <a:lnTo>
                      <a:pt x="1496" y="1990"/>
                    </a:lnTo>
                    <a:lnTo>
                      <a:pt x="1496" y="1990"/>
                    </a:lnTo>
                    <a:lnTo>
                      <a:pt x="1499" y="1988"/>
                    </a:lnTo>
                    <a:lnTo>
                      <a:pt x="1499" y="1984"/>
                    </a:lnTo>
                    <a:lnTo>
                      <a:pt x="1503" y="1980"/>
                    </a:lnTo>
                    <a:lnTo>
                      <a:pt x="1502" y="1978"/>
                    </a:lnTo>
                    <a:lnTo>
                      <a:pt x="1503" y="1977"/>
                    </a:lnTo>
                    <a:lnTo>
                      <a:pt x="1502" y="1975"/>
                    </a:lnTo>
                    <a:lnTo>
                      <a:pt x="1502" y="1973"/>
                    </a:lnTo>
                    <a:lnTo>
                      <a:pt x="1503" y="1969"/>
                    </a:lnTo>
                    <a:lnTo>
                      <a:pt x="1503" y="1966"/>
                    </a:lnTo>
                    <a:lnTo>
                      <a:pt x="1503" y="1966"/>
                    </a:lnTo>
                    <a:lnTo>
                      <a:pt x="1508" y="1959"/>
                    </a:lnTo>
                    <a:lnTo>
                      <a:pt x="1511" y="1957"/>
                    </a:lnTo>
                    <a:lnTo>
                      <a:pt x="1511" y="1951"/>
                    </a:lnTo>
                    <a:lnTo>
                      <a:pt x="1514" y="1950"/>
                    </a:lnTo>
                    <a:lnTo>
                      <a:pt x="1514" y="1947"/>
                    </a:lnTo>
                    <a:lnTo>
                      <a:pt x="1514" y="1947"/>
                    </a:lnTo>
                    <a:lnTo>
                      <a:pt x="1510" y="1944"/>
                    </a:lnTo>
                    <a:lnTo>
                      <a:pt x="1506" y="1942"/>
                    </a:lnTo>
                    <a:lnTo>
                      <a:pt x="1502" y="1940"/>
                    </a:lnTo>
                    <a:lnTo>
                      <a:pt x="1496" y="1940"/>
                    </a:lnTo>
                    <a:lnTo>
                      <a:pt x="1496" y="1940"/>
                    </a:lnTo>
                    <a:lnTo>
                      <a:pt x="1493" y="1938"/>
                    </a:lnTo>
                    <a:lnTo>
                      <a:pt x="1491" y="1932"/>
                    </a:lnTo>
                    <a:lnTo>
                      <a:pt x="1488" y="1923"/>
                    </a:lnTo>
                    <a:lnTo>
                      <a:pt x="1487" y="1912"/>
                    </a:lnTo>
                    <a:lnTo>
                      <a:pt x="1488" y="1908"/>
                    </a:lnTo>
                    <a:lnTo>
                      <a:pt x="1489" y="1904"/>
                    </a:lnTo>
                    <a:lnTo>
                      <a:pt x="1489" y="1902"/>
                    </a:lnTo>
                    <a:lnTo>
                      <a:pt x="1487" y="1905"/>
                    </a:lnTo>
                    <a:lnTo>
                      <a:pt x="1487" y="1908"/>
                    </a:lnTo>
                    <a:lnTo>
                      <a:pt x="1484" y="1910"/>
                    </a:lnTo>
                    <a:lnTo>
                      <a:pt x="1484" y="1910"/>
                    </a:lnTo>
                    <a:lnTo>
                      <a:pt x="1484" y="1914"/>
                    </a:lnTo>
                    <a:lnTo>
                      <a:pt x="1484" y="1919"/>
                    </a:lnTo>
                    <a:lnTo>
                      <a:pt x="1483" y="1919"/>
                    </a:lnTo>
                    <a:lnTo>
                      <a:pt x="1477" y="1916"/>
                    </a:lnTo>
                    <a:lnTo>
                      <a:pt x="1477" y="1910"/>
                    </a:lnTo>
                    <a:lnTo>
                      <a:pt x="1473" y="1908"/>
                    </a:lnTo>
                    <a:lnTo>
                      <a:pt x="1472" y="1910"/>
                    </a:lnTo>
                    <a:lnTo>
                      <a:pt x="1472" y="1910"/>
                    </a:lnTo>
                    <a:lnTo>
                      <a:pt x="1473" y="1913"/>
                    </a:lnTo>
                    <a:lnTo>
                      <a:pt x="1474" y="1916"/>
                    </a:lnTo>
                    <a:lnTo>
                      <a:pt x="1473" y="1923"/>
                    </a:lnTo>
                    <a:lnTo>
                      <a:pt x="1473" y="1923"/>
                    </a:lnTo>
                    <a:lnTo>
                      <a:pt x="1473" y="1923"/>
                    </a:lnTo>
                    <a:lnTo>
                      <a:pt x="1472" y="1916"/>
                    </a:lnTo>
                    <a:lnTo>
                      <a:pt x="1472" y="1916"/>
                    </a:lnTo>
                    <a:lnTo>
                      <a:pt x="1472" y="1912"/>
                    </a:lnTo>
                    <a:lnTo>
                      <a:pt x="1470" y="1909"/>
                    </a:lnTo>
                    <a:lnTo>
                      <a:pt x="1472" y="1908"/>
                    </a:lnTo>
                    <a:lnTo>
                      <a:pt x="1468" y="1906"/>
                    </a:lnTo>
                    <a:lnTo>
                      <a:pt x="1468" y="1906"/>
                    </a:lnTo>
                    <a:lnTo>
                      <a:pt x="1466" y="1902"/>
                    </a:lnTo>
                    <a:lnTo>
                      <a:pt x="1465" y="1900"/>
                    </a:lnTo>
                    <a:lnTo>
                      <a:pt x="1466" y="1897"/>
                    </a:lnTo>
                    <a:lnTo>
                      <a:pt x="1466" y="1897"/>
                    </a:lnTo>
                    <a:lnTo>
                      <a:pt x="1465" y="1890"/>
                    </a:lnTo>
                    <a:lnTo>
                      <a:pt x="1461" y="1885"/>
                    </a:lnTo>
                    <a:lnTo>
                      <a:pt x="1461" y="1885"/>
                    </a:lnTo>
                    <a:lnTo>
                      <a:pt x="1454" y="1881"/>
                    </a:lnTo>
                    <a:lnTo>
                      <a:pt x="1455" y="1881"/>
                    </a:lnTo>
                    <a:lnTo>
                      <a:pt x="1455" y="1879"/>
                    </a:lnTo>
                    <a:lnTo>
                      <a:pt x="1449" y="1876"/>
                    </a:lnTo>
                    <a:lnTo>
                      <a:pt x="1445" y="1879"/>
                    </a:lnTo>
                    <a:lnTo>
                      <a:pt x="1443" y="1879"/>
                    </a:lnTo>
                    <a:lnTo>
                      <a:pt x="1443" y="1879"/>
                    </a:lnTo>
                    <a:lnTo>
                      <a:pt x="1446" y="1876"/>
                    </a:lnTo>
                    <a:lnTo>
                      <a:pt x="1447" y="1874"/>
                    </a:lnTo>
                    <a:lnTo>
                      <a:pt x="1453" y="1871"/>
                    </a:lnTo>
                    <a:lnTo>
                      <a:pt x="1453" y="1866"/>
                    </a:lnTo>
                    <a:lnTo>
                      <a:pt x="1455" y="1866"/>
                    </a:lnTo>
                    <a:lnTo>
                      <a:pt x="1455" y="1866"/>
                    </a:lnTo>
                    <a:lnTo>
                      <a:pt x="1457" y="1864"/>
                    </a:lnTo>
                    <a:lnTo>
                      <a:pt x="1459" y="1863"/>
                    </a:lnTo>
                    <a:lnTo>
                      <a:pt x="1461" y="1864"/>
                    </a:lnTo>
                    <a:lnTo>
                      <a:pt x="1461" y="1866"/>
                    </a:lnTo>
                    <a:lnTo>
                      <a:pt x="1461" y="1866"/>
                    </a:lnTo>
                    <a:lnTo>
                      <a:pt x="1458" y="1868"/>
                    </a:lnTo>
                    <a:lnTo>
                      <a:pt x="1457" y="1871"/>
                    </a:lnTo>
                    <a:lnTo>
                      <a:pt x="1457" y="1871"/>
                    </a:lnTo>
                    <a:lnTo>
                      <a:pt x="1458" y="1875"/>
                    </a:lnTo>
                    <a:lnTo>
                      <a:pt x="1458" y="1879"/>
                    </a:lnTo>
                    <a:lnTo>
                      <a:pt x="1462" y="1881"/>
                    </a:lnTo>
                    <a:lnTo>
                      <a:pt x="1462" y="1883"/>
                    </a:lnTo>
                    <a:lnTo>
                      <a:pt x="1464" y="1883"/>
                    </a:lnTo>
                    <a:lnTo>
                      <a:pt x="1468" y="1878"/>
                    </a:lnTo>
                    <a:lnTo>
                      <a:pt x="1473" y="1875"/>
                    </a:lnTo>
                    <a:lnTo>
                      <a:pt x="1473" y="1875"/>
                    </a:lnTo>
                    <a:lnTo>
                      <a:pt x="1478" y="1876"/>
                    </a:lnTo>
                    <a:lnTo>
                      <a:pt x="1484" y="1876"/>
                    </a:lnTo>
                    <a:lnTo>
                      <a:pt x="1489" y="1876"/>
                    </a:lnTo>
                    <a:lnTo>
                      <a:pt x="1492" y="1878"/>
                    </a:lnTo>
                    <a:lnTo>
                      <a:pt x="1493" y="1881"/>
                    </a:lnTo>
                    <a:lnTo>
                      <a:pt x="1493" y="1882"/>
                    </a:lnTo>
                    <a:lnTo>
                      <a:pt x="1492" y="1883"/>
                    </a:lnTo>
                    <a:lnTo>
                      <a:pt x="1500" y="1882"/>
                    </a:lnTo>
                    <a:lnTo>
                      <a:pt x="1500" y="1882"/>
                    </a:lnTo>
                    <a:lnTo>
                      <a:pt x="1497" y="1878"/>
                    </a:lnTo>
                    <a:lnTo>
                      <a:pt x="1497" y="1872"/>
                    </a:lnTo>
                    <a:lnTo>
                      <a:pt x="1496" y="1863"/>
                    </a:lnTo>
                    <a:lnTo>
                      <a:pt x="1496" y="1863"/>
                    </a:lnTo>
                    <a:lnTo>
                      <a:pt x="1497" y="1856"/>
                    </a:lnTo>
                    <a:lnTo>
                      <a:pt x="1499" y="1849"/>
                    </a:lnTo>
                    <a:lnTo>
                      <a:pt x="1502" y="1841"/>
                    </a:lnTo>
                    <a:lnTo>
                      <a:pt x="1504" y="1836"/>
                    </a:lnTo>
                    <a:lnTo>
                      <a:pt x="1504" y="1836"/>
                    </a:lnTo>
                    <a:lnTo>
                      <a:pt x="1508" y="1832"/>
                    </a:lnTo>
                    <a:lnTo>
                      <a:pt x="1512" y="1826"/>
                    </a:lnTo>
                    <a:lnTo>
                      <a:pt x="1512" y="1826"/>
                    </a:lnTo>
                    <a:lnTo>
                      <a:pt x="1544" y="1775"/>
                    </a:lnTo>
                    <a:lnTo>
                      <a:pt x="1544" y="1775"/>
                    </a:lnTo>
                    <a:lnTo>
                      <a:pt x="1549" y="1768"/>
                    </a:lnTo>
                    <a:lnTo>
                      <a:pt x="1549" y="1768"/>
                    </a:lnTo>
                    <a:lnTo>
                      <a:pt x="1557" y="1748"/>
                    </a:lnTo>
                    <a:lnTo>
                      <a:pt x="1557" y="1745"/>
                    </a:lnTo>
                    <a:lnTo>
                      <a:pt x="1554" y="1744"/>
                    </a:lnTo>
                    <a:lnTo>
                      <a:pt x="1554" y="1735"/>
                    </a:lnTo>
                    <a:lnTo>
                      <a:pt x="1552" y="1733"/>
                    </a:lnTo>
                    <a:lnTo>
                      <a:pt x="1552" y="1733"/>
                    </a:lnTo>
                    <a:lnTo>
                      <a:pt x="1550" y="1727"/>
                    </a:lnTo>
                    <a:lnTo>
                      <a:pt x="1552" y="1722"/>
                    </a:lnTo>
                    <a:lnTo>
                      <a:pt x="1552" y="1722"/>
                    </a:lnTo>
                    <a:lnTo>
                      <a:pt x="1549" y="1718"/>
                    </a:lnTo>
                    <a:lnTo>
                      <a:pt x="1548" y="1714"/>
                    </a:lnTo>
                    <a:lnTo>
                      <a:pt x="1548" y="1714"/>
                    </a:lnTo>
                    <a:lnTo>
                      <a:pt x="1546" y="1711"/>
                    </a:lnTo>
                    <a:lnTo>
                      <a:pt x="1545" y="1707"/>
                    </a:lnTo>
                    <a:lnTo>
                      <a:pt x="1545" y="1701"/>
                    </a:lnTo>
                    <a:lnTo>
                      <a:pt x="1546" y="1699"/>
                    </a:lnTo>
                    <a:lnTo>
                      <a:pt x="1545" y="1697"/>
                    </a:lnTo>
                    <a:lnTo>
                      <a:pt x="1545" y="1697"/>
                    </a:lnTo>
                    <a:lnTo>
                      <a:pt x="1548" y="1691"/>
                    </a:lnTo>
                    <a:lnTo>
                      <a:pt x="1552" y="1684"/>
                    </a:lnTo>
                    <a:lnTo>
                      <a:pt x="1552" y="1684"/>
                    </a:lnTo>
                    <a:lnTo>
                      <a:pt x="1552" y="1680"/>
                    </a:lnTo>
                    <a:lnTo>
                      <a:pt x="1552" y="1680"/>
                    </a:lnTo>
                    <a:lnTo>
                      <a:pt x="1560" y="1664"/>
                    </a:lnTo>
                    <a:lnTo>
                      <a:pt x="1564" y="1657"/>
                    </a:lnTo>
                    <a:lnTo>
                      <a:pt x="1571" y="1651"/>
                    </a:lnTo>
                    <a:lnTo>
                      <a:pt x="1571" y="1647"/>
                    </a:lnTo>
                    <a:lnTo>
                      <a:pt x="1571" y="1647"/>
                    </a:lnTo>
                    <a:lnTo>
                      <a:pt x="1575" y="1643"/>
                    </a:lnTo>
                    <a:lnTo>
                      <a:pt x="1576" y="1642"/>
                    </a:lnTo>
                    <a:lnTo>
                      <a:pt x="1577" y="1639"/>
                    </a:lnTo>
                    <a:lnTo>
                      <a:pt x="1575" y="1638"/>
                    </a:lnTo>
                    <a:lnTo>
                      <a:pt x="1575" y="1634"/>
                    </a:lnTo>
                    <a:lnTo>
                      <a:pt x="1577" y="1631"/>
                    </a:lnTo>
                    <a:lnTo>
                      <a:pt x="1577" y="1627"/>
                    </a:lnTo>
                    <a:lnTo>
                      <a:pt x="1579" y="1626"/>
                    </a:lnTo>
                    <a:lnTo>
                      <a:pt x="1576" y="1624"/>
                    </a:lnTo>
                    <a:lnTo>
                      <a:pt x="1576" y="1624"/>
                    </a:lnTo>
                    <a:lnTo>
                      <a:pt x="1576" y="1619"/>
                    </a:lnTo>
                    <a:lnTo>
                      <a:pt x="1576" y="1615"/>
                    </a:lnTo>
                    <a:lnTo>
                      <a:pt x="1576" y="1611"/>
                    </a:lnTo>
                    <a:lnTo>
                      <a:pt x="1579" y="1605"/>
                    </a:lnTo>
                    <a:lnTo>
                      <a:pt x="1577" y="1605"/>
                    </a:lnTo>
                    <a:lnTo>
                      <a:pt x="1577" y="1600"/>
                    </a:lnTo>
                    <a:lnTo>
                      <a:pt x="1577" y="1600"/>
                    </a:lnTo>
                    <a:lnTo>
                      <a:pt x="1580" y="1594"/>
                    </a:lnTo>
                    <a:lnTo>
                      <a:pt x="1586" y="1590"/>
                    </a:lnTo>
                    <a:lnTo>
                      <a:pt x="1586" y="1590"/>
                    </a:lnTo>
                    <a:lnTo>
                      <a:pt x="1586" y="1586"/>
                    </a:lnTo>
                    <a:lnTo>
                      <a:pt x="1587" y="1582"/>
                    </a:lnTo>
                    <a:lnTo>
                      <a:pt x="1592" y="1574"/>
                    </a:lnTo>
                    <a:lnTo>
                      <a:pt x="1601" y="1569"/>
                    </a:lnTo>
                    <a:lnTo>
                      <a:pt x="1607" y="1564"/>
                    </a:lnTo>
                    <a:lnTo>
                      <a:pt x="1607" y="1563"/>
                    </a:lnTo>
                    <a:lnTo>
                      <a:pt x="1606" y="1560"/>
                    </a:lnTo>
                    <a:lnTo>
                      <a:pt x="1606" y="1560"/>
                    </a:lnTo>
                    <a:lnTo>
                      <a:pt x="1605" y="1559"/>
                    </a:lnTo>
                    <a:lnTo>
                      <a:pt x="1606" y="1556"/>
                    </a:lnTo>
                    <a:lnTo>
                      <a:pt x="1606" y="1556"/>
                    </a:lnTo>
                    <a:lnTo>
                      <a:pt x="1609" y="1547"/>
                    </a:lnTo>
                    <a:lnTo>
                      <a:pt x="1614" y="1539"/>
                    </a:lnTo>
                    <a:lnTo>
                      <a:pt x="1614" y="1539"/>
                    </a:lnTo>
                    <a:lnTo>
                      <a:pt x="1614" y="1533"/>
                    </a:lnTo>
                    <a:lnTo>
                      <a:pt x="1615" y="1529"/>
                    </a:lnTo>
                    <a:lnTo>
                      <a:pt x="1621" y="1524"/>
                    </a:lnTo>
                    <a:lnTo>
                      <a:pt x="1620" y="1521"/>
                    </a:lnTo>
                    <a:lnTo>
                      <a:pt x="1620" y="1521"/>
                    </a:lnTo>
                    <a:lnTo>
                      <a:pt x="1622" y="1518"/>
                    </a:lnTo>
                    <a:lnTo>
                      <a:pt x="1624" y="1514"/>
                    </a:lnTo>
                    <a:lnTo>
                      <a:pt x="1624" y="1508"/>
                    </a:lnTo>
                    <a:lnTo>
                      <a:pt x="1626" y="1505"/>
                    </a:lnTo>
                    <a:lnTo>
                      <a:pt x="1626" y="1502"/>
                    </a:lnTo>
                    <a:lnTo>
                      <a:pt x="1629" y="1501"/>
                    </a:lnTo>
                    <a:lnTo>
                      <a:pt x="1629" y="1498"/>
                    </a:lnTo>
                    <a:lnTo>
                      <a:pt x="1626" y="1495"/>
                    </a:lnTo>
                    <a:lnTo>
                      <a:pt x="1621" y="1494"/>
                    </a:lnTo>
                    <a:lnTo>
                      <a:pt x="1617" y="1489"/>
                    </a:lnTo>
                    <a:lnTo>
                      <a:pt x="1615" y="1489"/>
                    </a:lnTo>
                    <a:lnTo>
                      <a:pt x="1615" y="1489"/>
                    </a:lnTo>
                    <a:lnTo>
                      <a:pt x="1614" y="1487"/>
                    </a:lnTo>
                    <a:lnTo>
                      <a:pt x="1613" y="1484"/>
                    </a:lnTo>
                    <a:lnTo>
                      <a:pt x="1613" y="1484"/>
                    </a:lnTo>
                    <a:lnTo>
                      <a:pt x="1610" y="1474"/>
                    </a:lnTo>
                    <a:lnTo>
                      <a:pt x="1610" y="1463"/>
                    </a:lnTo>
                    <a:lnTo>
                      <a:pt x="1611" y="1452"/>
                    </a:lnTo>
                    <a:lnTo>
                      <a:pt x="1614" y="1442"/>
                    </a:lnTo>
                    <a:lnTo>
                      <a:pt x="1614" y="1442"/>
                    </a:lnTo>
                    <a:lnTo>
                      <a:pt x="1615" y="1437"/>
                    </a:lnTo>
                    <a:lnTo>
                      <a:pt x="1615" y="1437"/>
                    </a:lnTo>
                    <a:lnTo>
                      <a:pt x="1615" y="1429"/>
                    </a:lnTo>
                    <a:lnTo>
                      <a:pt x="1614" y="1419"/>
                    </a:lnTo>
                    <a:lnTo>
                      <a:pt x="1614" y="1417"/>
                    </a:lnTo>
                    <a:lnTo>
                      <a:pt x="1614" y="1417"/>
                    </a:lnTo>
                    <a:lnTo>
                      <a:pt x="1613" y="1403"/>
                    </a:lnTo>
                    <a:lnTo>
                      <a:pt x="1613" y="1403"/>
                    </a:lnTo>
                    <a:lnTo>
                      <a:pt x="1613" y="1399"/>
                    </a:lnTo>
                    <a:lnTo>
                      <a:pt x="1610" y="1396"/>
                    </a:lnTo>
                    <a:lnTo>
                      <a:pt x="1607" y="1389"/>
                    </a:lnTo>
                    <a:lnTo>
                      <a:pt x="1607" y="1389"/>
                    </a:lnTo>
                    <a:lnTo>
                      <a:pt x="1606" y="1385"/>
                    </a:lnTo>
                    <a:lnTo>
                      <a:pt x="1606" y="1385"/>
                    </a:lnTo>
                    <a:lnTo>
                      <a:pt x="1601" y="1377"/>
                    </a:lnTo>
                    <a:lnTo>
                      <a:pt x="1601" y="1373"/>
                    </a:lnTo>
                    <a:lnTo>
                      <a:pt x="1601" y="1370"/>
                    </a:lnTo>
                    <a:lnTo>
                      <a:pt x="1602" y="1369"/>
                    </a:lnTo>
                    <a:lnTo>
                      <a:pt x="1602" y="1365"/>
                    </a:lnTo>
                    <a:lnTo>
                      <a:pt x="1601" y="1364"/>
                    </a:lnTo>
                    <a:lnTo>
                      <a:pt x="1601" y="1364"/>
                    </a:lnTo>
                    <a:lnTo>
                      <a:pt x="1601" y="1360"/>
                    </a:lnTo>
                    <a:lnTo>
                      <a:pt x="1599" y="1357"/>
                    </a:lnTo>
                    <a:lnTo>
                      <a:pt x="1594" y="1354"/>
                    </a:lnTo>
                    <a:lnTo>
                      <a:pt x="1594" y="1354"/>
                    </a:lnTo>
                    <a:lnTo>
                      <a:pt x="1591" y="1345"/>
                    </a:lnTo>
                    <a:lnTo>
                      <a:pt x="1590" y="1335"/>
                    </a:lnTo>
                    <a:lnTo>
                      <a:pt x="1590" y="1335"/>
                    </a:lnTo>
                    <a:lnTo>
                      <a:pt x="1587" y="1328"/>
                    </a:lnTo>
                    <a:lnTo>
                      <a:pt x="1587" y="1320"/>
                    </a:lnTo>
                    <a:lnTo>
                      <a:pt x="1588" y="1318"/>
                    </a:lnTo>
                    <a:lnTo>
                      <a:pt x="1590" y="1314"/>
                    </a:lnTo>
                    <a:lnTo>
                      <a:pt x="1591" y="1311"/>
                    </a:lnTo>
                    <a:lnTo>
                      <a:pt x="1595" y="1309"/>
                    </a:lnTo>
                    <a:lnTo>
                      <a:pt x="1595" y="1309"/>
                    </a:lnTo>
                    <a:lnTo>
                      <a:pt x="1592" y="1304"/>
                    </a:lnTo>
                    <a:lnTo>
                      <a:pt x="1588" y="1299"/>
                    </a:lnTo>
                    <a:lnTo>
                      <a:pt x="1584" y="1299"/>
                    </a:lnTo>
                    <a:lnTo>
                      <a:pt x="1584" y="1299"/>
                    </a:lnTo>
                    <a:lnTo>
                      <a:pt x="1582" y="1295"/>
                    </a:lnTo>
                    <a:lnTo>
                      <a:pt x="1577" y="1292"/>
                    </a:lnTo>
                    <a:lnTo>
                      <a:pt x="1573" y="1293"/>
                    </a:lnTo>
                    <a:lnTo>
                      <a:pt x="1573" y="1293"/>
                    </a:lnTo>
                    <a:lnTo>
                      <a:pt x="1568" y="1292"/>
                    </a:lnTo>
                    <a:lnTo>
                      <a:pt x="1563" y="1289"/>
                    </a:lnTo>
                    <a:lnTo>
                      <a:pt x="1558" y="1285"/>
                    </a:lnTo>
                    <a:lnTo>
                      <a:pt x="1554" y="1282"/>
                    </a:lnTo>
                    <a:lnTo>
                      <a:pt x="1554" y="1282"/>
                    </a:lnTo>
                    <a:lnTo>
                      <a:pt x="1553" y="1276"/>
                    </a:lnTo>
                    <a:lnTo>
                      <a:pt x="1552" y="1271"/>
                    </a:lnTo>
                    <a:lnTo>
                      <a:pt x="1550" y="1269"/>
                    </a:lnTo>
                    <a:lnTo>
                      <a:pt x="1552" y="1267"/>
                    </a:lnTo>
                    <a:lnTo>
                      <a:pt x="1557" y="1269"/>
                    </a:lnTo>
                    <a:lnTo>
                      <a:pt x="1561" y="1267"/>
                    </a:lnTo>
                    <a:lnTo>
                      <a:pt x="1561" y="1266"/>
                    </a:lnTo>
                    <a:lnTo>
                      <a:pt x="1545" y="1262"/>
                    </a:lnTo>
                    <a:lnTo>
                      <a:pt x="1545" y="1261"/>
                    </a:lnTo>
                    <a:lnTo>
                      <a:pt x="1554" y="1262"/>
                    </a:lnTo>
                    <a:lnTo>
                      <a:pt x="1557" y="1258"/>
                    </a:lnTo>
                    <a:lnTo>
                      <a:pt x="1550" y="1257"/>
                    </a:lnTo>
                    <a:lnTo>
                      <a:pt x="1550" y="1255"/>
                    </a:lnTo>
                    <a:lnTo>
                      <a:pt x="1544" y="1254"/>
                    </a:lnTo>
                    <a:lnTo>
                      <a:pt x="1546" y="1252"/>
                    </a:lnTo>
                    <a:lnTo>
                      <a:pt x="1558" y="1255"/>
                    </a:lnTo>
                    <a:lnTo>
                      <a:pt x="1558" y="1255"/>
                    </a:lnTo>
                    <a:lnTo>
                      <a:pt x="1561" y="1254"/>
                    </a:lnTo>
                    <a:lnTo>
                      <a:pt x="1564" y="1252"/>
                    </a:lnTo>
                    <a:lnTo>
                      <a:pt x="1567" y="1247"/>
                    </a:lnTo>
                    <a:lnTo>
                      <a:pt x="1571" y="1243"/>
                    </a:lnTo>
                    <a:lnTo>
                      <a:pt x="1575" y="1239"/>
                    </a:lnTo>
                    <a:lnTo>
                      <a:pt x="1582" y="1236"/>
                    </a:lnTo>
                    <a:lnTo>
                      <a:pt x="1582" y="1236"/>
                    </a:lnTo>
                    <a:lnTo>
                      <a:pt x="1584" y="1236"/>
                    </a:lnTo>
                    <a:lnTo>
                      <a:pt x="1587" y="1236"/>
                    </a:lnTo>
                    <a:lnTo>
                      <a:pt x="1587" y="1236"/>
                    </a:lnTo>
                    <a:lnTo>
                      <a:pt x="1588" y="1236"/>
                    </a:lnTo>
                    <a:lnTo>
                      <a:pt x="1591" y="1238"/>
                    </a:lnTo>
                    <a:lnTo>
                      <a:pt x="1591" y="1238"/>
                    </a:lnTo>
                    <a:lnTo>
                      <a:pt x="1591" y="1243"/>
                    </a:lnTo>
                    <a:lnTo>
                      <a:pt x="1592" y="1246"/>
                    </a:lnTo>
                    <a:lnTo>
                      <a:pt x="1598" y="1252"/>
                    </a:lnTo>
                    <a:lnTo>
                      <a:pt x="1601" y="1252"/>
                    </a:lnTo>
                    <a:lnTo>
                      <a:pt x="1601" y="1252"/>
                    </a:lnTo>
                    <a:lnTo>
                      <a:pt x="1603" y="1251"/>
                    </a:lnTo>
                    <a:lnTo>
                      <a:pt x="1606" y="1251"/>
                    </a:lnTo>
                    <a:lnTo>
                      <a:pt x="1609" y="1252"/>
                    </a:lnTo>
                    <a:lnTo>
                      <a:pt x="1609" y="1250"/>
                    </a:lnTo>
                    <a:lnTo>
                      <a:pt x="1609" y="1250"/>
                    </a:lnTo>
                    <a:lnTo>
                      <a:pt x="1611" y="1244"/>
                    </a:lnTo>
                    <a:lnTo>
                      <a:pt x="1611" y="1242"/>
                    </a:lnTo>
                    <a:lnTo>
                      <a:pt x="1611" y="1239"/>
                    </a:lnTo>
                    <a:lnTo>
                      <a:pt x="1610" y="1238"/>
                    </a:lnTo>
                    <a:lnTo>
                      <a:pt x="1610" y="1238"/>
                    </a:lnTo>
                    <a:lnTo>
                      <a:pt x="1598" y="1235"/>
                    </a:lnTo>
                    <a:lnTo>
                      <a:pt x="1587" y="1232"/>
                    </a:lnTo>
                    <a:lnTo>
                      <a:pt x="1586" y="1233"/>
                    </a:lnTo>
                    <a:lnTo>
                      <a:pt x="1586" y="1233"/>
                    </a:lnTo>
                    <a:lnTo>
                      <a:pt x="1580" y="1225"/>
                    </a:lnTo>
                    <a:lnTo>
                      <a:pt x="1579" y="1219"/>
                    </a:lnTo>
                    <a:lnTo>
                      <a:pt x="1582" y="1219"/>
                    </a:lnTo>
                    <a:lnTo>
                      <a:pt x="1582" y="1219"/>
                    </a:lnTo>
                    <a:lnTo>
                      <a:pt x="1582" y="1223"/>
                    </a:lnTo>
                    <a:lnTo>
                      <a:pt x="1584" y="1227"/>
                    </a:lnTo>
                    <a:lnTo>
                      <a:pt x="1586" y="1228"/>
                    </a:lnTo>
                    <a:lnTo>
                      <a:pt x="1587" y="1227"/>
                    </a:lnTo>
                    <a:lnTo>
                      <a:pt x="1587" y="1227"/>
                    </a:lnTo>
                    <a:lnTo>
                      <a:pt x="1586" y="1223"/>
                    </a:lnTo>
                    <a:lnTo>
                      <a:pt x="1584" y="1219"/>
                    </a:lnTo>
                    <a:lnTo>
                      <a:pt x="1584" y="1212"/>
                    </a:lnTo>
                    <a:lnTo>
                      <a:pt x="1583" y="1205"/>
                    </a:lnTo>
                    <a:lnTo>
                      <a:pt x="1580" y="1202"/>
                    </a:lnTo>
                    <a:lnTo>
                      <a:pt x="1577" y="1198"/>
                    </a:lnTo>
                    <a:lnTo>
                      <a:pt x="1577" y="1198"/>
                    </a:lnTo>
                    <a:lnTo>
                      <a:pt x="1572" y="1198"/>
                    </a:lnTo>
                    <a:lnTo>
                      <a:pt x="1571" y="1197"/>
                    </a:lnTo>
                    <a:lnTo>
                      <a:pt x="1568" y="1196"/>
                    </a:lnTo>
                    <a:lnTo>
                      <a:pt x="1568" y="1196"/>
                    </a:lnTo>
                    <a:lnTo>
                      <a:pt x="1565" y="1196"/>
                    </a:lnTo>
                    <a:lnTo>
                      <a:pt x="1560" y="1193"/>
                    </a:lnTo>
                    <a:lnTo>
                      <a:pt x="1556" y="1191"/>
                    </a:lnTo>
                    <a:lnTo>
                      <a:pt x="1553" y="1189"/>
                    </a:lnTo>
                    <a:lnTo>
                      <a:pt x="1554" y="1189"/>
                    </a:lnTo>
                    <a:lnTo>
                      <a:pt x="1558" y="1189"/>
                    </a:lnTo>
                    <a:lnTo>
                      <a:pt x="1567" y="1186"/>
                    </a:lnTo>
                    <a:lnTo>
                      <a:pt x="1571" y="1187"/>
                    </a:lnTo>
                    <a:lnTo>
                      <a:pt x="1573" y="1186"/>
                    </a:lnTo>
                    <a:lnTo>
                      <a:pt x="1572" y="1183"/>
                    </a:lnTo>
                    <a:lnTo>
                      <a:pt x="1575" y="1183"/>
                    </a:lnTo>
                    <a:lnTo>
                      <a:pt x="1580" y="1187"/>
                    </a:lnTo>
                    <a:lnTo>
                      <a:pt x="1580" y="1187"/>
                    </a:lnTo>
                    <a:lnTo>
                      <a:pt x="1577" y="1190"/>
                    </a:lnTo>
                    <a:lnTo>
                      <a:pt x="1575" y="1194"/>
                    </a:lnTo>
                    <a:lnTo>
                      <a:pt x="1576" y="1197"/>
                    </a:lnTo>
                    <a:lnTo>
                      <a:pt x="1580" y="1197"/>
                    </a:lnTo>
                    <a:lnTo>
                      <a:pt x="1580" y="1197"/>
                    </a:lnTo>
                    <a:lnTo>
                      <a:pt x="1582" y="1193"/>
                    </a:lnTo>
                    <a:lnTo>
                      <a:pt x="1583" y="1187"/>
                    </a:lnTo>
                    <a:lnTo>
                      <a:pt x="1586" y="1182"/>
                    </a:lnTo>
                    <a:lnTo>
                      <a:pt x="1592" y="1175"/>
                    </a:lnTo>
                    <a:lnTo>
                      <a:pt x="1592" y="1175"/>
                    </a:lnTo>
                    <a:lnTo>
                      <a:pt x="1592" y="1172"/>
                    </a:lnTo>
                    <a:lnTo>
                      <a:pt x="1590" y="1171"/>
                    </a:lnTo>
                    <a:lnTo>
                      <a:pt x="1590" y="1171"/>
                    </a:lnTo>
                    <a:lnTo>
                      <a:pt x="1588" y="1167"/>
                    </a:lnTo>
                    <a:lnTo>
                      <a:pt x="1584" y="1163"/>
                    </a:lnTo>
                    <a:lnTo>
                      <a:pt x="1583" y="1162"/>
                    </a:lnTo>
                    <a:lnTo>
                      <a:pt x="1582" y="1163"/>
                    </a:lnTo>
                    <a:lnTo>
                      <a:pt x="1583" y="1167"/>
                    </a:lnTo>
                    <a:lnTo>
                      <a:pt x="1582" y="1168"/>
                    </a:lnTo>
                    <a:lnTo>
                      <a:pt x="1575" y="1167"/>
                    </a:lnTo>
                    <a:lnTo>
                      <a:pt x="1575" y="1167"/>
                    </a:lnTo>
                    <a:lnTo>
                      <a:pt x="1572" y="1168"/>
                    </a:lnTo>
                    <a:lnTo>
                      <a:pt x="1569" y="1168"/>
                    </a:lnTo>
                    <a:lnTo>
                      <a:pt x="1568" y="1168"/>
                    </a:lnTo>
                    <a:lnTo>
                      <a:pt x="1567" y="1167"/>
                    </a:lnTo>
                    <a:lnTo>
                      <a:pt x="1573" y="1162"/>
                    </a:lnTo>
                    <a:lnTo>
                      <a:pt x="1573" y="1162"/>
                    </a:lnTo>
                    <a:lnTo>
                      <a:pt x="1577" y="1162"/>
                    </a:lnTo>
                    <a:lnTo>
                      <a:pt x="1583" y="1159"/>
                    </a:lnTo>
                    <a:lnTo>
                      <a:pt x="1588" y="1162"/>
                    </a:lnTo>
                    <a:lnTo>
                      <a:pt x="1594" y="1156"/>
                    </a:lnTo>
                    <a:lnTo>
                      <a:pt x="1594" y="1156"/>
                    </a:lnTo>
                    <a:lnTo>
                      <a:pt x="1596" y="1156"/>
                    </a:lnTo>
                    <a:lnTo>
                      <a:pt x="1599" y="1156"/>
                    </a:lnTo>
                    <a:lnTo>
                      <a:pt x="1601" y="1155"/>
                    </a:lnTo>
                    <a:lnTo>
                      <a:pt x="1596" y="1152"/>
                    </a:lnTo>
                    <a:lnTo>
                      <a:pt x="1596" y="1152"/>
                    </a:lnTo>
                    <a:lnTo>
                      <a:pt x="1596" y="1147"/>
                    </a:lnTo>
                    <a:lnTo>
                      <a:pt x="1599" y="1143"/>
                    </a:lnTo>
                    <a:lnTo>
                      <a:pt x="1599" y="1143"/>
                    </a:lnTo>
                    <a:lnTo>
                      <a:pt x="1599" y="1137"/>
                    </a:lnTo>
                    <a:lnTo>
                      <a:pt x="1598" y="1133"/>
                    </a:lnTo>
                    <a:lnTo>
                      <a:pt x="1596" y="1129"/>
                    </a:lnTo>
                    <a:lnTo>
                      <a:pt x="1592" y="1126"/>
                    </a:lnTo>
                    <a:lnTo>
                      <a:pt x="1590" y="1118"/>
                    </a:lnTo>
                    <a:lnTo>
                      <a:pt x="1592" y="1115"/>
                    </a:lnTo>
                    <a:lnTo>
                      <a:pt x="1591" y="1114"/>
                    </a:lnTo>
                    <a:lnTo>
                      <a:pt x="1588" y="1117"/>
                    </a:lnTo>
                    <a:lnTo>
                      <a:pt x="1588" y="1117"/>
                    </a:lnTo>
                    <a:lnTo>
                      <a:pt x="1583" y="1115"/>
                    </a:lnTo>
                    <a:lnTo>
                      <a:pt x="1579" y="1114"/>
                    </a:lnTo>
                    <a:lnTo>
                      <a:pt x="1576" y="1114"/>
                    </a:lnTo>
                    <a:lnTo>
                      <a:pt x="1573" y="1113"/>
                    </a:lnTo>
                    <a:lnTo>
                      <a:pt x="1573" y="1113"/>
                    </a:lnTo>
                    <a:lnTo>
                      <a:pt x="1569" y="1107"/>
                    </a:lnTo>
                    <a:lnTo>
                      <a:pt x="1568" y="1101"/>
                    </a:lnTo>
                    <a:lnTo>
                      <a:pt x="1563" y="1099"/>
                    </a:lnTo>
                    <a:lnTo>
                      <a:pt x="1558" y="1087"/>
                    </a:lnTo>
                    <a:lnTo>
                      <a:pt x="1552" y="1086"/>
                    </a:lnTo>
                    <a:lnTo>
                      <a:pt x="1549" y="1083"/>
                    </a:lnTo>
                    <a:lnTo>
                      <a:pt x="1549" y="1083"/>
                    </a:lnTo>
                    <a:lnTo>
                      <a:pt x="1549" y="1077"/>
                    </a:lnTo>
                    <a:lnTo>
                      <a:pt x="1546" y="1071"/>
                    </a:lnTo>
                    <a:lnTo>
                      <a:pt x="1541" y="1058"/>
                    </a:lnTo>
                    <a:lnTo>
                      <a:pt x="1541" y="1058"/>
                    </a:lnTo>
                    <a:lnTo>
                      <a:pt x="1539" y="1045"/>
                    </a:lnTo>
                    <a:lnTo>
                      <a:pt x="1538" y="1038"/>
                    </a:lnTo>
                    <a:lnTo>
                      <a:pt x="1538" y="1031"/>
                    </a:lnTo>
                    <a:lnTo>
                      <a:pt x="1534" y="1027"/>
                    </a:lnTo>
                    <a:lnTo>
                      <a:pt x="1533" y="1027"/>
                    </a:lnTo>
                    <a:lnTo>
                      <a:pt x="1533" y="1027"/>
                    </a:lnTo>
                    <a:lnTo>
                      <a:pt x="1527" y="1030"/>
                    </a:lnTo>
                    <a:lnTo>
                      <a:pt x="1520" y="1033"/>
                    </a:lnTo>
                    <a:lnTo>
                      <a:pt x="1512" y="1034"/>
                    </a:lnTo>
                    <a:lnTo>
                      <a:pt x="1507" y="1033"/>
                    </a:lnTo>
                    <a:lnTo>
                      <a:pt x="1507" y="1033"/>
                    </a:lnTo>
                    <a:lnTo>
                      <a:pt x="1523" y="1029"/>
                    </a:lnTo>
                    <a:lnTo>
                      <a:pt x="1530" y="1022"/>
                    </a:lnTo>
                    <a:lnTo>
                      <a:pt x="1535" y="1026"/>
                    </a:lnTo>
                    <a:lnTo>
                      <a:pt x="1535" y="1026"/>
                    </a:lnTo>
                    <a:lnTo>
                      <a:pt x="1538" y="1016"/>
                    </a:lnTo>
                    <a:lnTo>
                      <a:pt x="1538" y="1016"/>
                    </a:lnTo>
                    <a:lnTo>
                      <a:pt x="1538" y="1007"/>
                    </a:lnTo>
                    <a:lnTo>
                      <a:pt x="1538" y="1007"/>
                    </a:lnTo>
                    <a:lnTo>
                      <a:pt x="1541" y="999"/>
                    </a:lnTo>
                    <a:lnTo>
                      <a:pt x="1542" y="995"/>
                    </a:lnTo>
                    <a:lnTo>
                      <a:pt x="1542" y="991"/>
                    </a:lnTo>
                    <a:lnTo>
                      <a:pt x="1542" y="991"/>
                    </a:lnTo>
                    <a:lnTo>
                      <a:pt x="1546" y="988"/>
                    </a:lnTo>
                    <a:lnTo>
                      <a:pt x="1549" y="985"/>
                    </a:lnTo>
                    <a:lnTo>
                      <a:pt x="1548" y="984"/>
                    </a:lnTo>
                    <a:lnTo>
                      <a:pt x="1548" y="984"/>
                    </a:lnTo>
                    <a:lnTo>
                      <a:pt x="1541" y="983"/>
                    </a:lnTo>
                    <a:lnTo>
                      <a:pt x="1537" y="980"/>
                    </a:lnTo>
                    <a:lnTo>
                      <a:pt x="1534" y="977"/>
                    </a:lnTo>
                    <a:lnTo>
                      <a:pt x="1534" y="977"/>
                    </a:lnTo>
                    <a:lnTo>
                      <a:pt x="1533" y="972"/>
                    </a:lnTo>
                    <a:lnTo>
                      <a:pt x="1533" y="966"/>
                    </a:lnTo>
                    <a:lnTo>
                      <a:pt x="1533" y="966"/>
                    </a:lnTo>
                    <a:lnTo>
                      <a:pt x="1534" y="962"/>
                    </a:lnTo>
                    <a:lnTo>
                      <a:pt x="1535" y="958"/>
                    </a:lnTo>
                    <a:lnTo>
                      <a:pt x="1535" y="958"/>
                    </a:lnTo>
                    <a:lnTo>
                      <a:pt x="1537" y="951"/>
                    </a:lnTo>
                    <a:lnTo>
                      <a:pt x="1538" y="947"/>
                    </a:lnTo>
                    <a:lnTo>
                      <a:pt x="1541" y="946"/>
                    </a:lnTo>
                    <a:lnTo>
                      <a:pt x="1541" y="943"/>
                    </a:lnTo>
                    <a:lnTo>
                      <a:pt x="1539" y="943"/>
                    </a:lnTo>
                    <a:lnTo>
                      <a:pt x="1534" y="942"/>
                    </a:lnTo>
                    <a:lnTo>
                      <a:pt x="1531" y="939"/>
                    </a:lnTo>
                    <a:lnTo>
                      <a:pt x="1523" y="938"/>
                    </a:lnTo>
                    <a:lnTo>
                      <a:pt x="1519" y="934"/>
                    </a:lnTo>
                    <a:lnTo>
                      <a:pt x="1519" y="934"/>
                    </a:lnTo>
                    <a:lnTo>
                      <a:pt x="1515" y="934"/>
                    </a:lnTo>
                    <a:lnTo>
                      <a:pt x="1511" y="935"/>
                    </a:lnTo>
                    <a:lnTo>
                      <a:pt x="1511" y="935"/>
                    </a:lnTo>
                    <a:lnTo>
                      <a:pt x="1506" y="932"/>
                    </a:lnTo>
                    <a:lnTo>
                      <a:pt x="1500" y="928"/>
                    </a:lnTo>
                    <a:lnTo>
                      <a:pt x="1500" y="928"/>
                    </a:lnTo>
                    <a:lnTo>
                      <a:pt x="1495" y="919"/>
                    </a:lnTo>
                    <a:lnTo>
                      <a:pt x="1493" y="912"/>
                    </a:lnTo>
                    <a:lnTo>
                      <a:pt x="1492" y="904"/>
                    </a:lnTo>
                    <a:lnTo>
                      <a:pt x="1493" y="894"/>
                    </a:lnTo>
                    <a:lnTo>
                      <a:pt x="1493" y="894"/>
                    </a:lnTo>
                    <a:lnTo>
                      <a:pt x="1493" y="893"/>
                    </a:lnTo>
                    <a:lnTo>
                      <a:pt x="1491" y="892"/>
                    </a:lnTo>
                    <a:lnTo>
                      <a:pt x="1491" y="886"/>
                    </a:lnTo>
                    <a:lnTo>
                      <a:pt x="1493" y="885"/>
                    </a:lnTo>
                    <a:lnTo>
                      <a:pt x="1496" y="885"/>
                    </a:lnTo>
                    <a:lnTo>
                      <a:pt x="1496" y="885"/>
                    </a:lnTo>
                    <a:lnTo>
                      <a:pt x="1496" y="879"/>
                    </a:lnTo>
                    <a:lnTo>
                      <a:pt x="1497" y="877"/>
                    </a:lnTo>
                    <a:lnTo>
                      <a:pt x="1497" y="873"/>
                    </a:lnTo>
                    <a:lnTo>
                      <a:pt x="1496" y="871"/>
                    </a:lnTo>
                    <a:lnTo>
                      <a:pt x="1496" y="871"/>
                    </a:lnTo>
                    <a:lnTo>
                      <a:pt x="1497" y="867"/>
                    </a:lnTo>
                    <a:lnTo>
                      <a:pt x="1502" y="866"/>
                    </a:lnTo>
                    <a:lnTo>
                      <a:pt x="1504" y="862"/>
                    </a:lnTo>
                    <a:lnTo>
                      <a:pt x="1504" y="862"/>
                    </a:lnTo>
                    <a:lnTo>
                      <a:pt x="1504" y="858"/>
                    </a:lnTo>
                    <a:lnTo>
                      <a:pt x="1504" y="855"/>
                    </a:lnTo>
                    <a:lnTo>
                      <a:pt x="1502" y="852"/>
                    </a:lnTo>
                    <a:lnTo>
                      <a:pt x="1488" y="852"/>
                    </a:lnTo>
                    <a:lnTo>
                      <a:pt x="1487" y="851"/>
                    </a:lnTo>
                    <a:lnTo>
                      <a:pt x="1483" y="851"/>
                    </a:lnTo>
                    <a:lnTo>
                      <a:pt x="1483" y="850"/>
                    </a:lnTo>
                    <a:lnTo>
                      <a:pt x="1485" y="847"/>
                    </a:lnTo>
                    <a:lnTo>
                      <a:pt x="1485" y="850"/>
                    </a:lnTo>
                    <a:lnTo>
                      <a:pt x="1485" y="850"/>
                    </a:lnTo>
                    <a:lnTo>
                      <a:pt x="1493" y="850"/>
                    </a:lnTo>
                    <a:lnTo>
                      <a:pt x="1502" y="851"/>
                    </a:lnTo>
                    <a:lnTo>
                      <a:pt x="1502" y="851"/>
                    </a:lnTo>
                    <a:lnTo>
                      <a:pt x="1506" y="850"/>
                    </a:lnTo>
                    <a:lnTo>
                      <a:pt x="1510" y="848"/>
                    </a:lnTo>
                    <a:lnTo>
                      <a:pt x="1510" y="848"/>
                    </a:lnTo>
                    <a:lnTo>
                      <a:pt x="1516" y="850"/>
                    </a:lnTo>
                    <a:lnTo>
                      <a:pt x="1520" y="852"/>
                    </a:lnTo>
                    <a:lnTo>
                      <a:pt x="1523" y="856"/>
                    </a:lnTo>
                    <a:lnTo>
                      <a:pt x="1529" y="860"/>
                    </a:lnTo>
                    <a:lnTo>
                      <a:pt x="1529" y="860"/>
                    </a:lnTo>
                    <a:lnTo>
                      <a:pt x="1534" y="863"/>
                    </a:lnTo>
                    <a:lnTo>
                      <a:pt x="1537" y="866"/>
                    </a:lnTo>
                    <a:lnTo>
                      <a:pt x="1537" y="866"/>
                    </a:lnTo>
                    <a:lnTo>
                      <a:pt x="1544" y="867"/>
                    </a:lnTo>
                    <a:lnTo>
                      <a:pt x="1552" y="869"/>
                    </a:lnTo>
                    <a:lnTo>
                      <a:pt x="1552" y="869"/>
                    </a:lnTo>
                    <a:lnTo>
                      <a:pt x="1554" y="870"/>
                    </a:lnTo>
                    <a:lnTo>
                      <a:pt x="1558" y="871"/>
                    </a:lnTo>
                    <a:lnTo>
                      <a:pt x="1558" y="871"/>
                    </a:lnTo>
                    <a:lnTo>
                      <a:pt x="1564" y="871"/>
                    </a:lnTo>
                    <a:lnTo>
                      <a:pt x="1567" y="871"/>
                    </a:lnTo>
                    <a:lnTo>
                      <a:pt x="1568" y="873"/>
                    </a:lnTo>
                    <a:lnTo>
                      <a:pt x="1568" y="873"/>
                    </a:lnTo>
                    <a:lnTo>
                      <a:pt x="1573" y="871"/>
                    </a:lnTo>
                    <a:lnTo>
                      <a:pt x="1577" y="870"/>
                    </a:lnTo>
                    <a:lnTo>
                      <a:pt x="1577" y="870"/>
                    </a:lnTo>
                    <a:lnTo>
                      <a:pt x="1583" y="863"/>
                    </a:lnTo>
                    <a:lnTo>
                      <a:pt x="1591" y="859"/>
                    </a:lnTo>
                    <a:lnTo>
                      <a:pt x="1591" y="859"/>
                    </a:lnTo>
                    <a:lnTo>
                      <a:pt x="1590" y="855"/>
                    </a:lnTo>
                    <a:lnTo>
                      <a:pt x="1587" y="851"/>
                    </a:lnTo>
                    <a:lnTo>
                      <a:pt x="1582" y="846"/>
                    </a:lnTo>
                    <a:lnTo>
                      <a:pt x="1582" y="837"/>
                    </a:lnTo>
                    <a:lnTo>
                      <a:pt x="1576" y="840"/>
                    </a:lnTo>
                    <a:lnTo>
                      <a:pt x="1576" y="840"/>
                    </a:lnTo>
                    <a:lnTo>
                      <a:pt x="1572" y="839"/>
                    </a:lnTo>
                    <a:lnTo>
                      <a:pt x="1572" y="839"/>
                    </a:lnTo>
                    <a:lnTo>
                      <a:pt x="1565" y="832"/>
                    </a:lnTo>
                    <a:lnTo>
                      <a:pt x="1565" y="832"/>
                    </a:lnTo>
                    <a:lnTo>
                      <a:pt x="1563" y="831"/>
                    </a:lnTo>
                    <a:lnTo>
                      <a:pt x="1561" y="831"/>
                    </a:lnTo>
                    <a:lnTo>
                      <a:pt x="1560" y="829"/>
                    </a:lnTo>
                    <a:lnTo>
                      <a:pt x="1560" y="829"/>
                    </a:lnTo>
                    <a:lnTo>
                      <a:pt x="1558" y="824"/>
                    </a:lnTo>
                    <a:lnTo>
                      <a:pt x="1554" y="818"/>
                    </a:lnTo>
                    <a:lnTo>
                      <a:pt x="1554" y="818"/>
                    </a:lnTo>
                    <a:lnTo>
                      <a:pt x="1542" y="812"/>
                    </a:lnTo>
                    <a:lnTo>
                      <a:pt x="1542" y="812"/>
                    </a:lnTo>
                    <a:lnTo>
                      <a:pt x="1539" y="809"/>
                    </a:lnTo>
                    <a:lnTo>
                      <a:pt x="1538" y="806"/>
                    </a:lnTo>
                    <a:lnTo>
                      <a:pt x="1535" y="802"/>
                    </a:lnTo>
                    <a:lnTo>
                      <a:pt x="1533" y="799"/>
                    </a:lnTo>
                    <a:lnTo>
                      <a:pt x="1526" y="793"/>
                    </a:lnTo>
                    <a:lnTo>
                      <a:pt x="1525" y="793"/>
                    </a:lnTo>
                    <a:lnTo>
                      <a:pt x="1520" y="790"/>
                    </a:lnTo>
                    <a:lnTo>
                      <a:pt x="1515" y="793"/>
                    </a:lnTo>
                    <a:lnTo>
                      <a:pt x="1514" y="799"/>
                    </a:lnTo>
                    <a:lnTo>
                      <a:pt x="1508" y="801"/>
                    </a:lnTo>
                    <a:lnTo>
                      <a:pt x="1504" y="801"/>
                    </a:lnTo>
                    <a:lnTo>
                      <a:pt x="1504" y="795"/>
                    </a:lnTo>
                    <a:lnTo>
                      <a:pt x="1503" y="791"/>
                    </a:lnTo>
                    <a:lnTo>
                      <a:pt x="1500" y="789"/>
                    </a:lnTo>
                    <a:lnTo>
                      <a:pt x="1497" y="790"/>
                    </a:lnTo>
                    <a:lnTo>
                      <a:pt x="1492" y="790"/>
                    </a:lnTo>
                    <a:lnTo>
                      <a:pt x="1495" y="809"/>
                    </a:lnTo>
                    <a:lnTo>
                      <a:pt x="1495" y="813"/>
                    </a:lnTo>
                    <a:lnTo>
                      <a:pt x="1491" y="816"/>
                    </a:lnTo>
                    <a:lnTo>
                      <a:pt x="1488" y="816"/>
                    </a:lnTo>
                    <a:lnTo>
                      <a:pt x="1487" y="816"/>
                    </a:lnTo>
                    <a:lnTo>
                      <a:pt x="1483" y="820"/>
                    </a:lnTo>
                    <a:lnTo>
                      <a:pt x="1470" y="821"/>
                    </a:lnTo>
                    <a:lnTo>
                      <a:pt x="1468" y="822"/>
                    </a:lnTo>
                    <a:lnTo>
                      <a:pt x="1465" y="824"/>
                    </a:lnTo>
                    <a:lnTo>
                      <a:pt x="1464" y="822"/>
                    </a:lnTo>
                    <a:lnTo>
                      <a:pt x="1462" y="816"/>
                    </a:lnTo>
                    <a:lnTo>
                      <a:pt x="1459" y="814"/>
                    </a:lnTo>
                    <a:lnTo>
                      <a:pt x="1455" y="814"/>
                    </a:lnTo>
                    <a:lnTo>
                      <a:pt x="1453" y="817"/>
                    </a:lnTo>
                    <a:lnTo>
                      <a:pt x="1446" y="821"/>
                    </a:lnTo>
                    <a:lnTo>
                      <a:pt x="1440" y="825"/>
                    </a:lnTo>
                    <a:lnTo>
                      <a:pt x="1436" y="824"/>
                    </a:lnTo>
                    <a:lnTo>
                      <a:pt x="1435" y="824"/>
                    </a:lnTo>
                    <a:lnTo>
                      <a:pt x="1432" y="824"/>
                    </a:lnTo>
                    <a:lnTo>
                      <a:pt x="1428" y="827"/>
                    </a:lnTo>
                    <a:lnTo>
                      <a:pt x="1427" y="827"/>
                    </a:lnTo>
                    <a:lnTo>
                      <a:pt x="1423" y="828"/>
                    </a:lnTo>
                    <a:lnTo>
                      <a:pt x="1420" y="828"/>
                    </a:lnTo>
                    <a:lnTo>
                      <a:pt x="1417" y="827"/>
                    </a:lnTo>
                    <a:lnTo>
                      <a:pt x="1413" y="827"/>
                    </a:lnTo>
                    <a:lnTo>
                      <a:pt x="1411" y="827"/>
                    </a:lnTo>
                    <a:lnTo>
                      <a:pt x="1409" y="829"/>
                    </a:lnTo>
                    <a:lnTo>
                      <a:pt x="1409" y="831"/>
                    </a:lnTo>
                    <a:lnTo>
                      <a:pt x="1407" y="831"/>
                    </a:lnTo>
                    <a:lnTo>
                      <a:pt x="1407" y="831"/>
                    </a:lnTo>
                    <a:lnTo>
                      <a:pt x="1402" y="833"/>
                    </a:lnTo>
                    <a:lnTo>
                      <a:pt x="1401" y="833"/>
                    </a:lnTo>
                    <a:lnTo>
                      <a:pt x="1398" y="833"/>
                    </a:lnTo>
                    <a:lnTo>
                      <a:pt x="1394" y="829"/>
                    </a:lnTo>
                    <a:lnTo>
                      <a:pt x="1392" y="824"/>
                    </a:lnTo>
                    <a:lnTo>
                      <a:pt x="1385" y="817"/>
                    </a:lnTo>
                    <a:lnTo>
                      <a:pt x="1385" y="814"/>
                    </a:lnTo>
                    <a:lnTo>
                      <a:pt x="1385" y="814"/>
                    </a:lnTo>
                    <a:lnTo>
                      <a:pt x="1388" y="806"/>
                    </a:lnTo>
                    <a:lnTo>
                      <a:pt x="1386" y="802"/>
                    </a:lnTo>
                    <a:lnTo>
                      <a:pt x="1386" y="801"/>
                    </a:lnTo>
                    <a:lnTo>
                      <a:pt x="1388" y="802"/>
                    </a:lnTo>
                    <a:lnTo>
                      <a:pt x="1389" y="801"/>
                    </a:lnTo>
                    <a:lnTo>
                      <a:pt x="1390" y="799"/>
                    </a:lnTo>
                    <a:lnTo>
                      <a:pt x="1389" y="794"/>
                    </a:lnTo>
                    <a:lnTo>
                      <a:pt x="1388" y="791"/>
                    </a:lnTo>
                    <a:lnTo>
                      <a:pt x="1386" y="786"/>
                    </a:lnTo>
                    <a:lnTo>
                      <a:pt x="1389" y="780"/>
                    </a:lnTo>
                    <a:lnTo>
                      <a:pt x="1393" y="778"/>
                    </a:lnTo>
                    <a:lnTo>
                      <a:pt x="1393" y="772"/>
                    </a:lnTo>
                    <a:lnTo>
                      <a:pt x="1396" y="770"/>
                    </a:lnTo>
                    <a:lnTo>
                      <a:pt x="1397" y="761"/>
                    </a:lnTo>
                    <a:lnTo>
                      <a:pt x="1394" y="756"/>
                    </a:lnTo>
                    <a:lnTo>
                      <a:pt x="1385" y="741"/>
                    </a:lnTo>
                    <a:lnTo>
                      <a:pt x="1379" y="740"/>
                    </a:lnTo>
                    <a:lnTo>
                      <a:pt x="1374" y="736"/>
                    </a:lnTo>
                    <a:lnTo>
                      <a:pt x="1370" y="737"/>
                    </a:lnTo>
                    <a:lnTo>
                      <a:pt x="1367" y="742"/>
                    </a:lnTo>
                    <a:lnTo>
                      <a:pt x="1363" y="745"/>
                    </a:lnTo>
                    <a:lnTo>
                      <a:pt x="1358" y="747"/>
                    </a:lnTo>
                    <a:lnTo>
                      <a:pt x="1352" y="738"/>
                    </a:lnTo>
                    <a:lnTo>
                      <a:pt x="1345" y="736"/>
                    </a:lnTo>
                    <a:lnTo>
                      <a:pt x="1336" y="728"/>
                    </a:lnTo>
                    <a:lnTo>
                      <a:pt x="1335" y="723"/>
                    </a:lnTo>
                    <a:lnTo>
                      <a:pt x="1333" y="722"/>
                    </a:lnTo>
                    <a:lnTo>
                      <a:pt x="1331" y="722"/>
                    </a:lnTo>
                    <a:lnTo>
                      <a:pt x="1331" y="715"/>
                    </a:lnTo>
                    <a:lnTo>
                      <a:pt x="1329" y="713"/>
                    </a:lnTo>
                    <a:lnTo>
                      <a:pt x="1326" y="709"/>
                    </a:lnTo>
                    <a:lnTo>
                      <a:pt x="1324" y="703"/>
                    </a:lnTo>
                    <a:lnTo>
                      <a:pt x="1326" y="698"/>
                    </a:lnTo>
                    <a:lnTo>
                      <a:pt x="1325" y="696"/>
                    </a:lnTo>
                    <a:lnTo>
                      <a:pt x="1317" y="695"/>
                    </a:lnTo>
                    <a:lnTo>
                      <a:pt x="1314" y="694"/>
                    </a:lnTo>
                    <a:lnTo>
                      <a:pt x="1310" y="690"/>
                    </a:lnTo>
                    <a:lnTo>
                      <a:pt x="1310" y="690"/>
                    </a:lnTo>
                    <a:lnTo>
                      <a:pt x="1307" y="687"/>
                    </a:lnTo>
                    <a:lnTo>
                      <a:pt x="1309" y="683"/>
                    </a:lnTo>
                    <a:lnTo>
                      <a:pt x="1312" y="681"/>
                    </a:lnTo>
                    <a:lnTo>
                      <a:pt x="1314" y="681"/>
                    </a:lnTo>
                    <a:lnTo>
                      <a:pt x="1316" y="681"/>
                    </a:lnTo>
                    <a:lnTo>
                      <a:pt x="1317" y="679"/>
                    </a:lnTo>
                    <a:lnTo>
                      <a:pt x="1314" y="666"/>
                    </a:lnTo>
                    <a:lnTo>
                      <a:pt x="1312" y="664"/>
                    </a:lnTo>
                    <a:lnTo>
                      <a:pt x="1312" y="658"/>
                    </a:lnTo>
                    <a:lnTo>
                      <a:pt x="1312" y="656"/>
                    </a:lnTo>
                    <a:lnTo>
                      <a:pt x="1309" y="652"/>
                    </a:lnTo>
                    <a:lnTo>
                      <a:pt x="1307" y="643"/>
                    </a:lnTo>
                    <a:lnTo>
                      <a:pt x="1306" y="642"/>
                    </a:lnTo>
                    <a:lnTo>
                      <a:pt x="1303" y="642"/>
                    </a:lnTo>
                    <a:lnTo>
                      <a:pt x="1302" y="643"/>
                    </a:lnTo>
                    <a:lnTo>
                      <a:pt x="1298" y="643"/>
                    </a:lnTo>
                    <a:lnTo>
                      <a:pt x="1298" y="638"/>
                    </a:lnTo>
                    <a:lnTo>
                      <a:pt x="1295" y="628"/>
                    </a:lnTo>
                    <a:lnTo>
                      <a:pt x="1288" y="626"/>
                    </a:lnTo>
                    <a:lnTo>
                      <a:pt x="1283" y="619"/>
                    </a:lnTo>
                    <a:lnTo>
                      <a:pt x="1279" y="618"/>
                    </a:lnTo>
                    <a:lnTo>
                      <a:pt x="1278" y="614"/>
                    </a:lnTo>
                    <a:lnTo>
                      <a:pt x="1275" y="611"/>
                    </a:lnTo>
                    <a:lnTo>
                      <a:pt x="1272" y="608"/>
                    </a:lnTo>
                    <a:lnTo>
                      <a:pt x="1271" y="608"/>
                    </a:lnTo>
                    <a:lnTo>
                      <a:pt x="1268" y="608"/>
                    </a:lnTo>
                    <a:lnTo>
                      <a:pt x="1265" y="607"/>
                    </a:lnTo>
                    <a:lnTo>
                      <a:pt x="1259" y="604"/>
                    </a:lnTo>
                    <a:lnTo>
                      <a:pt x="1255" y="600"/>
                    </a:lnTo>
                    <a:lnTo>
                      <a:pt x="1252" y="600"/>
                    </a:lnTo>
                    <a:lnTo>
                      <a:pt x="1245" y="604"/>
                    </a:lnTo>
                    <a:lnTo>
                      <a:pt x="1236" y="623"/>
                    </a:lnTo>
                    <a:lnTo>
                      <a:pt x="1230" y="628"/>
                    </a:lnTo>
                    <a:lnTo>
                      <a:pt x="1229" y="631"/>
                    </a:lnTo>
                    <a:lnTo>
                      <a:pt x="1225" y="634"/>
                    </a:lnTo>
                    <a:lnTo>
                      <a:pt x="1226" y="637"/>
                    </a:lnTo>
                    <a:lnTo>
                      <a:pt x="1225" y="641"/>
                    </a:lnTo>
                    <a:lnTo>
                      <a:pt x="1219" y="643"/>
                    </a:lnTo>
                    <a:lnTo>
                      <a:pt x="1218" y="646"/>
                    </a:lnTo>
                    <a:lnTo>
                      <a:pt x="1214" y="647"/>
                    </a:lnTo>
                    <a:lnTo>
                      <a:pt x="1211" y="652"/>
                    </a:lnTo>
                    <a:lnTo>
                      <a:pt x="1210" y="652"/>
                    </a:lnTo>
                    <a:lnTo>
                      <a:pt x="1207" y="652"/>
                    </a:lnTo>
                    <a:lnTo>
                      <a:pt x="1202" y="653"/>
                    </a:lnTo>
                    <a:lnTo>
                      <a:pt x="1199" y="650"/>
                    </a:lnTo>
                    <a:lnTo>
                      <a:pt x="1196" y="652"/>
                    </a:lnTo>
                    <a:lnTo>
                      <a:pt x="1199" y="653"/>
                    </a:lnTo>
                    <a:lnTo>
                      <a:pt x="1200" y="665"/>
                    </a:lnTo>
                    <a:lnTo>
                      <a:pt x="1199" y="668"/>
                    </a:lnTo>
                    <a:lnTo>
                      <a:pt x="1195" y="669"/>
                    </a:lnTo>
                    <a:lnTo>
                      <a:pt x="1192" y="671"/>
                    </a:lnTo>
                    <a:lnTo>
                      <a:pt x="1189" y="672"/>
                    </a:lnTo>
                    <a:lnTo>
                      <a:pt x="1191" y="677"/>
                    </a:lnTo>
                    <a:lnTo>
                      <a:pt x="1198" y="680"/>
                    </a:lnTo>
                    <a:lnTo>
                      <a:pt x="1199" y="683"/>
                    </a:lnTo>
                    <a:lnTo>
                      <a:pt x="1198" y="685"/>
                    </a:lnTo>
                    <a:lnTo>
                      <a:pt x="1198" y="687"/>
                    </a:lnTo>
                    <a:lnTo>
                      <a:pt x="1200" y="690"/>
                    </a:lnTo>
                    <a:lnTo>
                      <a:pt x="1206" y="690"/>
                    </a:lnTo>
                    <a:lnTo>
                      <a:pt x="1207" y="691"/>
                    </a:lnTo>
                    <a:lnTo>
                      <a:pt x="1211" y="700"/>
                    </a:lnTo>
                    <a:lnTo>
                      <a:pt x="1213" y="702"/>
                    </a:lnTo>
                    <a:lnTo>
                      <a:pt x="1211" y="704"/>
                    </a:lnTo>
                    <a:lnTo>
                      <a:pt x="1208" y="707"/>
                    </a:lnTo>
                    <a:lnTo>
                      <a:pt x="1207" y="710"/>
                    </a:lnTo>
                    <a:lnTo>
                      <a:pt x="1211" y="711"/>
                    </a:lnTo>
                    <a:lnTo>
                      <a:pt x="1210" y="715"/>
                    </a:lnTo>
                    <a:lnTo>
                      <a:pt x="1211" y="719"/>
                    </a:lnTo>
                    <a:lnTo>
                      <a:pt x="1206" y="725"/>
                    </a:lnTo>
                    <a:lnTo>
                      <a:pt x="1199" y="723"/>
                    </a:lnTo>
                    <a:lnTo>
                      <a:pt x="1198" y="722"/>
                    </a:lnTo>
                    <a:lnTo>
                      <a:pt x="1198" y="721"/>
                    </a:lnTo>
                    <a:lnTo>
                      <a:pt x="1192" y="725"/>
                    </a:lnTo>
                    <a:lnTo>
                      <a:pt x="1188" y="728"/>
                    </a:lnTo>
                    <a:lnTo>
                      <a:pt x="1185" y="728"/>
                    </a:lnTo>
                    <a:lnTo>
                      <a:pt x="1184" y="728"/>
                    </a:lnTo>
                    <a:lnTo>
                      <a:pt x="1180" y="733"/>
                    </a:lnTo>
                    <a:lnTo>
                      <a:pt x="1176" y="732"/>
                    </a:lnTo>
                    <a:lnTo>
                      <a:pt x="1173" y="733"/>
                    </a:lnTo>
                    <a:lnTo>
                      <a:pt x="1175" y="734"/>
                    </a:lnTo>
                    <a:lnTo>
                      <a:pt x="1179" y="734"/>
                    </a:lnTo>
                    <a:lnTo>
                      <a:pt x="1179" y="737"/>
                    </a:lnTo>
                    <a:lnTo>
                      <a:pt x="1179" y="738"/>
                    </a:lnTo>
                    <a:lnTo>
                      <a:pt x="1173" y="740"/>
                    </a:lnTo>
                    <a:lnTo>
                      <a:pt x="1170" y="742"/>
                    </a:lnTo>
                    <a:lnTo>
                      <a:pt x="1170" y="748"/>
                    </a:lnTo>
                    <a:lnTo>
                      <a:pt x="1170" y="749"/>
                    </a:lnTo>
                    <a:lnTo>
                      <a:pt x="1175" y="752"/>
                    </a:lnTo>
                    <a:lnTo>
                      <a:pt x="1175" y="753"/>
                    </a:lnTo>
                    <a:lnTo>
                      <a:pt x="1176" y="755"/>
                    </a:lnTo>
                    <a:lnTo>
                      <a:pt x="1173" y="756"/>
                    </a:lnTo>
                    <a:lnTo>
                      <a:pt x="1172" y="760"/>
                    </a:lnTo>
                    <a:lnTo>
                      <a:pt x="1172" y="764"/>
                    </a:lnTo>
                    <a:lnTo>
                      <a:pt x="1170" y="767"/>
                    </a:lnTo>
                    <a:lnTo>
                      <a:pt x="1170" y="768"/>
                    </a:lnTo>
                    <a:lnTo>
                      <a:pt x="1169" y="770"/>
                    </a:lnTo>
                    <a:lnTo>
                      <a:pt x="1169" y="774"/>
                    </a:lnTo>
                    <a:lnTo>
                      <a:pt x="1164" y="780"/>
                    </a:lnTo>
                    <a:lnTo>
                      <a:pt x="1162" y="782"/>
                    </a:lnTo>
                    <a:lnTo>
                      <a:pt x="1160" y="784"/>
                    </a:lnTo>
                    <a:lnTo>
                      <a:pt x="1154" y="784"/>
                    </a:lnTo>
                    <a:lnTo>
                      <a:pt x="1154" y="784"/>
                    </a:lnTo>
                    <a:lnTo>
                      <a:pt x="1153" y="782"/>
                    </a:lnTo>
                    <a:lnTo>
                      <a:pt x="1151" y="779"/>
                    </a:lnTo>
                    <a:lnTo>
                      <a:pt x="1153" y="778"/>
                    </a:lnTo>
                    <a:lnTo>
                      <a:pt x="1157" y="778"/>
                    </a:lnTo>
                    <a:lnTo>
                      <a:pt x="1158" y="778"/>
                    </a:lnTo>
                    <a:lnTo>
                      <a:pt x="1160" y="776"/>
                    </a:lnTo>
                    <a:lnTo>
                      <a:pt x="1161" y="776"/>
                    </a:lnTo>
                    <a:lnTo>
                      <a:pt x="1161" y="774"/>
                    </a:lnTo>
                    <a:lnTo>
                      <a:pt x="1156" y="770"/>
                    </a:lnTo>
                    <a:lnTo>
                      <a:pt x="1161" y="765"/>
                    </a:lnTo>
                    <a:lnTo>
                      <a:pt x="1160" y="764"/>
                    </a:lnTo>
                    <a:lnTo>
                      <a:pt x="1160" y="763"/>
                    </a:lnTo>
                    <a:lnTo>
                      <a:pt x="1160" y="761"/>
                    </a:lnTo>
                    <a:lnTo>
                      <a:pt x="1161" y="759"/>
                    </a:lnTo>
                    <a:lnTo>
                      <a:pt x="1162" y="757"/>
                    </a:lnTo>
                    <a:lnTo>
                      <a:pt x="1162" y="755"/>
                    </a:lnTo>
                    <a:lnTo>
                      <a:pt x="1153" y="756"/>
                    </a:lnTo>
                    <a:lnTo>
                      <a:pt x="1143" y="770"/>
                    </a:lnTo>
                    <a:lnTo>
                      <a:pt x="1145" y="772"/>
                    </a:lnTo>
                    <a:lnTo>
                      <a:pt x="1145" y="774"/>
                    </a:lnTo>
                    <a:lnTo>
                      <a:pt x="1146" y="775"/>
                    </a:lnTo>
                    <a:lnTo>
                      <a:pt x="1147" y="776"/>
                    </a:lnTo>
                    <a:lnTo>
                      <a:pt x="1149" y="779"/>
                    </a:lnTo>
                    <a:lnTo>
                      <a:pt x="1149" y="782"/>
                    </a:lnTo>
                    <a:lnTo>
                      <a:pt x="1147" y="783"/>
                    </a:lnTo>
                    <a:lnTo>
                      <a:pt x="1147" y="784"/>
                    </a:lnTo>
                    <a:lnTo>
                      <a:pt x="1142" y="786"/>
                    </a:lnTo>
                    <a:lnTo>
                      <a:pt x="1141" y="784"/>
                    </a:lnTo>
                    <a:lnTo>
                      <a:pt x="1138" y="784"/>
                    </a:lnTo>
                    <a:lnTo>
                      <a:pt x="1137" y="782"/>
                    </a:lnTo>
                    <a:lnTo>
                      <a:pt x="1130" y="779"/>
                    </a:lnTo>
                    <a:lnTo>
                      <a:pt x="1130" y="779"/>
                    </a:lnTo>
                    <a:lnTo>
                      <a:pt x="1126" y="782"/>
                    </a:lnTo>
                    <a:lnTo>
                      <a:pt x="1126" y="783"/>
                    </a:lnTo>
                    <a:lnTo>
                      <a:pt x="1122" y="783"/>
                    </a:lnTo>
                    <a:lnTo>
                      <a:pt x="1122" y="782"/>
                    </a:lnTo>
                    <a:lnTo>
                      <a:pt x="1123" y="776"/>
                    </a:lnTo>
                    <a:lnTo>
                      <a:pt x="1128" y="774"/>
                    </a:lnTo>
                    <a:lnTo>
                      <a:pt x="1128" y="774"/>
                    </a:lnTo>
                    <a:lnTo>
                      <a:pt x="1128" y="772"/>
                    </a:lnTo>
                    <a:lnTo>
                      <a:pt x="1127" y="771"/>
                    </a:lnTo>
                    <a:lnTo>
                      <a:pt x="1124" y="771"/>
                    </a:lnTo>
                    <a:lnTo>
                      <a:pt x="1123" y="771"/>
                    </a:lnTo>
                    <a:lnTo>
                      <a:pt x="1119" y="772"/>
                    </a:lnTo>
                    <a:lnTo>
                      <a:pt x="1116" y="772"/>
                    </a:lnTo>
                    <a:lnTo>
                      <a:pt x="1115" y="774"/>
                    </a:lnTo>
                    <a:lnTo>
                      <a:pt x="1115" y="775"/>
                    </a:lnTo>
                    <a:lnTo>
                      <a:pt x="1112" y="775"/>
                    </a:lnTo>
                    <a:lnTo>
                      <a:pt x="1111" y="774"/>
                    </a:lnTo>
                    <a:lnTo>
                      <a:pt x="1111" y="770"/>
                    </a:lnTo>
                    <a:lnTo>
                      <a:pt x="1111" y="770"/>
                    </a:lnTo>
                    <a:lnTo>
                      <a:pt x="1112" y="768"/>
                    </a:lnTo>
                    <a:lnTo>
                      <a:pt x="1116" y="764"/>
                    </a:lnTo>
                    <a:lnTo>
                      <a:pt x="1115" y="764"/>
                    </a:lnTo>
                    <a:lnTo>
                      <a:pt x="1112" y="764"/>
                    </a:lnTo>
                    <a:lnTo>
                      <a:pt x="1108" y="765"/>
                    </a:lnTo>
                    <a:lnTo>
                      <a:pt x="1105" y="765"/>
                    </a:lnTo>
                    <a:lnTo>
                      <a:pt x="1104" y="767"/>
                    </a:lnTo>
                    <a:lnTo>
                      <a:pt x="1104" y="767"/>
                    </a:lnTo>
                    <a:lnTo>
                      <a:pt x="1101" y="768"/>
                    </a:lnTo>
                    <a:lnTo>
                      <a:pt x="1101" y="768"/>
                    </a:lnTo>
                    <a:lnTo>
                      <a:pt x="1100" y="768"/>
                    </a:lnTo>
                    <a:lnTo>
                      <a:pt x="1100" y="768"/>
                    </a:lnTo>
                    <a:lnTo>
                      <a:pt x="1099" y="770"/>
                    </a:lnTo>
                    <a:lnTo>
                      <a:pt x="1096" y="774"/>
                    </a:lnTo>
                    <a:lnTo>
                      <a:pt x="1093" y="778"/>
                    </a:lnTo>
                    <a:lnTo>
                      <a:pt x="1092" y="780"/>
                    </a:lnTo>
                    <a:lnTo>
                      <a:pt x="1090" y="782"/>
                    </a:lnTo>
                    <a:lnTo>
                      <a:pt x="1088" y="783"/>
                    </a:lnTo>
                    <a:lnTo>
                      <a:pt x="1085" y="783"/>
                    </a:lnTo>
                    <a:lnTo>
                      <a:pt x="1075" y="779"/>
                    </a:lnTo>
                    <a:lnTo>
                      <a:pt x="1071" y="776"/>
                    </a:lnTo>
                    <a:lnTo>
                      <a:pt x="1070" y="776"/>
                    </a:lnTo>
                    <a:lnTo>
                      <a:pt x="1069" y="776"/>
                    </a:lnTo>
                    <a:lnTo>
                      <a:pt x="1067" y="778"/>
                    </a:lnTo>
                    <a:lnTo>
                      <a:pt x="1065" y="782"/>
                    </a:lnTo>
                    <a:lnTo>
                      <a:pt x="1059" y="779"/>
                    </a:lnTo>
                    <a:lnTo>
                      <a:pt x="1058" y="779"/>
                    </a:lnTo>
                    <a:lnTo>
                      <a:pt x="1058" y="778"/>
                    </a:lnTo>
                    <a:lnTo>
                      <a:pt x="1054" y="772"/>
                    </a:lnTo>
                    <a:lnTo>
                      <a:pt x="1047" y="772"/>
                    </a:lnTo>
                    <a:lnTo>
                      <a:pt x="1043" y="770"/>
                    </a:lnTo>
                    <a:lnTo>
                      <a:pt x="1037" y="763"/>
                    </a:lnTo>
                    <a:lnTo>
                      <a:pt x="1036" y="756"/>
                    </a:lnTo>
                    <a:lnTo>
                      <a:pt x="1029" y="751"/>
                    </a:lnTo>
                    <a:lnTo>
                      <a:pt x="1025" y="744"/>
                    </a:lnTo>
                    <a:lnTo>
                      <a:pt x="1023" y="745"/>
                    </a:lnTo>
                    <a:lnTo>
                      <a:pt x="1020" y="748"/>
                    </a:lnTo>
                    <a:lnTo>
                      <a:pt x="1017" y="745"/>
                    </a:lnTo>
                    <a:lnTo>
                      <a:pt x="1014" y="733"/>
                    </a:lnTo>
                    <a:lnTo>
                      <a:pt x="1014" y="733"/>
                    </a:lnTo>
                    <a:lnTo>
                      <a:pt x="1014" y="733"/>
                    </a:lnTo>
                    <a:lnTo>
                      <a:pt x="1016" y="730"/>
                    </a:lnTo>
                    <a:lnTo>
                      <a:pt x="1014" y="732"/>
                    </a:lnTo>
                    <a:lnTo>
                      <a:pt x="1013" y="732"/>
                    </a:lnTo>
                    <a:lnTo>
                      <a:pt x="1012" y="733"/>
                    </a:lnTo>
                    <a:lnTo>
                      <a:pt x="1009" y="733"/>
                    </a:lnTo>
                    <a:lnTo>
                      <a:pt x="998" y="734"/>
                    </a:lnTo>
                    <a:lnTo>
                      <a:pt x="995" y="733"/>
                    </a:lnTo>
                    <a:lnTo>
                      <a:pt x="989" y="730"/>
                    </a:lnTo>
                    <a:lnTo>
                      <a:pt x="983" y="730"/>
                    </a:lnTo>
                    <a:lnTo>
                      <a:pt x="972" y="732"/>
                    </a:lnTo>
                    <a:lnTo>
                      <a:pt x="970" y="733"/>
                    </a:lnTo>
                    <a:lnTo>
                      <a:pt x="968" y="734"/>
                    </a:lnTo>
                    <a:lnTo>
                      <a:pt x="959" y="730"/>
                    </a:lnTo>
                    <a:lnTo>
                      <a:pt x="953" y="728"/>
                    </a:lnTo>
                    <a:lnTo>
                      <a:pt x="951" y="723"/>
                    </a:lnTo>
                    <a:lnTo>
                      <a:pt x="951" y="714"/>
                    </a:lnTo>
                    <a:lnTo>
                      <a:pt x="951" y="711"/>
                    </a:lnTo>
                    <a:lnTo>
                      <a:pt x="948" y="698"/>
                    </a:lnTo>
                    <a:lnTo>
                      <a:pt x="945" y="692"/>
                    </a:lnTo>
                    <a:lnTo>
                      <a:pt x="947" y="681"/>
                    </a:lnTo>
                    <a:lnTo>
                      <a:pt x="943" y="680"/>
                    </a:lnTo>
                    <a:lnTo>
                      <a:pt x="943" y="677"/>
                    </a:lnTo>
                    <a:lnTo>
                      <a:pt x="940" y="673"/>
                    </a:lnTo>
                    <a:lnTo>
                      <a:pt x="938" y="673"/>
                    </a:lnTo>
                    <a:lnTo>
                      <a:pt x="937" y="675"/>
                    </a:lnTo>
                    <a:lnTo>
                      <a:pt x="933" y="677"/>
                    </a:lnTo>
                    <a:lnTo>
                      <a:pt x="932" y="676"/>
                    </a:lnTo>
                    <a:lnTo>
                      <a:pt x="930" y="676"/>
                    </a:lnTo>
                    <a:lnTo>
                      <a:pt x="929" y="675"/>
                    </a:lnTo>
                    <a:lnTo>
                      <a:pt x="929" y="673"/>
                    </a:lnTo>
                    <a:lnTo>
                      <a:pt x="925" y="672"/>
                    </a:lnTo>
                    <a:lnTo>
                      <a:pt x="925" y="672"/>
                    </a:lnTo>
                    <a:lnTo>
                      <a:pt x="921" y="671"/>
                    </a:lnTo>
                    <a:lnTo>
                      <a:pt x="914" y="669"/>
                    </a:lnTo>
                    <a:lnTo>
                      <a:pt x="914" y="666"/>
                    </a:lnTo>
                    <a:lnTo>
                      <a:pt x="913" y="662"/>
                    </a:lnTo>
                    <a:lnTo>
                      <a:pt x="913" y="661"/>
                    </a:lnTo>
                    <a:lnTo>
                      <a:pt x="911" y="658"/>
                    </a:lnTo>
                    <a:lnTo>
                      <a:pt x="910" y="657"/>
                    </a:lnTo>
                    <a:lnTo>
                      <a:pt x="910" y="656"/>
                    </a:lnTo>
                    <a:lnTo>
                      <a:pt x="907" y="653"/>
                    </a:lnTo>
                    <a:lnTo>
                      <a:pt x="903" y="646"/>
                    </a:lnTo>
                    <a:lnTo>
                      <a:pt x="902" y="646"/>
                    </a:lnTo>
                    <a:lnTo>
                      <a:pt x="900" y="645"/>
                    </a:lnTo>
                    <a:lnTo>
                      <a:pt x="899" y="645"/>
                    </a:lnTo>
                    <a:lnTo>
                      <a:pt x="899" y="641"/>
                    </a:lnTo>
                    <a:lnTo>
                      <a:pt x="900" y="638"/>
                    </a:lnTo>
                    <a:lnTo>
                      <a:pt x="900" y="638"/>
                    </a:lnTo>
                    <a:lnTo>
                      <a:pt x="900" y="638"/>
                    </a:lnTo>
                    <a:lnTo>
                      <a:pt x="900" y="637"/>
                    </a:lnTo>
                    <a:lnTo>
                      <a:pt x="898" y="635"/>
                    </a:lnTo>
                    <a:lnTo>
                      <a:pt x="894" y="637"/>
                    </a:lnTo>
                    <a:lnTo>
                      <a:pt x="886" y="635"/>
                    </a:lnTo>
                    <a:lnTo>
                      <a:pt x="876" y="627"/>
                    </a:lnTo>
                    <a:lnTo>
                      <a:pt x="875" y="622"/>
                    </a:lnTo>
                    <a:lnTo>
                      <a:pt x="864" y="607"/>
                    </a:lnTo>
                    <a:lnTo>
                      <a:pt x="864" y="605"/>
                    </a:lnTo>
                    <a:lnTo>
                      <a:pt x="861" y="604"/>
                    </a:lnTo>
                    <a:lnTo>
                      <a:pt x="858" y="600"/>
                    </a:lnTo>
                    <a:lnTo>
                      <a:pt x="853" y="596"/>
                    </a:lnTo>
                    <a:lnTo>
                      <a:pt x="848" y="591"/>
                    </a:lnTo>
                    <a:lnTo>
                      <a:pt x="843" y="589"/>
                    </a:lnTo>
                    <a:lnTo>
                      <a:pt x="842" y="586"/>
                    </a:lnTo>
                    <a:lnTo>
                      <a:pt x="843" y="582"/>
                    </a:lnTo>
                    <a:lnTo>
                      <a:pt x="843" y="582"/>
                    </a:lnTo>
                    <a:lnTo>
                      <a:pt x="846" y="580"/>
                    </a:lnTo>
                    <a:lnTo>
                      <a:pt x="848" y="578"/>
                    </a:lnTo>
                    <a:lnTo>
                      <a:pt x="843" y="576"/>
                    </a:lnTo>
                    <a:lnTo>
                      <a:pt x="839" y="574"/>
                    </a:lnTo>
                    <a:lnTo>
                      <a:pt x="837" y="572"/>
                    </a:lnTo>
                    <a:lnTo>
                      <a:pt x="835" y="570"/>
                    </a:lnTo>
                    <a:lnTo>
                      <a:pt x="837" y="569"/>
                    </a:lnTo>
                    <a:lnTo>
                      <a:pt x="853" y="569"/>
                    </a:lnTo>
                    <a:lnTo>
                      <a:pt x="860" y="565"/>
                    </a:lnTo>
                    <a:lnTo>
                      <a:pt x="860" y="565"/>
                    </a:lnTo>
                    <a:lnTo>
                      <a:pt x="864" y="565"/>
                    </a:lnTo>
                    <a:lnTo>
                      <a:pt x="865" y="563"/>
                    </a:lnTo>
                    <a:lnTo>
                      <a:pt x="865" y="562"/>
                    </a:lnTo>
                    <a:lnTo>
                      <a:pt x="864" y="561"/>
                    </a:lnTo>
                    <a:lnTo>
                      <a:pt x="865" y="559"/>
                    </a:lnTo>
                    <a:lnTo>
                      <a:pt x="865" y="558"/>
                    </a:lnTo>
                    <a:lnTo>
                      <a:pt x="881" y="558"/>
                    </a:lnTo>
                    <a:lnTo>
                      <a:pt x="884" y="550"/>
                    </a:lnTo>
                    <a:lnTo>
                      <a:pt x="883" y="546"/>
                    </a:lnTo>
                    <a:lnTo>
                      <a:pt x="892" y="532"/>
                    </a:lnTo>
                    <a:lnTo>
                      <a:pt x="895" y="528"/>
                    </a:lnTo>
                    <a:lnTo>
                      <a:pt x="894" y="525"/>
                    </a:lnTo>
                    <a:lnTo>
                      <a:pt x="898" y="523"/>
                    </a:lnTo>
                    <a:lnTo>
                      <a:pt x="900" y="523"/>
                    </a:lnTo>
                    <a:lnTo>
                      <a:pt x="900" y="523"/>
                    </a:lnTo>
                    <a:lnTo>
                      <a:pt x="902" y="523"/>
                    </a:lnTo>
                    <a:lnTo>
                      <a:pt x="906" y="524"/>
                    </a:lnTo>
                    <a:lnTo>
                      <a:pt x="907" y="523"/>
                    </a:lnTo>
                    <a:lnTo>
                      <a:pt x="907" y="523"/>
                    </a:lnTo>
                    <a:lnTo>
                      <a:pt x="910" y="523"/>
                    </a:lnTo>
                    <a:lnTo>
                      <a:pt x="913" y="523"/>
                    </a:lnTo>
                    <a:lnTo>
                      <a:pt x="914" y="525"/>
                    </a:lnTo>
                    <a:lnTo>
                      <a:pt x="922" y="529"/>
                    </a:lnTo>
                    <a:lnTo>
                      <a:pt x="943" y="528"/>
                    </a:lnTo>
                    <a:lnTo>
                      <a:pt x="951" y="528"/>
                    </a:lnTo>
                    <a:lnTo>
                      <a:pt x="952" y="529"/>
                    </a:lnTo>
                    <a:lnTo>
                      <a:pt x="953" y="529"/>
                    </a:lnTo>
                    <a:lnTo>
                      <a:pt x="956" y="528"/>
                    </a:lnTo>
                    <a:lnTo>
                      <a:pt x="960" y="525"/>
                    </a:lnTo>
                    <a:lnTo>
                      <a:pt x="963" y="523"/>
                    </a:lnTo>
                    <a:lnTo>
                      <a:pt x="962" y="519"/>
                    </a:lnTo>
                    <a:lnTo>
                      <a:pt x="960" y="519"/>
                    </a:lnTo>
                    <a:lnTo>
                      <a:pt x="963" y="515"/>
                    </a:lnTo>
                    <a:lnTo>
                      <a:pt x="968" y="509"/>
                    </a:lnTo>
                    <a:lnTo>
                      <a:pt x="970" y="508"/>
                    </a:lnTo>
                    <a:lnTo>
                      <a:pt x="972" y="505"/>
                    </a:lnTo>
                    <a:lnTo>
                      <a:pt x="972" y="501"/>
                    </a:lnTo>
                    <a:lnTo>
                      <a:pt x="975" y="500"/>
                    </a:lnTo>
                    <a:lnTo>
                      <a:pt x="978" y="500"/>
                    </a:lnTo>
                    <a:lnTo>
                      <a:pt x="985" y="498"/>
                    </a:lnTo>
                    <a:lnTo>
                      <a:pt x="987" y="496"/>
                    </a:lnTo>
                    <a:lnTo>
                      <a:pt x="987" y="491"/>
                    </a:lnTo>
                    <a:lnTo>
                      <a:pt x="989" y="489"/>
                    </a:lnTo>
                    <a:lnTo>
                      <a:pt x="1001" y="486"/>
                    </a:lnTo>
                    <a:lnTo>
                      <a:pt x="1005" y="483"/>
                    </a:lnTo>
                    <a:lnTo>
                      <a:pt x="1010" y="482"/>
                    </a:lnTo>
                    <a:lnTo>
                      <a:pt x="1010" y="479"/>
                    </a:lnTo>
                    <a:lnTo>
                      <a:pt x="1008" y="474"/>
                    </a:lnTo>
                    <a:lnTo>
                      <a:pt x="1008" y="471"/>
                    </a:lnTo>
                    <a:lnTo>
                      <a:pt x="1006" y="468"/>
                    </a:lnTo>
                    <a:lnTo>
                      <a:pt x="999" y="472"/>
                    </a:lnTo>
                    <a:lnTo>
                      <a:pt x="994" y="477"/>
                    </a:lnTo>
                    <a:lnTo>
                      <a:pt x="987" y="474"/>
                    </a:lnTo>
                    <a:lnTo>
                      <a:pt x="983" y="475"/>
                    </a:lnTo>
                    <a:lnTo>
                      <a:pt x="978" y="468"/>
                    </a:lnTo>
                    <a:lnTo>
                      <a:pt x="974" y="468"/>
                    </a:lnTo>
                    <a:lnTo>
                      <a:pt x="968" y="463"/>
                    </a:lnTo>
                    <a:lnTo>
                      <a:pt x="966" y="466"/>
                    </a:lnTo>
                    <a:lnTo>
                      <a:pt x="962" y="468"/>
                    </a:lnTo>
                    <a:lnTo>
                      <a:pt x="957" y="467"/>
                    </a:lnTo>
                    <a:lnTo>
                      <a:pt x="956" y="468"/>
                    </a:lnTo>
                    <a:lnTo>
                      <a:pt x="955" y="470"/>
                    </a:lnTo>
                    <a:lnTo>
                      <a:pt x="953" y="467"/>
                    </a:lnTo>
                    <a:lnTo>
                      <a:pt x="952" y="463"/>
                    </a:lnTo>
                    <a:lnTo>
                      <a:pt x="952" y="463"/>
                    </a:lnTo>
                    <a:lnTo>
                      <a:pt x="949" y="456"/>
                    </a:lnTo>
                    <a:lnTo>
                      <a:pt x="947" y="453"/>
                    </a:lnTo>
                    <a:lnTo>
                      <a:pt x="937" y="452"/>
                    </a:lnTo>
                    <a:lnTo>
                      <a:pt x="933" y="449"/>
                    </a:lnTo>
                    <a:lnTo>
                      <a:pt x="932" y="445"/>
                    </a:lnTo>
                    <a:lnTo>
                      <a:pt x="930" y="441"/>
                    </a:lnTo>
                    <a:lnTo>
                      <a:pt x="933" y="439"/>
                    </a:lnTo>
                    <a:lnTo>
                      <a:pt x="934" y="436"/>
                    </a:lnTo>
                    <a:lnTo>
                      <a:pt x="934" y="432"/>
                    </a:lnTo>
                    <a:lnTo>
                      <a:pt x="933" y="430"/>
                    </a:lnTo>
                    <a:lnTo>
                      <a:pt x="930" y="430"/>
                    </a:lnTo>
                    <a:lnTo>
                      <a:pt x="930" y="426"/>
                    </a:lnTo>
                    <a:lnTo>
                      <a:pt x="936" y="425"/>
                    </a:lnTo>
                    <a:lnTo>
                      <a:pt x="940" y="424"/>
                    </a:lnTo>
                    <a:lnTo>
                      <a:pt x="943" y="425"/>
                    </a:lnTo>
                    <a:lnTo>
                      <a:pt x="945" y="422"/>
                    </a:lnTo>
                    <a:lnTo>
                      <a:pt x="951" y="413"/>
                    </a:lnTo>
                    <a:lnTo>
                      <a:pt x="953" y="409"/>
                    </a:lnTo>
                    <a:lnTo>
                      <a:pt x="963" y="405"/>
                    </a:lnTo>
                    <a:lnTo>
                      <a:pt x="967" y="405"/>
                    </a:lnTo>
                    <a:lnTo>
                      <a:pt x="967" y="406"/>
                    </a:lnTo>
                    <a:lnTo>
                      <a:pt x="967" y="407"/>
                    </a:lnTo>
                    <a:lnTo>
                      <a:pt x="971" y="414"/>
                    </a:lnTo>
                    <a:lnTo>
                      <a:pt x="979" y="416"/>
                    </a:lnTo>
                    <a:lnTo>
                      <a:pt x="982" y="422"/>
                    </a:lnTo>
                    <a:lnTo>
                      <a:pt x="986" y="424"/>
                    </a:lnTo>
                    <a:lnTo>
                      <a:pt x="993" y="422"/>
                    </a:lnTo>
                    <a:lnTo>
                      <a:pt x="993" y="422"/>
                    </a:lnTo>
                    <a:lnTo>
                      <a:pt x="995" y="420"/>
                    </a:lnTo>
                    <a:lnTo>
                      <a:pt x="998" y="416"/>
                    </a:lnTo>
                    <a:lnTo>
                      <a:pt x="1004" y="413"/>
                    </a:lnTo>
                    <a:lnTo>
                      <a:pt x="1014" y="409"/>
                    </a:lnTo>
                    <a:lnTo>
                      <a:pt x="1024" y="401"/>
                    </a:lnTo>
                    <a:lnTo>
                      <a:pt x="1032" y="395"/>
                    </a:lnTo>
                    <a:lnTo>
                      <a:pt x="1036" y="398"/>
                    </a:lnTo>
                    <a:lnTo>
                      <a:pt x="1048" y="399"/>
                    </a:lnTo>
                    <a:lnTo>
                      <a:pt x="1052" y="395"/>
                    </a:lnTo>
                    <a:lnTo>
                      <a:pt x="1056" y="397"/>
                    </a:lnTo>
                    <a:lnTo>
                      <a:pt x="1058" y="399"/>
                    </a:lnTo>
                    <a:lnTo>
                      <a:pt x="1061" y="398"/>
                    </a:lnTo>
                    <a:lnTo>
                      <a:pt x="1062" y="399"/>
                    </a:lnTo>
                    <a:lnTo>
                      <a:pt x="1063" y="401"/>
                    </a:lnTo>
                    <a:lnTo>
                      <a:pt x="1066" y="399"/>
                    </a:lnTo>
                    <a:lnTo>
                      <a:pt x="1067" y="398"/>
                    </a:lnTo>
                    <a:lnTo>
                      <a:pt x="1067" y="397"/>
                    </a:lnTo>
                    <a:lnTo>
                      <a:pt x="1065" y="390"/>
                    </a:lnTo>
                    <a:lnTo>
                      <a:pt x="1066" y="386"/>
                    </a:lnTo>
                    <a:lnTo>
                      <a:pt x="1065" y="373"/>
                    </a:lnTo>
                    <a:lnTo>
                      <a:pt x="1065" y="371"/>
                    </a:lnTo>
                    <a:lnTo>
                      <a:pt x="1065" y="369"/>
                    </a:lnTo>
                    <a:lnTo>
                      <a:pt x="1067" y="364"/>
                    </a:lnTo>
                    <a:lnTo>
                      <a:pt x="1073" y="359"/>
                    </a:lnTo>
                    <a:lnTo>
                      <a:pt x="1081" y="354"/>
                    </a:lnTo>
                    <a:lnTo>
                      <a:pt x="1082" y="353"/>
                    </a:lnTo>
                    <a:lnTo>
                      <a:pt x="1082" y="353"/>
                    </a:lnTo>
                    <a:lnTo>
                      <a:pt x="1089" y="348"/>
                    </a:lnTo>
                    <a:lnTo>
                      <a:pt x="1090" y="348"/>
                    </a:lnTo>
                    <a:lnTo>
                      <a:pt x="1090" y="346"/>
                    </a:lnTo>
                    <a:lnTo>
                      <a:pt x="1090" y="345"/>
                    </a:lnTo>
                    <a:lnTo>
                      <a:pt x="1090" y="345"/>
                    </a:lnTo>
                    <a:lnTo>
                      <a:pt x="1092" y="344"/>
                    </a:lnTo>
                    <a:lnTo>
                      <a:pt x="1093" y="341"/>
                    </a:lnTo>
                    <a:lnTo>
                      <a:pt x="1094" y="340"/>
                    </a:lnTo>
                    <a:lnTo>
                      <a:pt x="1094" y="335"/>
                    </a:lnTo>
                    <a:lnTo>
                      <a:pt x="1094" y="334"/>
                    </a:lnTo>
                    <a:lnTo>
                      <a:pt x="1096" y="333"/>
                    </a:lnTo>
                    <a:lnTo>
                      <a:pt x="1099" y="327"/>
                    </a:lnTo>
                    <a:lnTo>
                      <a:pt x="1099" y="323"/>
                    </a:lnTo>
                    <a:lnTo>
                      <a:pt x="1103" y="319"/>
                    </a:lnTo>
                    <a:lnTo>
                      <a:pt x="1103" y="311"/>
                    </a:lnTo>
                    <a:lnTo>
                      <a:pt x="1100" y="307"/>
                    </a:lnTo>
                    <a:lnTo>
                      <a:pt x="1100" y="304"/>
                    </a:lnTo>
                    <a:lnTo>
                      <a:pt x="1101" y="292"/>
                    </a:lnTo>
                    <a:lnTo>
                      <a:pt x="1100" y="284"/>
                    </a:lnTo>
                    <a:lnTo>
                      <a:pt x="1100" y="280"/>
                    </a:lnTo>
                    <a:lnTo>
                      <a:pt x="1101" y="279"/>
                    </a:lnTo>
                    <a:lnTo>
                      <a:pt x="1105" y="276"/>
                    </a:lnTo>
                    <a:lnTo>
                      <a:pt x="1112" y="273"/>
                    </a:lnTo>
                    <a:lnTo>
                      <a:pt x="1119" y="274"/>
                    </a:lnTo>
                    <a:lnTo>
                      <a:pt x="1119" y="272"/>
                    </a:lnTo>
                    <a:lnTo>
                      <a:pt x="1116" y="269"/>
                    </a:lnTo>
                    <a:lnTo>
                      <a:pt x="1118" y="265"/>
                    </a:lnTo>
                    <a:lnTo>
                      <a:pt x="1116" y="262"/>
                    </a:lnTo>
                    <a:lnTo>
                      <a:pt x="1118" y="260"/>
                    </a:lnTo>
                    <a:lnTo>
                      <a:pt x="1116" y="249"/>
                    </a:lnTo>
                    <a:lnTo>
                      <a:pt x="1120" y="243"/>
                    </a:lnTo>
                    <a:lnTo>
                      <a:pt x="1122" y="241"/>
                    </a:lnTo>
                    <a:lnTo>
                      <a:pt x="1119" y="236"/>
                    </a:lnTo>
                    <a:lnTo>
                      <a:pt x="1123" y="227"/>
                    </a:lnTo>
                    <a:lnTo>
                      <a:pt x="1127" y="224"/>
                    </a:lnTo>
                    <a:lnTo>
                      <a:pt x="1132" y="217"/>
                    </a:lnTo>
                    <a:lnTo>
                      <a:pt x="1135" y="213"/>
                    </a:lnTo>
                    <a:lnTo>
                      <a:pt x="1141" y="209"/>
                    </a:lnTo>
                    <a:lnTo>
                      <a:pt x="1142" y="208"/>
                    </a:lnTo>
                    <a:lnTo>
                      <a:pt x="1145" y="207"/>
                    </a:lnTo>
                    <a:lnTo>
                      <a:pt x="1150" y="211"/>
                    </a:lnTo>
                    <a:lnTo>
                      <a:pt x="1153" y="208"/>
                    </a:lnTo>
                    <a:lnTo>
                      <a:pt x="1156" y="207"/>
                    </a:lnTo>
                    <a:lnTo>
                      <a:pt x="1162" y="208"/>
                    </a:lnTo>
                    <a:lnTo>
                      <a:pt x="1165" y="207"/>
                    </a:lnTo>
                    <a:lnTo>
                      <a:pt x="1168" y="201"/>
                    </a:lnTo>
                    <a:lnTo>
                      <a:pt x="1168" y="198"/>
                    </a:lnTo>
                    <a:lnTo>
                      <a:pt x="1173" y="19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grpSp>
          <p:nvGrpSpPr>
            <p:cNvPr id="108" name="Group 107">
              <a:extLst>
                <a:ext uri="{FF2B5EF4-FFF2-40B4-BE49-F238E27FC236}">
                  <a16:creationId xmlns:a16="http://schemas.microsoft.com/office/drawing/2014/main" id="{EBF5440E-A3F6-4D35-882D-7B565964C3CE}"/>
                </a:ext>
              </a:extLst>
            </p:cNvPr>
            <p:cNvGrpSpPr/>
            <p:nvPr/>
          </p:nvGrpSpPr>
          <p:grpSpPr>
            <a:xfrm>
              <a:off x="1419225" y="1605031"/>
              <a:ext cx="1989138" cy="2338388"/>
              <a:chOff x="1419225" y="1605031"/>
              <a:chExt cx="1989138" cy="2338388"/>
            </a:xfrm>
            <a:grpFill/>
          </p:grpSpPr>
          <p:sp>
            <p:nvSpPr>
              <p:cNvPr id="111" name="Freeform 40">
                <a:extLst>
                  <a:ext uri="{FF2B5EF4-FFF2-40B4-BE49-F238E27FC236}">
                    <a16:creationId xmlns:a16="http://schemas.microsoft.com/office/drawing/2014/main" id="{E380B28F-C8D1-42D5-88E4-513760686253}"/>
                  </a:ext>
                </a:extLst>
              </p:cNvPr>
              <p:cNvSpPr>
                <a:spLocks/>
              </p:cNvSpPr>
              <p:nvPr/>
            </p:nvSpPr>
            <p:spPr bwMode="auto">
              <a:xfrm>
                <a:off x="3076575" y="1606619"/>
                <a:ext cx="12700" cy="31750"/>
              </a:xfrm>
              <a:custGeom>
                <a:avLst/>
                <a:gdLst>
                  <a:gd name="T0" fmla="*/ 9 w 17"/>
                  <a:gd name="T1" fmla="*/ 3 h 39"/>
                  <a:gd name="T2" fmla="*/ 11 w 17"/>
                  <a:gd name="T3" fmla="*/ 0 h 39"/>
                  <a:gd name="T4" fmla="*/ 17 w 17"/>
                  <a:gd name="T5" fmla="*/ 3 h 39"/>
                  <a:gd name="T6" fmla="*/ 17 w 17"/>
                  <a:gd name="T7" fmla="*/ 3 h 39"/>
                  <a:gd name="T8" fmla="*/ 17 w 17"/>
                  <a:gd name="T9" fmla="*/ 8 h 39"/>
                  <a:gd name="T10" fmla="*/ 15 w 17"/>
                  <a:gd name="T11" fmla="*/ 12 h 39"/>
                  <a:gd name="T12" fmla="*/ 11 w 17"/>
                  <a:gd name="T13" fmla="*/ 15 h 39"/>
                  <a:gd name="T14" fmla="*/ 13 w 17"/>
                  <a:gd name="T15" fmla="*/ 17 h 39"/>
                  <a:gd name="T16" fmla="*/ 10 w 17"/>
                  <a:gd name="T17" fmla="*/ 20 h 39"/>
                  <a:gd name="T18" fmla="*/ 10 w 17"/>
                  <a:gd name="T19" fmla="*/ 20 h 39"/>
                  <a:gd name="T20" fmla="*/ 11 w 17"/>
                  <a:gd name="T21" fmla="*/ 24 h 39"/>
                  <a:gd name="T22" fmla="*/ 13 w 17"/>
                  <a:gd name="T23" fmla="*/ 28 h 39"/>
                  <a:gd name="T24" fmla="*/ 13 w 17"/>
                  <a:gd name="T25" fmla="*/ 34 h 39"/>
                  <a:gd name="T26" fmla="*/ 11 w 17"/>
                  <a:gd name="T27" fmla="*/ 38 h 39"/>
                  <a:gd name="T28" fmla="*/ 9 w 17"/>
                  <a:gd name="T29" fmla="*/ 36 h 39"/>
                  <a:gd name="T30" fmla="*/ 7 w 17"/>
                  <a:gd name="T31" fmla="*/ 35 h 39"/>
                  <a:gd name="T32" fmla="*/ 6 w 17"/>
                  <a:gd name="T33" fmla="*/ 35 h 39"/>
                  <a:gd name="T34" fmla="*/ 3 w 17"/>
                  <a:gd name="T35" fmla="*/ 39 h 39"/>
                  <a:gd name="T36" fmla="*/ 2 w 17"/>
                  <a:gd name="T37" fmla="*/ 35 h 39"/>
                  <a:gd name="T38" fmla="*/ 2 w 17"/>
                  <a:gd name="T39" fmla="*/ 28 h 39"/>
                  <a:gd name="T40" fmla="*/ 0 w 17"/>
                  <a:gd name="T41" fmla="*/ 26 h 39"/>
                  <a:gd name="T42" fmla="*/ 0 w 17"/>
                  <a:gd name="T43" fmla="*/ 26 h 39"/>
                  <a:gd name="T44" fmla="*/ 2 w 17"/>
                  <a:gd name="T45" fmla="*/ 23 h 39"/>
                  <a:gd name="T46" fmla="*/ 3 w 17"/>
                  <a:gd name="T47" fmla="*/ 20 h 39"/>
                  <a:gd name="T48" fmla="*/ 6 w 17"/>
                  <a:gd name="T49" fmla="*/ 16 h 39"/>
                  <a:gd name="T50" fmla="*/ 6 w 17"/>
                  <a:gd name="T51" fmla="*/ 13 h 39"/>
                  <a:gd name="T52" fmla="*/ 6 w 17"/>
                  <a:gd name="T53" fmla="*/ 13 h 39"/>
                  <a:gd name="T54" fmla="*/ 7 w 17"/>
                  <a:gd name="T55" fmla="*/ 8 h 39"/>
                  <a:gd name="T56" fmla="*/ 9 w 17"/>
                  <a:gd name="T57" fmla="*/ 3 h 39"/>
                  <a:gd name="T58" fmla="*/ 9 w 17"/>
                  <a:gd name="T5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39">
                    <a:moveTo>
                      <a:pt x="9" y="3"/>
                    </a:moveTo>
                    <a:lnTo>
                      <a:pt x="11" y="0"/>
                    </a:lnTo>
                    <a:lnTo>
                      <a:pt x="17" y="3"/>
                    </a:lnTo>
                    <a:lnTo>
                      <a:pt x="17" y="3"/>
                    </a:lnTo>
                    <a:lnTo>
                      <a:pt x="17" y="8"/>
                    </a:lnTo>
                    <a:lnTo>
                      <a:pt x="15" y="12"/>
                    </a:lnTo>
                    <a:lnTo>
                      <a:pt x="11" y="15"/>
                    </a:lnTo>
                    <a:lnTo>
                      <a:pt x="13" y="17"/>
                    </a:lnTo>
                    <a:lnTo>
                      <a:pt x="10" y="20"/>
                    </a:lnTo>
                    <a:lnTo>
                      <a:pt x="10" y="20"/>
                    </a:lnTo>
                    <a:lnTo>
                      <a:pt x="11" y="24"/>
                    </a:lnTo>
                    <a:lnTo>
                      <a:pt x="13" y="28"/>
                    </a:lnTo>
                    <a:lnTo>
                      <a:pt x="13" y="34"/>
                    </a:lnTo>
                    <a:lnTo>
                      <a:pt x="11" y="38"/>
                    </a:lnTo>
                    <a:lnTo>
                      <a:pt x="9" y="36"/>
                    </a:lnTo>
                    <a:lnTo>
                      <a:pt x="7" y="35"/>
                    </a:lnTo>
                    <a:lnTo>
                      <a:pt x="6" y="35"/>
                    </a:lnTo>
                    <a:lnTo>
                      <a:pt x="3" y="39"/>
                    </a:lnTo>
                    <a:lnTo>
                      <a:pt x="2" y="35"/>
                    </a:lnTo>
                    <a:lnTo>
                      <a:pt x="2" y="28"/>
                    </a:lnTo>
                    <a:lnTo>
                      <a:pt x="0" y="26"/>
                    </a:lnTo>
                    <a:lnTo>
                      <a:pt x="0" y="26"/>
                    </a:lnTo>
                    <a:lnTo>
                      <a:pt x="2" y="23"/>
                    </a:lnTo>
                    <a:lnTo>
                      <a:pt x="3" y="20"/>
                    </a:lnTo>
                    <a:lnTo>
                      <a:pt x="6" y="16"/>
                    </a:lnTo>
                    <a:lnTo>
                      <a:pt x="6" y="13"/>
                    </a:lnTo>
                    <a:lnTo>
                      <a:pt x="6" y="13"/>
                    </a:lnTo>
                    <a:lnTo>
                      <a:pt x="7" y="8"/>
                    </a:lnTo>
                    <a:lnTo>
                      <a:pt x="9" y="3"/>
                    </a:lnTo>
                    <a:lnTo>
                      <a:pt x="9"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2" name="Freeform 41">
                <a:extLst>
                  <a:ext uri="{FF2B5EF4-FFF2-40B4-BE49-F238E27FC236}">
                    <a16:creationId xmlns:a16="http://schemas.microsoft.com/office/drawing/2014/main" id="{4512738B-B13A-44BB-9A55-3EF59E46FCF1}"/>
                  </a:ext>
                </a:extLst>
              </p:cNvPr>
              <p:cNvSpPr>
                <a:spLocks/>
              </p:cNvSpPr>
              <p:nvPr/>
            </p:nvSpPr>
            <p:spPr bwMode="auto">
              <a:xfrm>
                <a:off x="3209925" y="1605031"/>
                <a:ext cx="22225" cy="22225"/>
              </a:xfrm>
              <a:custGeom>
                <a:avLst/>
                <a:gdLst>
                  <a:gd name="T0" fmla="*/ 19 w 29"/>
                  <a:gd name="T1" fmla="*/ 22 h 27"/>
                  <a:gd name="T2" fmla="*/ 19 w 29"/>
                  <a:gd name="T3" fmla="*/ 26 h 27"/>
                  <a:gd name="T4" fmla="*/ 17 w 29"/>
                  <a:gd name="T5" fmla="*/ 23 h 27"/>
                  <a:gd name="T6" fmla="*/ 11 w 29"/>
                  <a:gd name="T7" fmla="*/ 27 h 27"/>
                  <a:gd name="T8" fmla="*/ 10 w 29"/>
                  <a:gd name="T9" fmla="*/ 27 h 27"/>
                  <a:gd name="T10" fmla="*/ 10 w 29"/>
                  <a:gd name="T11" fmla="*/ 23 h 27"/>
                  <a:gd name="T12" fmla="*/ 6 w 29"/>
                  <a:gd name="T13" fmla="*/ 20 h 27"/>
                  <a:gd name="T14" fmla="*/ 3 w 29"/>
                  <a:gd name="T15" fmla="*/ 23 h 27"/>
                  <a:gd name="T16" fmla="*/ 0 w 29"/>
                  <a:gd name="T17" fmla="*/ 22 h 27"/>
                  <a:gd name="T18" fmla="*/ 0 w 29"/>
                  <a:gd name="T19" fmla="*/ 20 h 27"/>
                  <a:gd name="T20" fmla="*/ 0 w 29"/>
                  <a:gd name="T21" fmla="*/ 20 h 27"/>
                  <a:gd name="T22" fmla="*/ 3 w 29"/>
                  <a:gd name="T23" fmla="*/ 14 h 27"/>
                  <a:gd name="T24" fmla="*/ 7 w 29"/>
                  <a:gd name="T25" fmla="*/ 8 h 27"/>
                  <a:gd name="T26" fmla="*/ 6 w 29"/>
                  <a:gd name="T27" fmla="*/ 6 h 27"/>
                  <a:gd name="T28" fmla="*/ 7 w 29"/>
                  <a:gd name="T29" fmla="*/ 4 h 27"/>
                  <a:gd name="T30" fmla="*/ 10 w 29"/>
                  <a:gd name="T31" fmla="*/ 4 h 27"/>
                  <a:gd name="T32" fmla="*/ 14 w 29"/>
                  <a:gd name="T33" fmla="*/ 1 h 27"/>
                  <a:gd name="T34" fmla="*/ 14 w 29"/>
                  <a:gd name="T35" fmla="*/ 3 h 27"/>
                  <a:gd name="T36" fmla="*/ 17 w 29"/>
                  <a:gd name="T37" fmla="*/ 4 h 27"/>
                  <a:gd name="T38" fmla="*/ 25 w 29"/>
                  <a:gd name="T39" fmla="*/ 0 h 27"/>
                  <a:gd name="T40" fmla="*/ 26 w 29"/>
                  <a:gd name="T41" fmla="*/ 0 h 27"/>
                  <a:gd name="T42" fmla="*/ 29 w 29"/>
                  <a:gd name="T43" fmla="*/ 6 h 27"/>
                  <a:gd name="T44" fmla="*/ 29 w 29"/>
                  <a:gd name="T45" fmla="*/ 7 h 27"/>
                  <a:gd name="T46" fmla="*/ 26 w 29"/>
                  <a:gd name="T47" fmla="*/ 4 h 27"/>
                  <a:gd name="T48" fmla="*/ 17 w 29"/>
                  <a:gd name="T49" fmla="*/ 7 h 27"/>
                  <a:gd name="T50" fmla="*/ 14 w 29"/>
                  <a:gd name="T51" fmla="*/ 14 h 27"/>
                  <a:gd name="T52" fmla="*/ 14 w 29"/>
                  <a:gd name="T53" fmla="*/ 14 h 27"/>
                  <a:gd name="T54" fmla="*/ 17 w 29"/>
                  <a:gd name="T55" fmla="*/ 18 h 27"/>
                  <a:gd name="T56" fmla="*/ 19 w 29"/>
                  <a:gd name="T57" fmla="*/ 22 h 27"/>
                  <a:gd name="T58" fmla="*/ 19 w 29"/>
                  <a:gd name="T5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 h="27">
                    <a:moveTo>
                      <a:pt x="19" y="22"/>
                    </a:moveTo>
                    <a:lnTo>
                      <a:pt x="19" y="26"/>
                    </a:lnTo>
                    <a:lnTo>
                      <a:pt x="17" y="23"/>
                    </a:lnTo>
                    <a:lnTo>
                      <a:pt x="11" y="27"/>
                    </a:lnTo>
                    <a:lnTo>
                      <a:pt x="10" y="27"/>
                    </a:lnTo>
                    <a:lnTo>
                      <a:pt x="10" y="23"/>
                    </a:lnTo>
                    <a:lnTo>
                      <a:pt x="6" y="20"/>
                    </a:lnTo>
                    <a:lnTo>
                      <a:pt x="3" y="23"/>
                    </a:lnTo>
                    <a:lnTo>
                      <a:pt x="0" y="22"/>
                    </a:lnTo>
                    <a:lnTo>
                      <a:pt x="0" y="20"/>
                    </a:lnTo>
                    <a:lnTo>
                      <a:pt x="0" y="20"/>
                    </a:lnTo>
                    <a:lnTo>
                      <a:pt x="3" y="14"/>
                    </a:lnTo>
                    <a:lnTo>
                      <a:pt x="7" y="8"/>
                    </a:lnTo>
                    <a:lnTo>
                      <a:pt x="6" y="6"/>
                    </a:lnTo>
                    <a:lnTo>
                      <a:pt x="7" y="4"/>
                    </a:lnTo>
                    <a:lnTo>
                      <a:pt x="10" y="4"/>
                    </a:lnTo>
                    <a:lnTo>
                      <a:pt x="14" y="1"/>
                    </a:lnTo>
                    <a:lnTo>
                      <a:pt x="14" y="3"/>
                    </a:lnTo>
                    <a:lnTo>
                      <a:pt x="17" y="4"/>
                    </a:lnTo>
                    <a:lnTo>
                      <a:pt x="25" y="0"/>
                    </a:lnTo>
                    <a:lnTo>
                      <a:pt x="26" y="0"/>
                    </a:lnTo>
                    <a:lnTo>
                      <a:pt x="29" y="6"/>
                    </a:lnTo>
                    <a:lnTo>
                      <a:pt x="29" y="7"/>
                    </a:lnTo>
                    <a:lnTo>
                      <a:pt x="26" y="4"/>
                    </a:lnTo>
                    <a:lnTo>
                      <a:pt x="17" y="7"/>
                    </a:lnTo>
                    <a:lnTo>
                      <a:pt x="14" y="14"/>
                    </a:lnTo>
                    <a:lnTo>
                      <a:pt x="14" y="14"/>
                    </a:lnTo>
                    <a:lnTo>
                      <a:pt x="17" y="18"/>
                    </a:lnTo>
                    <a:lnTo>
                      <a:pt x="19" y="22"/>
                    </a:lnTo>
                    <a:lnTo>
                      <a:pt x="19" y="2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3" name="Freeform 42">
                <a:extLst>
                  <a:ext uri="{FF2B5EF4-FFF2-40B4-BE49-F238E27FC236}">
                    <a16:creationId xmlns:a16="http://schemas.microsoft.com/office/drawing/2014/main" id="{23DE76A0-4A16-4183-94CF-BC215477355C}"/>
                  </a:ext>
                </a:extLst>
              </p:cNvPr>
              <p:cNvSpPr>
                <a:spLocks/>
              </p:cNvSpPr>
              <p:nvPr/>
            </p:nvSpPr>
            <p:spPr bwMode="auto">
              <a:xfrm>
                <a:off x="3032125" y="1620906"/>
                <a:ext cx="65088" cy="65088"/>
              </a:xfrm>
              <a:custGeom>
                <a:avLst/>
                <a:gdLst>
                  <a:gd name="T0" fmla="*/ 18 w 83"/>
                  <a:gd name="T1" fmla="*/ 49 h 82"/>
                  <a:gd name="T2" fmla="*/ 18 w 83"/>
                  <a:gd name="T3" fmla="*/ 40 h 82"/>
                  <a:gd name="T4" fmla="*/ 19 w 83"/>
                  <a:gd name="T5" fmla="*/ 37 h 82"/>
                  <a:gd name="T6" fmla="*/ 14 w 83"/>
                  <a:gd name="T7" fmla="*/ 30 h 82"/>
                  <a:gd name="T8" fmla="*/ 15 w 83"/>
                  <a:gd name="T9" fmla="*/ 29 h 82"/>
                  <a:gd name="T10" fmla="*/ 10 w 83"/>
                  <a:gd name="T11" fmla="*/ 29 h 82"/>
                  <a:gd name="T12" fmla="*/ 5 w 83"/>
                  <a:gd name="T13" fmla="*/ 25 h 82"/>
                  <a:gd name="T14" fmla="*/ 2 w 83"/>
                  <a:gd name="T15" fmla="*/ 21 h 82"/>
                  <a:gd name="T16" fmla="*/ 2 w 83"/>
                  <a:gd name="T17" fmla="*/ 17 h 82"/>
                  <a:gd name="T18" fmla="*/ 7 w 83"/>
                  <a:gd name="T19" fmla="*/ 19 h 82"/>
                  <a:gd name="T20" fmla="*/ 13 w 83"/>
                  <a:gd name="T21" fmla="*/ 22 h 82"/>
                  <a:gd name="T22" fmla="*/ 19 w 83"/>
                  <a:gd name="T23" fmla="*/ 18 h 82"/>
                  <a:gd name="T24" fmla="*/ 29 w 83"/>
                  <a:gd name="T25" fmla="*/ 15 h 82"/>
                  <a:gd name="T26" fmla="*/ 34 w 83"/>
                  <a:gd name="T27" fmla="*/ 14 h 82"/>
                  <a:gd name="T28" fmla="*/ 33 w 83"/>
                  <a:gd name="T29" fmla="*/ 9 h 82"/>
                  <a:gd name="T30" fmla="*/ 36 w 83"/>
                  <a:gd name="T31" fmla="*/ 3 h 82"/>
                  <a:gd name="T32" fmla="*/ 43 w 83"/>
                  <a:gd name="T33" fmla="*/ 0 h 82"/>
                  <a:gd name="T34" fmla="*/ 44 w 83"/>
                  <a:gd name="T35" fmla="*/ 4 h 82"/>
                  <a:gd name="T36" fmla="*/ 44 w 83"/>
                  <a:gd name="T37" fmla="*/ 7 h 82"/>
                  <a:gd name="T38" fmla="*/ 40 w 83"/>
                  <a:gd name="T39" fmla="*/ 10 h 82"/>
                  <a:gd name="T40" fmla="*/ 40 w 83"/>
                  <a:gd name="T41" fmla="*/ 14 h 82"/>
                  <a:gd name="T42" fmla="*/ 43 w 83"/>
                  <a:gd name="T43" fmla="*/ 13 h 82"/>
                  <a:gd name="T44" fmla="*/ 41 w 83"/>
                  <a:gd name="T45" fmla="*/ 15 h 82"/>
                  <a:gd name="T46" fmla="*/ 37 w 83"/>
                  <a:gd name="T47" fmla="*/ 21 h 82"/>
                  <a:gd name="T48" fmla="*/ 33 w 83"/>
                  <a:gd name="T49" fmla="*/ 21 h 82"/>
                  <a:gd name="T50" fmla="*/ 30 w 83"/>
                  <a:gd name="T51" fmla="*/ 26 h 82"/>
                  <a:gd name="T52" fmla="*/ 33 w 83"/>
                  <a:gd name="T53" fmla="*/ 28 h 82"/>
                  <a:gd name="T54" fmla="*/ 40 w 83"/>
                  <a:gd name="T55" fmla="*/ 28 h 82"/>
                  <a:gd name="T56" fmla="*/ 40 w 83"/>
                  <a:gd name="T57" fmla="*/ 29 h 82"/>
                  <a:gd name="T58" fmla="*/ 44 w 83"/>
                  <a:gd name="T59" fmla="*/ 32 h 82"/>
                  <a:gd name="T60" fmla="*/ 48 w 83"/>
                  <a:gd name="T61" fmla="*/ 30 h 82"/>
                  <a:gd name="T62" fmla="*/ 51 w 83"/>
                  <a:gd name="T63" fmla="*/ 34 h 82"/>
                  <a:gd name="T64" fmla="*/ 55 w 83"/>
                  <a:gd name="T65" fmla="*/ 36 h 82"/>
                  <a:gd name="T66" fmla="*/ 60 w 83"/>
                  <a:gd name="T67" fmla="*/ 36 h 82"/>
                  <a:gd name="T68" fmla="*/ 62 w 83"/>
                  <a:gd name="T69" fmla="*/ 34 h 82"/>
                  <a:gd name="T70" fmla="*/ 63 w 83"/>
                  <a:gd name="T71" fmla="*/ 41 h 82"/>
                  <a:gd name="T72" fmla="*/ 68 w 83"/>
                  <a:gd name="T73" fmla="*/ 47 h 82"/>
                  <a:gd name="T74" fmla="*/ 71 w 83"/>
                  <a:gd name="T75" fmla="*/ 56 h 82"/>
                  <a:gd name="T76" fmla="*/ 75 w 83"/>
                  <a:gd name="T77" fmla="*/ 55 h 82"/>
                  <a:gd name="T78" fmla="*/ 83 w 83"/>
                  <a:gd name="T79" fmla="*/ 70 h 82"/>
                  <a:gd name="T80" fmla="*/ 81 w 83"/>
                  <a:gd name="T81" fmla="*/ 68 h 82"/>
                  <a:gd name="T82" fmla="*/ 76 w 83"/>
                  <a:gd name="T83" fmla="*/ 67 h 82"/>
                  <a:gd name="T84" fmla="*/ 74 w 83"/>
                  <a:gd name="T85" fmla="*/ 72 h 82"/>
                  <a:gd name="T86" fmla="*/ 70 w 83"/>
                  <a:gd name="T87" fmla="*/ 80 h 82"/>
                  <a:gd name="T88" fmla="*/ 67 w 83"/>
                  <a:gd name="T89" fmla="*/ 80 h 82"/>
                  <a:gd name="T90" fmla="*/ 70 w 83"/>
                  <a:gd name="T91" fmla="*/ 74 h 82"/>
                  <a:gd name="T92" fmla="*/ 70 w 83"/>
                  <a:gd name="T93" fmla="*/ 61 h 82"/>
                  <a:gd name="T94" fmla="*/ 67 w 83"/>
                  <a:gd name="T95" fmla="*/ 63 h 82"/>
                  <a:gd name="T96" fmla="*/ 64 w 83"/>
                  <a:gd name="T97" fmla="*/ 59 h 82"/>
                  <a:gd name="T98" fmla="*/ 62 w 83"/>
                  <a:gd name="T99" fmla="*/ 56 h 82"/>
                  <a:gd name="T100" fmla="*/ 59 w 83"/>
                  <a:gd name="T101" fmla="*/ 51 h 82"/>
                  <a:gd name="T102" fmla="*/ 52 w 83"/>
                  <a:gd name="T103" fmla="*/ 45 h 82"/>
                  <a:gd name="T104" fmla="*/ 38 w 83"/>
                  <a:gd name="T105" fmla="*/ 44 h 82"/>
                  <a:gd name="T106" fmla="*/ 45 w 83"/>
                  <a:gd name="T107" fmla="*/ 51 h 82"/>
                  <a:gd name="T108" fmla="*/ 45 w 83"/>
                  <a:gd name="T109" fmla="*/ 53 h 82"/>
                  <a:gd name="T110" fmla="*/ 41 w 83"/>
                  <a:gd name="T111" fmla="*/ 55 h 82"/>
                  <a:gd name="T112" fmla="*/ 34 w 83"/>
                  <a:gd name="T113" fmla="*/ 56 h 82"/>
                  <a:gd name="T114" fmla="*/ 32 w 83"/>
                  <a:gd name="T115" fmla="*/ 61 h 82"/>
                  <a:gd name="T116" fmla="*/ 29 w 83"/>
                  <a:gd name="T117" fmla="*/ 57 h 82"/>
                  <a:gd name="T118" fmla="*/ 18 w 83"/>
                  <a:gd name="T119" fmla="*/ 5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 h="82">
                    <a:moveTo>
                      <a:pt x="18" y="51"/>
                    </a:moveTo>
                    <a:lnTo>
                      <a:pt x="18" y="49"/>
                    </a:lnTo>
                    <a:lnTo>
                      <a:pt x="19" y="45"/>
                    </a:lnTo>
                    <a:lnTo>
                      <a:pt x="18" y="40"/>
                    </a:lnTo>
                    <a:lnTo>
                      <a:pt x="18" y="40"/>
                    </a:lnTo>
                    <a:lnTo>
                      <a:pt x="19" y="37"/>
                    </a:lnTo>
                    <a:lnTo>
                      <a:pt x="18" y="34"/>
                    </a:lnTo>
                    <a:lnTo>
                      <a:pt x="14" y="30"/>
                    </a:lnTo>
                    <a:lnTo>
                      <a:pt x="15" y="29"/>
                    </a:lnTo>
                    <a:lnTo>
                      <a:pt x="15" y="29"/>
                    </a:lnTo>
                    <a:lnTo>
                      <a:pt x="13" y="29"/>
                    </a:lnTo>
                    <a:lnTo>
                      <a:pt x="10" y="29"/>
                    </a:lnTo>
                    <a:lnTo>
                      <a:pt x="9" y="26"/>
                    </a:lnTo>
                    <a:lnTo>
                      <a:pt x="5" y="25"/>
                    </a:lnTo>
                    <a:lnTo>
                      <a:pt x="5" y="25"/>
                    </a:lnTo>
                    <a:lnTo>
                      <a:pt x="2" y="21"/>
                    </a:lnTo>
                    <a:lnTo>
                      <a:pt x="0" y="17"/>
                    </a:lnTo>
                    <a:lnTo>
                      <a:pt x="2" y="17"/>
                    </a:lnTo>
                    <a:lnTo>
                      <a:pt x="2" y="17"/>
                    </a:lnTo>
                    <a:lnTo>
                      <a:pt x="7" y="19"/>
                    </a:lnTo>
                    <a:lnTo>
                      <a:pt x="13" y="22"/>
                    </a:lnTo>
                    <a:lnTo>
                      <a:pt x="13" y="22"/>
                    </a:lnTo>
                    <a:lnTo>
                      <a:pt x="17" y="21"/>
                    </a:lnTo>
                    <a:lnTo>
                      <a:pt x="19" y="18"/>
                    </a:lnTo>
                    <a:lnTo>
                      <a:pt x="25" y="19"/>
                    </a:lnTo>
                    <a:lnTo>
                      <a:pt x="29" y="15"/>
                    </a:lnTo>
                    <a:lnTo>
                      <a:pt x="32" y="15"/>
                    </a:lnTo>
                    <a:lnTo>
                      <a:pt x="34" y="14"/>
                    </a:lnTo>
                    <a:lnTo>
                      <a:pt x="34" y="14"/>
                    </a:lnTo>
                    <a:lnTo>
                      <a:pt x="33" y="9"/>
                    </a:lnTo>
                    <a:lnTo>
                      <a:pt x="36" y="3"/>
                    </a:lnTo>
                    <a:lnTo>
                      <a:pt x="36" y="3"/>
                    </a:lnTo>
                    <a:lnTo>
                      <a:pt x="38" y="2"/>
                    </a:lnTo>
                    <a:lnTo>
                      <a:pt x="43" y="0"/>
                    </a:lnTo>
                    <a:lnTo>
                      <a:pt x="44" y="0"/>
                    </a:lnTo>
                    <a:lnTo>
                      <a:pt x="44" y="4"/>
                    </a:lnTo>
                    <a:lnTo>
                      <a:pt x="47" y="6"/>
                    </a:lnTo>
                    <a:lnTo>
                      <a:pt x="44" y="7"/>
                    </a:lnTo>
                    <a:lnTo>
                      <a:pt x="41" y="7"/>
                    </a:lnTo>
                    <a:lnTo>
                      <a:pt x="40" y="10"/>
                    </a:lnTo>
                    <a:lnTo>
                      <a:pt x="38" y="11"/>
                    </a:lnTo>
                    <a:lnTo>
                      <a:pt x="40" y="14"/>
                    </a:lnTo>
                    <a:lnTo>
                      <a:pt x="41" y="14"/>
                    </a:lnTo>
                    <a:lnTo>
                      <a:pt x="43" y="13"/>
                    </a:lnTo>
                    <a:lnTo>
                      <a:pt x="44" y="13"/>
                    </a:lnTo>
                    <a:lnTo>
                      <a:pt x="41" y="15"/>
                    </a:lnTo>
                    <a:lnTo>
                      <a:pt x="43" y="19"/>
                    </a:lnTo>
                    <a:lnTo>
                      <a:pt x="37" y="21"/>
                    </a:lnTo>
                    <a:lnTo>
                      <a:pt x="36" y="22"/>
                    </a:lnTo>
                    <a:lnTo>
                      <a:pt x="33" y="21"/>
                    </a:lnTo>
                    <a:lnTo>
                      <a:pt x="32" y="21"/>
                    </a:lnTo>
                    <a:lnTo>
                      <a:pt x="30" y="26"/>
                    </a:lnTo>
                    <a:lnTo>
                      <a:pt x="32" y="28"/>
                    </a:lnTo>
                    <a:lnTo>
                      <a:pt x="33" y="28"/>
                    </a:lnTo>
                    <a:lnTo>
                      <a:pt x="36" y="25"/>
                    </a:lnTo>
                    <a:lnTo>
                      <a:pt x="40" y="28"/>
                    </a:lnTo>
                    <a:lnTo>
                      <a:pt x="40" y="29"/>
                    </a:lnTo>
                    <a:lnTo>
                      <a:pt x="40" y="29"/>
                    </a:lnTo>
                    <a:lnTo>
                      <a:pt x="41" y="30"/>
                    </a:lnTo>
                    <a:lnTo>
                      <a:pt x="44" y="32"/>
                    </a:lnTo>
                    <a:lnTo>
                      <a:pt x="47" y="29"/>
                    </a:lnTo>
                    <a:lnTo>
                      <a:pt x="48" y="30"/>
                    </a:lnTo>
                    <a:lnTo>
                      <a:pt x="49" y="34"/>
                    </a:lnTo>
                    <a:lnTo>
                      <a:pt x="51" y="34"/>
                    </a:lnTo>
                    <a:lnTo>
                      <a:pt x="53" y="34"/>
                    </a:lnTo>
                    <a:lnTo>
                      <a:pt x="55" y="36"/>
                    </a:lnTo>
                    <a:lnTo>
                      <a:pt x="57" y="37"/>
                    </a:lnTo>
                    <a:lnTo>
                      <a:pt x="60" y="36"/>
                    </a:lnTo>
                    <a:lnTo>
                      <a:pt x="60" y="34"/>
                    </a:lnTo>
                    <a:lnTo>
                      <a:pt x="62" y="34"/>
                    </a:lnTo>
                    <a:lnTo>
                      <a:pt x="63" y="41"/>
                    </a:lnTo>
                    <a:lnTo>
                      <a:pt x="63" y="41"/>
                    </a:lnTo>
                    <a:lnTo>
                      <a:pt x="67" y="44"/>
                    </a:lnTo>
                    <a:lnTo>
                      <a:pt x="68" y="47"/>
                    </a:lnTo>
                    <a:lnTo>
                      <a:pt x="68" y="53"/>
                    </a:lnTo>
                    <a:lnTo>
                      <a:pt x="71" y="56"/>
                    </a:lnTo>
                    <a:lnTo>
                      <a:pt x="71" y="56"/>
                    </a:lnTo>
                    <a:lnTo>
                      <a:pt x="75" y="55"/>
                    </a:lnTo>
                    <a:lnTo>
                      <a:pt x="78" y="56"/>
                    </a:lnTo>
                    <a:lnTo>
                      <a:pt x="83" y="70"/>
                    </a:lnTo>
                    <a:lnTo>
                      <a:pt x="83" y="70"/>
                    </a:lnTo>
                    <a:lnTo>
                      <a:pt x="81" y="68"/>
                    </a:lnTo>
                    <a:lnTo>
                      <a:pt x="76" y="67"/>
                    </a:lnTo>
                    <a:lnTo>
                      <a:pt x="76" y="67"/>
                    </a:lnTo>
                    <a:lnTo>
                      <a:pt x="76" y="70"/>
                    </a:lnTo>
                    <a:lnTo>
                      <a:pt x="74" y="72"/>
                    </a:lnTo>
                    <a:lnTo>
                      <a:pt x="71" y="76"/>
                    </a:lnTo>
                    <a:lnTo>
                      <a:pt x="70" y="80"/>
                    </a:lnTo>
                    <a:lnTo>
                      <a:pt x="68" y="82"/>
                    </a:lnTo>
                    <a:lnTo>
                      <a:pt x="67" y="80"/>
                    </a:lnTo>
                    <a:lnTo>
                      <a:pt x="67" y="75"/>
                    </a:lnTo>
                    <a:lnTo>
                      <a:pt x="70" y="74"/>
                    </a:lnTo>
                    <a:lnTo>
                      <a:pt x="71" y="66"/>
                    </a:lnTo>
                    <a:lnTo>
                      <a:pt x="70" y="61"/>
                    </a:lnTo>
                    <a:lnTo>
                      <a:pt x="67" y="61"/>
                    </a:lnTo>
                    <a:lnTo>
                      <a:pt x="67" y="63"/>
                    </a:lnTo>
                    <a:lnTo>
                      <a:pt x="66" y="63"/>
                    </a:lnTo>
                    <a:lnTo>
                      <a:pt x="64" y="59"/>
                    </a:lnTo>
                    <a:lnTo>
                      <a:pt x="64" y="59"/>
                    </a:lnTo>
                    <a:lnTo>
                      <a:pt x="62" y="56"/>
                    </a:lnTo>
                    <a:lnTo>
                      <a:pt x="59" y="51"/>
                    </a:lnTo>
                    <a:lnTo>
                      <a:pt x="59" y="51"/>
                    </a:lnTo>
                    <a:lnTo>
                      <a:pt x="55" y="49"/>
                    </a:lnTo>
                    <a:lnTo>
                      <a:pt x="52" y="45"/>
                    </a:lnTo>
                    <a:lnTo>
                      <a:pt x="43" y="42"/>
                    </a:lnTo>
                    <a:lnTo>
                      <a:pt x="38" y="44"/>
                    </a:lnTo>
                    <a:lnTo>
                      <a:pt x="41" y="49"/>
                    </a:lnTo>
                    <a:lnTo>
                      <a:pt x="45" y="51"/>
                    </a:lnTo>
                    <a:lnTo>
                      <a:pt x="45" y="52"/>
                    </a:lnTo>
                    <a:lnTo>
                      <a:pt x="45" y="53"/>
                    </a:lnTo>
                    <a:lnTo>
                      <a:pt x="43" y="53"/>
                    </a:lnTo>
                    <a:lnTo>
                      <a:pt x="41" y="55"/>
                    </a:lnTo>
                    <a:lnTo>
                      <a:pt x="40" y="53"/>
                    </a:lnTo>
                    <a:lnTo>
                      <a:pt x="34" y="56"/>
                    </a:lnTo>
                    <a:lnTo>
                      <a:pt x="33" y="60"/>
                    </a:lnTo>
                    <a:lnTo>
                      <a:pt x="32" y="61"/>
                    </a:lnTo>
                    <a:lnTo>
                      <a:pt x="32" y="61"/>
                    </a:lnTo>
                    <a:lnTo>
                      <a:pt x="29" y="57"/>
                    </a:lnTo>
                    <a:lnTo>
                      <a:pt x="26" y="55"/>
                    </a:lnTo>
                    <a:lnTo>
                      <a:pt x="18" y="51"/>
                    </a:lnTo>
                    <a:lnTo>
                      <a:pt x="18" y="5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4" name="Freeform 43">
                <a:extLst>
                  <a:ext uri="{FF2B5EF4-FFF2-40B4-BE49-F238E27FC236}">
                    <a16:creationId xmlns:a16="http://schemas.microsoft.com/office/drawing/2014/main" id="{19976251-7CBE-4308-ABD4-505ED505B757}"/>
                  </a:ext>
                </a:extLst>
              </p:cNvPr>
              <p:cNvSpPr>
                <a:spLocks/>
              </p:cNvSpPr>
              <p:nvPr/>
            </p:nvSpPr>
            <p:spPr bwMode="auto">
              <a:xfrm>
                <a:off x="3124200" y="1674881"/>
                <a:ext cx="7938" cy="9525"/>
              </a:xfrm>
              <a:custGeom>
                <a:avLst/>
                <a:gdLst>
                  <a:gd name="T0" fmla="*/ 4 w 11"/>
                  <a:gd name="T1" fmla="*/ 0 h 12"/>
                  <a:gd name="T2" fmla="*/ 4 w 11"/>
                  <a:gd name="T3" fmla="*/ 0 h 12"/>
                  <a:gd name="T4" fmla="*/ 7 w 11"/>
                  <a:gd name="T5" fmla="*/ 6 h 12"/>
                  <a:gd name="T6" fmla="*/ 11 w 11"/>
                  <a:gd name="T7" fmla="*/ 10 h 12"/>
                  <a:gd name="T8" fmla="*/ 11 w 11"/>
                  <a:gd name="T9" fmla="*/ 11 h 12"/>
                  <a:gd name="T10" fmla="*/ 8 w 11"/>
                  <a:gd name="T11" fmla="*/ 12 h 12"/>
                  <a:gd name="T12" fmla="*/ 8 w 11"/>
                  <a:gd name="T13" fmla="*/ 12 h 12"/>
                  <a:gd name="T14" fmla="*/ 4 w 11"/>
                  <a:gd name="T15" fmla="*/ 11 h 12"/>
                  <a:gd name="T16" fmla="*/ 0 w 11"/>
                  <a:gd name="T17" fmla="*/ 10 h 12"/>
                  <a:gd name="T18" fmla="*/ 0 w 11"/>
                  <a:gd name="T19" fmla="*/ 10 h 12"/>
                  <a:gd name="T20" fmla="*/ 0 w 11"/>
                  <a:gd name="T21" fmla="*/ 4 h 12"/>
                  <a:gd name="T22" fmla="*/ 1 w 11"/>
                  <a:gd name="T23" fmla="*/ 2 h 12"/>
                  <a:gd name="T24" fmla="*/ 4 w 11"/>
                  <a:gd name="T25" fmla="*/ 0 h 12"/>
                  <a:gd name="T26" fmla="*/ 4 w 11"/>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4" y="0"/>
                    </a:moveTo>
                    <a:lnTo>
                      <a:pt x="4" y="0"/>
                    </a:lnTo>
                    <a:lnTo>
                      <a:pt x="7" y="6"/>
                    </a:lnTo>
                    <a:lnTo>
                      <a:pt x="11" y="10"/>
                    </a:lnTo>
                    <a:lnTo>
                      <a:pt x="11" y="11"/>
                    </a:lnTo>
                    <a:lnTo>
                      <a:pt x="8" y="12"/>
                    </a:lnTo>
                    <a:lnTo>
                      <a:pt x="8" y="12"/>
                    </a:lnTo>
                    <a:lnTo>
                      <a:pt x="4" y="11"/>
                    </a:lnTo>
                    <a:lnTo>
                      <a:pt x="0" y="10"/>
                    </a:lnTo>
                    <a:lnTo>
                      <a:pt x="0" y="10"/>
                    </a:lnTo>
                    <a:lnTo>
                      <a:pt x="0" y="4"/>
                    </a:lnTo>
                    <a:lnTo>
                      <a:pt x="1" y="2"/>
                    </a:lnTo>
                    <a:lnTo>
                      <a:pt x="4" y="0"/>
                    </a:lnTo>
                    <a:lnTo>
                      <a:pt x="4"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5" name="Freeform 44">
                <a:extLst>
                  <a:ext uri="{FF2B5EF4-FFF2-40B4-BE49-F238E27FC236}">
                    <a16:creationId xmlns:a16="http://schemas.microsoft.com/office/drawing/2014/main" id="{DC626B77-C861-4A36-AB14-9DE2A20B1281}"/>
                  </a:ext>
                </a:extLst>
              </p:cNvPr>
              <p:cNvSpPr>
                <a:spLocks/>
              </p:cNvSpPr>
              <p:nvPr/>
            </p:nvSpPr>
            <p:spPr bwMode="auto">
              <a:xfrm>
                <a:off x="3171825" y="1681231"/>
                <a:ext cx="4763" cy="7938"/>
              </a:xfrm>
              <a:custGeom>
                <a:avLst/>
                <a:gdLst>
                  <a:gd name="T0" fmla="*/ 4 w 5"/>
                  <a:gd name="T1" fmla="*/ 1 h 11"/>
                  <a:gd name="T2" fmla="*/ 5 w 5"/>
                  <a:gd name="T3" fmla="*/ 10 h 11"/>
                  <a:gd name="T4" fmla="*/ 3 w 5"/>
                  <a:gd name="T5" fmla="*/ 11 h 11"/>
                  <a:gd name="T6" fmla="*/ 0 w 5"/>
                  <a:gd name="T7" fmla="*/ 7 h 11"/>
                  <a:gd name="T8" fmla="*/ 0 w 5"/>
                  <a:gd name="T9" fmla="*/ 1 h 11"/>
                  <a:gd name="T10" fmla="*/ 1 w 5"/>
                  <a:gd name="T11" fmla="*/ 0 h 11"/>
                  <a:gd name="T12" fmla="*/ 4 w 5"/>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4" y="1"/>
                    </a:moveTo>
                    <a:lnTo>
                      <a:pt x="5" y="10"/>
                    </a:lnTo>
                    <a:lnTo>
                      <a:pt x="3" y="11"/>
                    </a:lnTo>
                    <a:lnTo>
                      <a:pt x="0" y="7"/>
                    </a:lnTo>
                    <a:lnTo>
                      <a:pt x="0" y="1"/>
                    </a:lnTo>
                    <a:lnTo>
                      <a:pt x="1" y="0"/>
                    </a:lnTo>
                    <a:lnTo>
                      <a:pt x="4"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6" name="Freeform 45">
                <a:extLst>
                  <a:ext uri="{FF2B5EF4-FFF2-40B4-BE49-F238E27FC236}">
                    <a16:creationId xmlns:a16="http://schemas.microsoft.com/office/drawing/2014/main" id="{C1995896-CA51-42FF-A6CF-79922C7CCE93}"/>
                  </a:ext>
                </a:extLst>
              </p:cNvPr>
              <p:cNvSpPr>
                <a:spLocks/>
              </p:cNvSpPr>
              <p:nvPr/>
            </p:nvSpPr>
            <p:spPr bwMode="auto">
              <a:xfrm>
                <a:off x="3098800" y="1685994"/>
                <a:ext cx="6350" cy="11113"/>
              </a:xfrm>
              <a:custGeom>
                <a:avLst/>
                <a:gdLst>
                  <a:gd name="T0" fmla="*/ 4 w 8"/>
                  <a:gd name="T1" fmla="*/ 13 h 13"/>
                  <a:gd name="T2" fmla="*/ 0 w 8"/>
                  <a:gd name="T3" fmla="*/ 8 h 13"/>
                  <a:gd name="T4" fmla="*/ 2 w 8"/>
                  <a:gd name="T5" fmla="*/ 7 h 13"/>
                  <a:gd name="T6" fmla="*/ 1 w 8"/>
                  <a:gd name="T7" fmla="*/ 0 h 13"/>
                  <a:gd name="T8" fmla="*/ 2 w 8"/>
                  <a:gd name="T9" fmla="*/ 0 h 13"/>
                  <a:gd name="T10" fmla="*/ 4 w 8"/>
                  <a:gd name="T11" fmla="*/ 1 h 13"/>
                  <a:gd name="T12" fmla="*/ 8 w 8"/>
                  <a:gd name="T13" fmla="*/ 9 h 13"/>
                  <a:gd name="T14" fmla="*/ 5 w 8"/>
                  <a:gd name="T15" fmla="*/ 13 h 13"/>
                  <a:gd name="T16" fmla="*/ 4 w 8"/>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4" y="13"/>
                    </a:moveTo>
                    <a:lnTo>
                      <a:pt x="0" y="8"/>
                    </a:lnTo>
                    <a:lnTo>
                      <a:pt x="2" y="7"/>
                    </a:lnTo>
                    <a:lnTo>
                      <a:pt x="1" y="0"/>
                    </a:lnTo>
                    <a:lnTo>
                      <a:pt x="2" y="0"/>
                    </a:lnTo>
                    <a:lnTo>
                      <a:pt x="4" y="1"/>
                    </a:lnTo>
                    <a:lnTo>
                      <a:pt x="8" y="9"/>
                    </a:lnTo>
                    <a:lnTo>
                      <a:pt x="5" y="13"/>
                    </a:lnTo>
                    <a:lnTo>
                      <a:pt x="4" y="1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7" name="Freeform 46">
                <a:extLst>
                  <a:ext uri="{FF2B5EF4-FFF2-40B4-BE49-F238E27FC236}">
                    <a16:creationId xmlns:a16="http://schemas.microsoft.com/office/drawing/2014/main" id="{E2025DD5-E0D9-4D9F-BFE6-0D3F5C801F28}"/>
                  </a:ext>
                </a:extLst>
              </p:cNvPr>
              <p:cNvSpPr>
                <a:spLocks/>
              </p:cNvSpPr>
              <p:nvPr/>
            </p:nvSpPr>
            <p:spPr bwMode="auto">
              <a:xfrm>
                <a:off x="3136900" y="1643131"/>
                <a:ext cx="88900" cy="63500"/>
              </a:xfrm>
              <a:custGeom>
                <a:avLst/>
                <a:gdLst>
                  <a:gd name="T0" fmla="*/ 44 w 112"/>
                  <a:gd name="T1" fmla="*/ 45 h 79"/>
                  <a:gd name="T2" fmla="*/ 34 w 112"/>
                  <a:gd name="T3" fmla="*/ 50 h 79"/>
                  <a:gd name="T4" fmla="*/ 30 w 112"/>
                  <a:gd name="T5" fmla="*/ 46 h 79"/>
                  <a:gd name="T6" fmla="*/ 23 w 112"/>
                  <a:gd name="T7" fmla="*/ 49 h 79"/>
                  <a:gd name="T8" fmla="*/ 18 w 112"/>
                  <a:gd name="T9" fmla="*/ 60 h 79"/>
                  <a:gd name="T10" fmla="*/ 13 w 112"/>
                  <a:gd name="T11" fmla="*/ 64 h 79"/>
                  <a:gd name="T12" fmla="*/ 11 w 112"/>
                  <a:gd name="T13" fmla="*/ 69 h 79"/>
                  <a:gd name="T14" fmla="*/ 7 w 112"/>
                  <a:gd name="T15" fmla="*/ 68 h 79"/>
                  <a:gd name="T16" fmla="*/ 4 w 112"/>
                  <a:gd name="T17" fmla="*/ 73 h 79"/>
                  <a:gd name="T18" fmla="*/ 2 w 112"/>
                  <a:gd name="T19" fmla="*/ 79 h 79"/>
                  <a:gd name="T20" fmla="*/ 0 w 112"/>
                  <a:gd name="T21" fmla="*/ 73 h 79"/>
                  <a:gd name="T22" fmla="*/ 3 w 112"/>
                  <a:gd name="T23" fmla="*/ 56 h 79"/>
                  <a:gd name="T24" fmla="*/ 9 w 112"/>
                  <a:gd name="T25" fmla="*/ 54 h 79"/>
                  <a:gd name="T26" fmla="*/ 17 w 112"/>
                  <a:gd name="T27" fmla="*/ 45 h 79"/>
                  <a:gd name="T28" fmla="*/ 23 w 112"/>
                  <a:gd name="T29" fmla="*/ 39 h 79"/>
                  <a:gd name="T30" fmla="*/ 37 w 112"/>
                  <a:gd name="T31" fmla="*/ 32 h 79"/>
                  <a:gd name="T32" fmla="*/ 33 w 112"/>
                  <a:gd name="T33" fmla="*/ 30 h 79"/>
                  <a:gd name="T34" fmla="*/ 40 w 112"/>
                  <a:gd name="T35" fmla="*/ 26 h 79"/>
                  <a:gd name="T36" fmla="*/ 33 w 112"/>
                  <a:gd name="T37" fmla="*/ 12 h 79"/>
                  <a:gd name="T38" fmla="*/ 37 w 112"/>
                  <a:gd name="T39" fmla="*/ 12 h 79"/>
                  <a:gd name="T40" fmla="*/ 45 w 112"/>
                  <a:gd name="T41" fmla="*/ 12 h 79"/>
                  <a:gd name="T42" fmla="*/ 63 w 112"/>
                  <a:gd name="T43" fmla="*/ 5 h 79"/>
                  <a:gd name="T44" fmla="*/ 60 w 112"/>
                  <a:gd name="T45" fmla="*/ 12 h 79"/>
                  <a:gd name="T46" fmla="*/ 53 w 112"/>
                  <a:gd name="T47" fmla="*/ 22 h 79"/>
                  <a:gd name="T48" fmla="*/ 52 w 112"/>
                  <a:gd name="T49" fmla="*/ 20 h 79"/>
                  <a:gd name="T50" fmla="*/ 45 w 112"/>
                  <a:gd name="T51" fmla="*/ 23 h 79"/>
                  <a:gd name="T52" fmla="*/ 45 w 112"/>
                  <a:gd name="T53" fmla="*/ 31 h 79"/>
                  <a:gd name="T54" fmla="*/ 52 w 112"/>
                  <a:gd name="T55" fmla="*/ 28 h 79"/>
                  <a:gd name="T56" fmla="*/ 56 w 112"/>
                  <a:gd name="T57" fmla="*/ 32 h 79"/>
                  <a:gd name="T58" fmla="*/ 59 w 112"/>
                  <a:gd name="T59" fmla="*/ 28 h 79"/>
                  <a:gd name="T60" fmla="*/ 63 w 112"/>
                  <a:gd name="T61" fmla="*/ 27 h 79"/>
                  <a:gd name="T62" fmla="*/ 68 w 112"/>
                  <a:gd name="T63" fmla="*/ 23 h 79"/>
                  <a:gd name="T64" fmla="*/ 78 w 112"/>
                  <a:gd name="T65" fmla="*/ 15 h 79"/>
                  <a:gd name="T66" fmla="*/ 91 w 112"/>
                  <a:gd name="T67" fmla="*/ 12 h 79"/>
                  <a:gd name="T68" fmla="*/ 91 w 112"/>
                  <a:gd name="T69" fmla="*/ 5 h 79"/>
                  <a:gd name="T70" fmla="*/ 101 w 112"/>
                  <a:gd name="T71" fmla="*/ 0 h 79"/>
                  <a:gd name="T72" fmla="*/ 101 w 112"/>
                  <a:gd name="T73" fmla="*/ 5 h 79"/>
                  <a:gd name="T74" fmla="*/ 104 w 112"/>
                  <a:gd name="T75" fmla="*/ 15 h 79"/>
                  <a:gd name="T76" fmla="*/ 108 w 112"/>
                  <a:gd name="T77" fmla="*/ 23 h 79"/>
                  <a:gd name="T78" fmla="*/ 106 w 112"/>
                  <a:gd name="T79" fmla="*/ 20 h 79"/>
                  <a:gd name="T80" fmla="*/ 99 w 112"/>
                  <a:gd name="T81" fmla="*/ 22 h 79"/>
                  <a:gd name="T82" fmla="*/ 98 w 112"/>
                  <a:gd name="T83" fmla="*/ 18 h 79"/>
                  <a:gd name="T84" fmla="*/ 79 w 112"/>
                  <a:gd name="T85" fmla="*/ 23 h 79"/>
                  <a:gd name="T86" fmla="*/ 74 w 112"/>
                  <a:gd name="T87" fmla="*/ 32 h 79"/>
                  <a:gd name="T88" fmla="*/ 70 w 112"/>
                  <a:gd name="T89" fmla="*/ 39 h 79"/>
                  <a:gd name="T90" fmla="*/ 67 w 112"/>
                  <a:gd name="T91" fmla="*/ 45 h 79"/>
                  <a:gd name="T92" fmla="*/ 71 w 112"/>
                  <a:gd name="T93" fmla="*/ 56 h 79"/>
                  <a:gd name="T94" fmla="*/ 64 w 112"/>
                  <a:gd name="T95" fmla="*/ 50 h 79"/>
                  <a:gd name="T96" fmla="*/ 68 w 112"/>
                  <a:gd name="T97" fmla="*/ 37 h 79"/>
                  <a:gd name="T98" fmla="*/ 60 w 112"/>
                  <a:gd name="T99" fmla="*/ 38 h 79"/>
                  <a:gd name="T100" fmla="*/ 60 w 112"/>
                  <a:gd name="T101" fmla="*/ 46 h 79"/>
                  <a:gd name="T102" fmla="*/ 51 w 112"/>
                  <a:gd name="T103" fmla="*/ 4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79">
                    <a:moveTo>
                      <a:pt x="51" y="46"/>
                    </a:moveTo>
                    <a:lnTo>
                      <a:pt x="47" y="42"/>
                    </a:lnTo>
                    <a:lnTo>
                      <a:pt x="44" y="45"/>
                    </a:lnTo>
                    <a:lnTo>
                      <a:pt x="41" y="45"/>
                    </a:lnTo>
                    <a:lnTo>
                      <a:pt x="36" y="51"/>
                    </a:lnTo>
                    <a:lnTo>
                      <a:pt x="34" y="50"/>
                    </a:lnTo>
                    <a:lnTo>
                      <a:pt x="36" y="49"/>
                    </a:lnTo>
                    <a:lnTo>
                      <a:pt x="36" y="47"/>
                    </a:lnTo>
                    <a:lnTo>
                      <a:pt x="30" y="46"/>
                    </a:lnTo>
                    <a:lnTo>
                      <a:pt x="25" y="46"/>
                    </a:lnTo>
                    <a:lnTo>
                      <a:pt x="25" y="46"/>
                    </a:lnTo>
                    <a:lnTo>
                      <a:pt x="23" y="49"/>
                    </a:lnTo>
                    <a:lnTo>
                      <a:pt x="22" y="51"/>
                    </a:lnTo>
                    <a:lnTo>
                      <a:pt x="21" y="58"/>
                    </a:lnTo>
                    <a:lnTo>
                      <a:pt x="18" y="60"/>
                    </a:lnTo>
                    <a:lnTo>
                      <a:pt x="17" y="61"/>
                    </a:lnTo>
                    <a:lnTo>
                      <a:pt x="17" y="62"/>
                    </a:lnTo>
                    <a:lnTo>
                      <a:pt x="13" y="64"/>
                    </a:lnTo>
                    <a:lnTo>
                      <a:pt x="13" y="64"/>
                    </a:lnTo>
                    <a:lnTo>
                      <a:pt x="11" y="66"/>
                    </a:lnTo>
                    <a:lnTo>
                      <a:pt x="11" y="69"/>
                    </a:lnTo>
                    <a:lnTo>
                      <a:pt x="10" y="76"/>
                    </a:lnTo>
                    <a:lnTo>
                      <a:pt x="9" y="75"/>
                    </a:lnTo>
                    <a:lnTo>
                      <a:pt x="7" y="68"/>
                    </a:lnTo>
                    <a:lnTo>
                      <a:pt x="6" y="68"/>
                    </a:lnTo>
                    <a:lnTo>
                      <a:pt x="6" y="68"/>
                    </a:lnTo>
                    <a:lnTo>
                      <a:pt x="4" y="73"/>
                    </a:lnTo>
                    <a:lnTo>
                      <a:pt x="6" y="79"/>
                    </a:lnTo>
                    <a:lnTo>
                      <a:pt x="4" y="79"/>
                    </a:lnTo>
                    <a:lnTo>
                      <a:pt x="2" y="79"/>
                    </a:lnTo>
                    <a:lnTo>
                      <a:pt x="3" y="75"/>
                    </a:lnTo>
                    <a:lnTo>
                      <a:pt x="0" y="73"/>
                    </a:lnTo>
                    <a:lnTo>
                      <a:pt x="0" y="73"/>
                    </a:lnTo>
                    <a:lnTo>
                      <a:pt x="0" y="64"/>
                    </a:lnTo>
                    <a:lnTo>
                      <a:pt x="2" y="58"/>
                    </a:lnTo>
                    <a:lnTo>
                      <a:pt x="3" y="56"/>
                    </a:lnTo>
                    <a:lnTo>
                      <a:pt x="7" y="58"/>
                    </a:lnTo>
                    <a:lnTo>
                      <a:pt x="9" y="57"/>
                    </a:lnTo>
                    <a:lnTo>
                      <a:pt x="9" y="54"/>
                    </a:lnTo>
                    <a:lnTo>
                      <a:pt x="10" y="54"/>
                    </a:lnTo>
                    <a:lnTo>
                      <a:pt x="14" y="51"/>
                    </a:lnTo>
                    <a:lnTo>
                      <a:pt x="17" y="45"/>
                    </a:lnTo>
                    <a:lnTo>
                      <a:pt x="17" y="45"/>
                    </a:lnTo>
                    <a:lnTo>
                      <a:pt x="19" y="42"/>
                    </a:lnTo>
                    <a:lnTo>
                      <a:pt x="23" y="39"/>
                    </a:lnTo>
                    <a:lnTo>
                      <a:pt x="30" y="34"/>
                    </a:lnTo>
                    <a:lnTo>
                      <a:pt x="33" y="34"/>
                    </a:lnTo>
                    <a:lnTo>
                      <a:pt x="37" y="32"/>
                    </a:lnTo>
                    <a:lnTo>
                      <a:pt x="36" y="30"/>
                    </a:lnTo>
                    <a:lnTo>
                      <a:pt x="36" y="31"/>
                    </a:lnTo>
                    <a:lnTo>
                      <a:pt x="33" y="30"/>
                    </a:lnTo>
                    <a:lnTo>
                      <a:pt x="33" y="28"/>
                    </a:lnTo>
                    <a:lnTo>
                      <a:pt x="36" y="28"/>
                    </a:lnTo>
                    <a:lnTo>
                      <a:pt x="40" y="26"/>
                    </a:lnTo>
                    <a:lnTo>
                      <a:pt x="33" y="19"/>
                    </a:lnTo>
                    <a:lnTo>
                      <a:pt x="32" y="12"/>
                    </a:lnTo>
                    <a:lnTo>
                      <a:pt x="33" y="12"/>
                    </a:lnTo>
                    <a:lnTo>
                      <a:pt x="33" y="13"/>
                    </a:lnTo>
                    <a:lnTo>
                      <a:pt x="36" y="15"/>
                    </a:lnTo>
                    <a:lnTo>
                      <a:pt x="37" y="12"/>
                    </a:lnTo>
                    <a:lnTo>
                      <a:pt x="41" y="11"/>
                    </a:lnTo>
                    <a:lnTo>
                      <a:pt x="42" y="12"/>
                    </a:lnTo>
                    <a:lnTo>
                      <a:pt x="45" y="12"/>
                    </a:lnTo>
                    <a:lnTo>
                      <a:pt x="53" y="5"/>
                    </a:lnTo>
                    <a:lnTo>
                      <a:pt x="59" y="7"/>
                    </a:lnTo>
                    <a:lnTo>
                      <a:pt x="63" y="5"/>
                    </a:lnTo>
                    <a:lnTo>
                      <a:pt x="63" y="7"/>
                    </a:lnTo>
                    <a:lnTo>
                      <a:pt x="60" y="12"/>
                    </a:lnTo>
                    <a:lnTo>
                      <a:pt x="60" y="12"/>
                    </a:lnTo>
                    <a:lnTo>
                      <a:pt x="56" y="13"/>
                    </a:lnTo>
                    <a:lnTo>
                      <a:pt x="52" y="15"/>
                    </a:lnTo>
                    <a:lnTo>
                      <a:pt x="53" y="22"/>
                    </a:lnTo>
                    <a:lnTo>
                      <a:pt x="53" y="23"/>
                    </a:lnTo>
                    <a:lnTo>
                      <a:pt x="51" y="23"/>
                    </a:lnTo>
                    <a:lnTo>
                      <a:pt x="52" y="20"/>
                    </a:lnTo>
                    <a:lnTo>
                      <a:pt x="52" y="20"/>
                    </a:lnTo>
                    <a:lnTo>
                      <a:pt x="48" y="22"/>
                    </a:lnTo>
                    <a:lnTo>
                      <a:pt x="45" y="23"/>
                    </a:lnTo>
                    <a:lnTo>
                      <a:pt x="45" y="28"/>
                    </a:lnTo>
                    <a:lnTo>
                      <a:pt x="44" y="28"/>
                    </a:lnTo>
                    <a:lnTo>
                      <a:pt x="45" y="31"/>
                    </a:lnTo>
                    <a:lnTo>
                      <a:pt x="51" y="32"/>
                    </a:lnTo>
                    <a:lnTo>
                      <a:pt x="52" y="32"/>
                    </a:lnTo>
                    <a:lnTo>
                      <a:pt x="52" y="28"/>
                    </a:lnTo>
                    <a:lnTo>
                      <a:pt x="53" y="28"/>
                    </a:lnTo>
                    <a:lnTo>
                      <a:pt x="55" y="31"/>
                    </a:lnTo>
                    <a:lnTo>
                      <a:pt x="56" y="32"/>
                    </a:lnTo>
                    <a:lnTo>
                      <a:pt x="59" y="31"/>
                    </a:lnTo>
                    <a:lnTo>
                      <a:pt x="57" y="30"/>
                    </a:lnTo>
                    <a:lnTo>
                      <a:pt x="59" y="28"/>
                    </a:lnTo>
                    <a:lnTo>
                      <a:pt x="60" y="30"/>
                    </a:lnTo>
                    <a:lnTo>
                      <a:pt x="63" y="28"/>
                    </a:lnTo>
                    <a:lnTo>
                      <a:pt x="63" y="27"/>
                    </a:lnTo>
                    <a:lnTo>
                      <a:pt x="63" y="27"/>
                    </a:lnTo>
                    <a:lnTo>
                      <a:pt x="66" y="24"/>
                    </a:lnTo>
                    <a:lnTo>
                      <a:pt x="68" y="23"/>
                    </a:lnTo>
                    <a:lnTo>
                      <a:pt x="68" y="23"/>
                    </a:lnTo>
                    <a:lnTo>
                      <a:pt x="75" y="18"/>
                    </a:lnTo>
                    <a:lnTo>
                      <a:pt x="78" y="15"/>
                    </a:lnTo>
                    <a:lnTo>
                      <a:pt x="80" y="13"/>
                    </a:lnTo>
                    <a:lnTo>
                      <a:pt x="86" y="15"/>
                    </a:lnTo>
                    <a:lnTo>
                      <a:pt x="91" y="12"/>
                    </a:lnTo>
                    <a:lnTo>
                      <a:pt x="93" y="7"/>
                    </a:lnTo>
                    <a:lnTo>
                      <a:pt x="91" y="5"/>
                    </a:lnTo>
                    <a:lnTo>
                      <a:pt x="91" y="5"/>
                    </a:lnTo>
                    <a:lnTo>
                      <a:pt x="95" y="3"/>
                    </a:lnTo>
                    <a:lnTo>
                      <a:pt x="99" y="1"/>
                    </a:lnTo>
                    <a:lnTo>
                      <a:pt x="101" y="0"/>
                    </a:lnTo>
                    <a:lnTo>
                      <a:pt x="104" y="1"/>
                    </a:lnTo>
                    <a:lnTo>
                      <a:pt x="101" y="5"/>
                    </a:lnTo>
                    <a:lnTo>
                      <a:pt x="101" y="5"/>
                    </a:lnTo>
                    <a:lnTo>
                      <a:pt x="104" y="11"/>
                    </a:lnTo>
                    <a:lnTo>
                      <a:pt x="104" y="15"/>
                    </a:lnTo>
                    <a:lnTo>
                      <a:pt x="104" y="15"/>
                    </a:lnTo>
                    <a:lnTo>
                      <a:pt x="108" y="19"/>
                    </a:lnTo>
                    <a:lnTo>
                      <a:pt x="112" y="20"/>
                    </a:lnTo>
                    <a:lnTo>
                      <a:pt x="108" y="23"/>
                    </a:lnTo>
                    <a:lnTo>
                      <a:pt x="108" y="22"/>
                    </a:lnTo>
                    <a:lnTo>
                      <a:pt x="106" y="20"/>
                    </a:lnTo>
                    <a:lnTo>
                      <a:pt x="106" y="20"/>
                    </a:lnTo>
                    <a:lnTo>
                      <a:pt x="104" y="22"/>
                    </a:lnTo>
                    <a:lnTo>
                      <a:pt x="101" y="23"/>
                    </a:lnTo>
                    <a:lnTo>
                      <a:pt x="99" y="22"/>
                    </a:lnTo>
                    <a:lnTo>
                      <a:pt x="99" y="18"/>
                    </a:lnTo>
                    <a:lnTo>
                      <a:pt x="98" y="18"/>
                    </a:lnTo>
                    <a:lnTo>
                      <a:pt x="98" y="18"/>
                    </a:lnTo>
                    <a:lnTo>
                      <a:pt x="91" y="19"/>
                    </a:lnTo>
                    <a:lnTo>
                      <a:pt x="85" y="19"/>
                    </a:lnTo>
                    <a:lnTo>
                      <a:pt x="79" y="23"/>
                    </a:lnTo>
                    <a:lnTo>
                      <a:pt x="79" y="27"/>
                    </a:lnTo>
                    <a:lnTo>
                      <a:pt x="79" y="27"/>
                    </a:lnTo>
                    <a:lnTo>
                      <a:pt x="74" y="32"/>
                    </a:lnTo>
                    <a:lnTo>
                      <a:pt x="71" y="37"/>
                    </a:lnTo>
                    <a:lnTo>
                      <a:pt x="70" y="39"/>
                    </a:lnTo>
                    <a:lnTo>
                      <a:pt x="70" y="39"/>
                    </a:lnTo>
                    <a:lnTo>
                      <a:pt x="68" y="41"/>
                    </a:lnTo>
                    <a:lnTo>
                      <a:pt x="68" y="41"/>
                    </a:lnTo>
                    <a:lnTo>
                      <a:pt x="67" y="45"/>
                    </a:lnTo>
                    <a:lnTo>
                      <a:pt x="67" y="49"/>
                    </a:lnTo>
                    <a:lnTo>
                      <a:pt x="71" y="51"/>
                    </a:lnTo>
                    <a:lnTo>
                      <a:pt x="71" y="56"/>
                    </a:lnTo>
                    <a:lnTo>
                      <a:pt x="68" y="56"/>
                    </a:lnTo>
                    <a:lnTo>
                      <a:pt x="68" y="53"/>
                    </a:lnTo>
                    <a:lnTo>
                      <a:pt x="64" y="50"/>
                    </a:lnTo>
                    <a:lnTo>
                      <a:pt x="66" y="42"/>
                    </a:lnTo>
                    <a:lnTo>
                      <a:pt x="68" y="38"/>
                    </a:lnTo>
                    <a:lnTo>
                      <a:pt x="68" y="37"/>
                    </a:lnTo>
                    <a:lnTo>
                      <a:pt x="66" y="35"/>
                    </a:lnTo>
                    <a:lnTo>
                      <a:pt x="63" y="35"/>
                    </a:lnTo>
                    <a:lnTo>
                      <a:pt x="60" y="38"/>
                    </a:lnTo>
                    <a:lnTo>
                      <a:pt x="60" y="39"/>
                    </a:lnTo>
                    <a:lnTo>
                      <a:pt x="63" y="41"/>
                    </a:lnTo>
                    <a:lnTo>
                      <a:pt x="60" y="46"/>
                    </a:lnTo>
                    <a:lnTo>
                      <a:pt x="57" y="47"/>
                    </a:lnTo>
                    <a:lnTo>
                      <a:pt x="56" y="46"/>
                    </a:lnTo>
                    <a:lnTo>
                      <a:pt x="51" y="4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8" name="Freeform 47">
                <a:extLst>
                  <a:ext uri="{FF2B5EF4-FFF2-40B4-BE49-F238E27FC236}">
                    <a16:creationId xmlns:a16="http://schemas.microsoft.com/office/drawing/2014/main" id="{807307E5-9EE3-4FAD-A2A4-49359BC3A5C1}"/>
                  </a:ext>
                </a:extLst>
              </p:cNvPr>
              <p:cNvSpPr>
                <a:spLocks/>
              </p:cNvSpPr>
              <p:nvPr/>
            </p:nvSpPr>
            <p:spPr bwMode="auto">
              <a:xfrm>
                <a:off x="3165475" y="1720919"/>
                <a:ext cx="7938" cy="4763"/>
              </a:xfrm>
              <a:custGeom>
                <a:avLst/>
                <a:gdLst>
                  <a:gd name="T0" fmla="*/ 8 w 9"/>
                  <a:gd name="T1" fmla="*/ 2 h 7"/>
                  <a:gd name="T2" fmla="*/ 9 w 9"/>
                  <a:gd name="T3" fmla="*/ 7 h 7"/>
                  <a:gd name="T4" fmla="*/ 6 w 9"/>
                  <a:gd name="T5" fmla="*/ 7 h 7"/>
                  <a:gd name="T6" fmla="*/ 2 w 9"/>
                  <a:gd name="T7" fmla="*/ 4 h 7"/>
                  <a:gd name="T8" fmla="*/ 1 w 9"/>
                  <a:gd name="T9" fmla="*/ 6 h 7"/>
                  <a:gd name="T10" fmla="*/ 0 w 9"/>
                  <a:gd name="T11" fmla="*/ 4 h 7"/>
                  <a:gd name="T12" fmla="*/ 4 w 9"/>
                  <a:gd name="T13" fmla="*/ 3 h 7"/>
                  <a:gd name="T14" fmla="*/ 4 w 9"/>
                  <a:gd name="T15" fmla="*/ 2 h 7"/>
                  <a:gd name="T16" fmla="*/ 6 w 9"/>
                  <a:gd name="T17" fmla="*/ 0 h 7"/>
                  <a:gd name="T18" fmla="*/ 8 w 9"/>
                  <a:gd name="T1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8" y="2"/>
                    </a:moveTo>
                    <a:lnTo>
                      <a:pt x="9" y="7"/>
                    </a:lnTo>
                    <a:lnTo>
                      <a:pt x="6" y="7"/>
                    </a:lnTo>
                    <a:lnTo>
                      <a:pt x="2" y="4"/>
                    </a:lnTo>
                    <a:lnTo>
                      <a:pt x="1" y="6"/>
                    </a:lnTo>
                    <a:lnTo>
                      <a:pt x="0" y="4"/>
                    </a:lnTo>
                    <a:lnTo>
                      <a:pt x="4" y="3"/>
                    </a:lnTo>
                    <a:lnTo>
                      <a:pt x="4" y="2"/>
                    </a:lnTo>
                    <a:lnTo>
                      <a:pt x="6" y="0"/>
                    </a:lnTo>
                    <a:lnTo>
                      <a:pt x="8"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9" name="Freeform 48">
                <a:extLst>
                  <a:ext uri="{FF2B5EF4-FFF2-40B4-BE49-F238E27FC236}">
                    <a16:creationId xmlns:a16="http://schemas.microsoft.com/office/drawing/2014/main" id="{381B679A-C5C1-4CCE-B04A-E80A9A14B2F8}"/>
                  </a:ext>
                </a:extLst>
              </p:cNvPr>
              <p:cNvSpPr>
                <a:spLocks/>
              </p:cNvSpPr>
              <p:nvPr/>
            </p:nvSpPr>
            <p:spPr bwMode="auto">
              <a:xfrm>
                <a:off x="3100388" y="1673294"/>
                <a:ext cx="26988" cy="55563"/>
              </a:xfrm>
              <a:custGeom>
                <a:avLst/>
                <a:gdLst>
                  <a:gd name="T0" fmla="*/ 29 w 34"/>
                  <a:gd name="T1" fmla="*/ 66 h 69"/>
                  <a:gd name="T2" fmla="*/ 23 w 34"/>
                  <a:gd name="T3" fmla="*/ 66 h 69"/>
                  <a:gd name="T4" fmla="*/ 15 w 34"/>
                  <a:gd name="T5" fmla="*/ 69 h 69"/>
                  <a:gd name="T6" fmla="*/ 14 w 34"/>
                  <a:gd name="T7" fmla="*/ 65 h 69"/>
                  <a:gd name="T8" fmla="*/ 13 w 34"/>
                  <a:gd name="T9" fmla="*/ 62 h 69"/>
                  <a:gd name="T10" fmla="*/ 13 w 34"/>
                  <a:gd name="T11" fmla="*/ 56 h 69"/>
                  <a:gd name="T12" fmla="*/ 11 w 34"/>
                  <a:gd name="T13" fmla="*/ 53 h 69"/>
                  <a:gd name="T14" fmla="*/ 4 w 34"/>
                  <a:gd name="T15" fmla="*/ 47 h 69"/>
                  <a:gd name="T16" fmla="*/ 3 w 34"/>
                  <a:gd name="T17" fmla="*/ 49 h 69"/>
                  <a:gd name="T18" fmla="*/ 0 w 34"/>
                  <a:gd name="T19" fmla="*/ 41 h 69"/>
                  <a:gd name="T20" fmla="*/ 3 w 34"/>
                  <a:gd name="T21" fmla="*/ 34 h 69"/>
                  <a:gd name="T22" fmla="*/ 11 w 34"/>
                  <a:gd name="T23" fmla="*/ 42 h 69"/>
                  <a:gd name="T24" fmla="*/ 15 w 34"/>
                  <a:gd name="T25" fmla="*/ 39 h 69"/>
                  <a:gd name="T26" fmla="*/ 18 w 34"/>
                  <a:gd name="T27" fmla="*/ 37 h 69"/>
                  <a:gd name="T28" fmla="*/ 19 w 34"/>
                  <a:gd name="T29" fmla="*/ 31 h 69"/>
                  <a:gd name="T30" fmla="*/ 18 w 34"/>
                  <a:gd name="T31" fmla="*/ 27 h 69"/>
                  <a:gd name="T32" fmla="*/ 14 w 34"/>
                  <a:gd name="T33" fmla="*/ 23 h 69"/>
                  <a:gd name="T34" fmla="*/ 14 w 34"/>
                  <a:gd name="T35" fmla="*/ 11 h 69"/>
                  <a:gd name="T36" fmla="*/ 14 w 34"/>
                  <a:gd name="T37" fmla="*/ 8 h 69"/>
                  <a:gd name="T38" fmla="*/ 22 w 34"/>
                  <a:gd name="T39" fmla="*/ 4 h 69"/>
                  <a:gd name="T40" fmla="*/ 26 w 34"/>
                  <a:gd name="T41" fmla="*/ 0 h 69"/>
                  <a:gd name="T42" fmla="*/ 27 w 34"/>
                  <a:gd name="T43" fmla="*/ 3 h 69"/>
                  <a:gd name="T44" fmla="*/ 23 w 34"/>
                  <a:gd name="T45" fmla="*/ 8 h 69"/>
                  <a:gd name="T46" fmla="*/ 25 w 34"/>
                  <a:gd name="T47" fmla="*/ 12 h 69"/>
                  <a:gd name="T48" fmla="*/ 34 w 34"/>
                  <a:gd name="T49" fmla="*/ 18 h 69"/>
                  <a:gd name="T50" fmla="*/ 33 w 34"/>
                  <a:gd name="T51" fmla="*/ 22 h 69"/>
                  <a:gd name="T52" fmla="*/ 29 w 34"/>
                  <a:gd name="T53" fmla="*/ 27 h 69"/>
                  <a:gd name="T54" fmla="*/ 27 w 34"/>
                  <a:gd name="T55" fmla="*/ 35 h 69"/>
                  <a:gd name="T56" fmla="*/ 25 w 34"/>
                  <a:gd name="T57" fmla="*/ 37 h 69"/>
                  <a:gd name="T58" fmla="*/ 26 w 34"/>
                  <a:gd name="T59" fmla="*/ 46 h 69"/>
                  <a:gd name="T60" fmla="*/ 27 w 34"/>
                  <a:gd name="T61" fmla="*/ 58 h 69"/>
                  <a:gd name="T62" fmla="*/ 30 w 34"/>
                  <a:gd name="T63" fmla="*/ 58 h 69"/>
                  <a:gd name="T64" fmla="*/ 33 w 34"/>
                  <a:gd name="T65"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69">
                    <a:moveTo>
                      <a:pt x="33" y="65"/>
                    </a:moveTo>
                    <a:lnTo>
                      <a:pt x="29" y="66"/>
                    </a:lnTo>
                    <a:lnTo>
                      <a:pt x="27" y="65"/>
                    </a:lnTo>
                    <a:lnTo>
                      <a:pt x="23" y="66"/>
                    </a:lnTo>
                    <a:lnTo>
                      <a:pt x="21" y="65"/>
                    </a:lnTo>
                    <a:lnTo>
                      <a:pt x="15" y="69"/>
                    </a:lnTo>
                    <a:lnTo>
                      <a:pt x="14" y="69"/>
                    </a:lnTo>
                    <a:lnTo>
                      <a:pt x="14" y="65"/>
                    </a:lnTo>
                    <a:lnTo>
                      <a:pt x="14" y="65"/>
                    </a:lnTo>
                    <a:lnTo>
                      <a:pt x="13" y="62"/>
                    </a:lnTo>
                    <a:lnTo>
                      <a:pt x="13" y="58"/>
                    </a:lnTo>
                    <a:lnTo>
                      <a:pt x="13" y="56"/>
                    </a:lnTo>
                    <a:lnTo>
                      <a:pt x="11" y="53"/>
                    </a:lnTo>
                    <a:lnTo>
                      <a:pt x="11" y="53"/>
                    </a:lnTo>
                    <a:lnTo>
                      <a:pt x="7" y="51"/>
                    </a:lnTo>
                    <a:lnTo>
                      <a:pt x="4" y="47"/>
                    </a:lnTo>
                    <a:lnTo>
                      <a:pt x="3" y="49"/>
                    </a:lnTo>
                    <a:lnTo>
                      <a:pt x="3" y="49"/>
                    </a:lnTo>
                    <a:lnTo>
                      <a:pt x="2" y="45"/>
                    </a:lnTo>
                    <a:lnTo>
                      <a:pt x="0" y="41"/>
                    </a:lnTo>
                    <a:lnTo>
                      <a:pt x="2" y="38"/>
                    </a:lnTo>
                    <a:lnTo>
                      <a:pt x="3" y="34"/>
                    </a:lnTo>
                    <a:lnTo>
                      <a:pt x="3" y="38"/>
                    </a:lnTo>
                    <a:lnTo>
                      <a:pt x="11" y="42"/>
                    </a:lnTo>
                    <a:lnTo>
                      <a:pt x="11" y="42"/>
                    </a:lnTo>
                    <a:lnTo>
                      <a:pt x="15" y="39"/>
                    </a:lnTo>
                    <a:lnTo>
                      <a:pt x="17" y="38"/>
                    </a:lnTo>
                    <a:lnTo>
                      <a:pt x="18" y="37"/>
                    </a:lnTo>
                    <a:lnTo>
                      <a:pt x="18" y="34"/>
                    </a:lnTo>
                    <a:lnTo>
                      <a:pt x="19" y="31"/>
                    </a:lnTo>
                    <a:lnTo>
                      <a:pt x="18" y="27"/>
                    </a:lnTo>
                    <a:lnTo>
                      <a:pt x="18" y="27"/>
                    </a:lnTo>
                    <a:lnTo>
                      <a:pt x="15" y="24"/>
                    </a:lnTo>
                    <a:lnTo>
                      <a:pt x="14" y="23"/>
                    </a:lnTo>
                    <a:lnTo>
                      <a:pt x="17" y="16"/>
                    </a:lnTo>
                    <a:lnTo>
                      <a:pt x="14" y="11"/>
                    </a:lnTo>
                    <a:lnTo>
                      <a:pt x="14" y="11"/>
                    </a:lnTo>
                    <a:lnTo>
                      <a:pt x="14" y="8"/>
                    </a:lnTo>
                    <a:lnTo>
                      <a:pt x="17" y="5"/>
                    </a:lnTo>
                    <a:lnTo>
                      <a:pt x="22" y="4"/>
                    </a:lnTo>
                    <a:lnTo>
                      <a:pt x="23" y="0"/>
                    </a:lnTo>
                    <a:lnTo>
                      <a:pt x="26" y="0"/>
                    </a:lnTo>
                    <a:lnTo>
                      <a:pt x="27" y="3"/>
                    </a:lnTo>
                    <a:lnTo>
                      <a:pt x="27" y="3"/>
                    </a:lnTo>
                    <a:lnTo>
                      <a:pt x="26" y="5"/>
                    </a:lnTo>
                    <a:lnTo>
                      <a:pt x="23" y="8"/>
                    </a:lnTo>
                    <a:lnTo>
                      <a:pt x="23" y="11"/>
                    </a:lnTo>
                    <a:lnTo>
                      <a:pt x="25" y="12"/>
                    </a:lnTo>
                    <a:lnTo>
                      <a:pt x="29" y="13"/>
                    </a:lnTo>
                    <a:lnTo>
                      <a:pt x="34" y="18"/>
                    </a:lnTo>
                    <a:lnTo>
                      <a:pt x="34" y="18"/>
                    </a:lnTo>
                    <a:lnTo>
                      <a:pt x="33" y="22"/>
                    </a:lnTo>
                    <a:lnTo>
                      <a:pt x="31" y="26"/>
                    </a:lnTo>
                    <a:lnTo>
                      <a:pt x="29" y="27"/>
                    </a:lnTo>
                    <a:lnTo>
                      <a:pt x="29" y="28"/>
                    </a:lnTo>
                    <a:lnTo>
                      <a:pt x="27" y="35"/>
                    </a:lnTo>
                    <a:lnTo>
                      <a:pt x="25" y="37"/>
                    </a:lnTo>
                    <a:lnTo>
                      <a:pt x="25" y="37"/>
                    </a:lnTo>
                    <a:lnTo>
                      <a:pt x="26" y="41"/>
                    </a:lnTo>
                    <a:lnTo>
                      <a:pt x="26" y="46"/>
                    </a:lnTo>
                    <a:lnTo>
                      <a:pt x="26" y="54"/>
                    </a:lnTo>
                    <a:lnTo>
                      <a:pt x="27" y="58"/>
                    </a:lnTo>
                    <a:lnTo>
                      <a:pt x="27" y="58"/>
                    </a:lnTo>
                    <a:lnTo>
                      <a:pt x="30" y="58"/>
                    </a:lnTo>
                    <a:lnTo>
                      <a:pt x="33" y="60"/>
                    </a:lnTo>
                    <a:lnTo>
                      <a:pt x="33" y="6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0" name="Freeform 49">
                <a:extLst>
                  <a:ext uri="{FF2B5EF4-FFF2-40B4-BE49-F238E27FC236}">
                    <a16:creationId xmlns:a16="http://schemas.microsoft.com/office/drawing/2014/main" id="{41A4A67B-87EA-482C-B43D-99D556145391}"/>
                  </a:ext>
                </a:extLst>
              </p:cNvPr>
              <p:cNvSpPr>
                <a:spLocks/>
              </p:cNvSpPr>
              <p:nvPr/>
            </p:nvSpPr>
            <p:spPr bwMode="auto">
              <a:xfrm>
                <a:off x="3143250" y="1730444"/>
                <a:ext cx="6350" cy="3175"/>
              </a:xfrm>
              <a:custGeom>
                <a:avLst/>
                <a:gdLst>
                  <a:gd name="T0" fmla="*/ 8 w 8"/>
                  <a:gd name="T1" fmla="*/ 0 h 4"/>
                  <a:gd name="T2" fmla="*/ 6 w 8"/>
                  <a:gd name="T3" fmla="*/ 3 h 4"/>
                  <a:gd name="T4" fmla="*/ 7 w 8"/>
                  <a:gd name="T5" fmla="*/ 4 h 4"/>
                  <a:gd name="T6" fmla="*/ 2 w 8"/>
                  <a:gd name="T7" fmla="*/ 4 h 4"/>
                  <a:gd name="T8" fmla="*/ 0 w 8"/>
                  <a:gd name="T9" fmla="*/ 0 h 4"/>
                  <a:gd name="T10" fmla="*/ 2 w 8"/>
                  <a:gd name="T11" fmla="*/ 0 h 4"/>
                  <a:gd name="T12" fmla="*/ 4 w 8"/>
                  <a:gd name="T13" fmla="*/ 1 h 4"/>
                  <a:gd name="T14" fmla="*/ 8 w 8"/>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8" y="0"/>
                    </a:moveTo>
                    <a:lnTo>
                      <a:pt x="6" y="3"/>
                    </a:lnTo>
                    <a:lnTo>
                      <a:pt x="7" y="4"/>
                    </a:lnTo>
                    <a:lnTo>
                      <a:pt x="2" y="4"/>
                    </a:lnTo>
                    <a:lnTo>
                      <a:pt x="0" y="0"/>
                    </a:lnTo>
                    <a:lnTo>
                      <a:pt x="2" y="0"/>
                    </a:lnTo>
                    <a:lnTo>
                      <a:pt x="4" y="1"/>
                    </a:lnTo>
                    <a:lnTo>
                      <a:pt x="8"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1" name="Freeform 50">
                <a:extLst>
                  <a:ext uri="{FF2B5EF4-FFF2-40B4-BE49-F238E27FC236}">
                    <a16:creationId xmlns:a16="http://schemas.microsoft.com/office/drawing/2014/main" id="{7FDDD7AB-FB78-4384-9D24-3BFEA85E4DB5}"/>
                  </a:ext>
                </a:extLst>
              </p:cNvPr>
              <p:cNvSpPr>
                <a:spLocks/>
              </p:cNvSpPr>
              <p:nvPr/>
            </p:nvSpPr>
            <p:spPr bwMode="auto">
              <a:xfrm>
                <a:off x="3017838" y="1698694"/>
                <a:ext cx="47625" cy="36513"/>
              </a:xfrm>
              <a:custGeom>
                <a:avLst/>
                <a:gdLst>
                  <a:gd name="T0" fmla="*/ 51 w 61"/>
                  <a:gd name="T1" fmla="*/ 25 h 46"/>
                  <a:gd name="T2" fmla="*/ 51 w 61"/>
                  <a:gd name="T3" fmla="*/ 25 h 46"/>
                  <a:gd name="T4" fmla="*/ 54 w 61"/>
                  <a:gd name="T5" fmla="*/ 31 h 46"/>
                  <a:gd name="T6" fmla="*/ 55 w 61"/>
                  <a:gd name="T7" fmla="*/ 37 h 46"/>
                  <a:gd name="T8" fmla="*/ 55 w 61"/>
                  <a:gd name="T9" fmla="*/ 39 h 46"/>
                  <a:gd name="T10" fmla="*/ 55 w 61"/>
                  <a:gd name="T11" fmla="*/ 39 h 46"/>
                  <a:gd name="T12" fmla="*/ 46 w 61"/>
                  <a:gd name="T13" fmla="*/ 45 h 46"/>
                  <a:gd name="T14" fmla="*/ 46 w 61"/>
                  <a:gd name="T15" fmla="*/ 45 h 46"/>
                  <a:gd name="T16" fmla="*/ 38 w 61"/>
                  <a:gd name="T17" fmla="*/ 45 h 46"/>
                  <a:gd name="T18" fmla="*/ 31 w 61"/>
                  <a:gd name="T19" fmla="*/ 45 h 46"/>
                  <a:gd name="T20" fmla="*/ 28 w 61"/>
                  <a:gd name="T21" fmla="*/ 46 h 46"/>
                  <a:gd name="T22" fmla="*/ 28 w 61"/>
                  <a:gd name="T23" fmla="*/ 46 h 46"/>
                  <a:gd name="T24" fmla="*/ 23 w 61"/>
                  <a:gd name="T25" fmla="*/ 44 h 46"/>
                  <a:gd name="T26" fmla="*/ 16 w 61"/>
                  <a:gd name="T27" fmla="*/ 38 h 46"/>
                  <a:gd name="T28" fmla="*/ 9 w 61"/>
                  <a:gd name="T29" fmla="*/ 33 h 46"/>
                  <a:gd name="T30" fmla="*/ 7 w 61"/>
                  <a:gd name="T31" fmla="*/ 27 h 46"/>
                  <a:gd name="T32" fmla="*/ 3 w 61"/>
                  <a:gd name="T33" fmla="*/ 26 h 46"/>
                  <a:gd name="T34" fmla="*/ 1 w 61"/>
                  <a:gd name="T35" fmla="*/ 23 h 46"/>
                  <a:gd name="T36" fmla="*/ 3 w 61"/>
                  <a:gd name="T37" fmla="*/ 23 h 46"/>
                  <a:gd name="T38" fmla="*/ 3 w 61"/>
                  <a:gd name="T39" fmla="*/ 23 h 46"/>
                  <a:gd name="T40" fmla="*/ 1 w 61"/>
                  <a:gd name="T41" fmla="*/ 20 h 46"/>
                  <a:gd name="T42" fmla="*/ 0 w 61"/>
                  <a:gd name="T43" fmla="*/ 18 h 46"/>
                  <a:gd name="T44" fmla="*/ 0 w 61"/>
                  <a:gd name="T45" fmla="*/ 16 h 46"/>
                  <a:gd name="T46" fmla="*/ 4 w 61"/>
                  <a:gd name="T47" fmla="*/ 14 h 46"/>
                  <a:gd name="T48" fmla="*/ 4 w 61"/>
                  <a:gd name="T49" fmla="*/ 14 h 46"/>
                  <a:gd name="T50" fmla="*/ 5 w 61"/>
                  <a:gd name="T51" fmla="*/ 10 h 46"/>
                  <a:gd name="T52" fmla="*/ 8 w 61"/>
                  <a:gd name="T53" fmla="*/ 7 h 46"/>
                  <a:gd name="T54" fmla="*/ 15 w 61"/>
                  <a:gd name="T55" fmla="*/ 0 h 46"/>
                  <a:gd name="T56" fmla="*/ 15 w 61"/>
                  <a:gd name="T57" fmla="*/ 0 h 46"/>
                  <a:gd name="T58" fmla="*/ 19 w 61"/>
                  <a:gd name="T59" fmla="*/ 3 h 46"/>
                  <a:gd name="T60" fmla="*/ 22 w 61"/>
                  <a:gd name="T61" fmla="*/ 4 h 46"/>
                  <a:gd name="T62" fmla="*/ 24 w 61"/>
                  <a:gd name="T63" fmla="*/ 1 h 46"/>
                  <a:gd name="T64" fmla="*/ 24 w 61"/>
                  <a:gd name="T65" fmla="*/ 3 h 46"/>
                  <a:gd name="T66" fmla="*/ 27 w 61"/>
                  <a:gd name="T67" fmla="*/ 11 h 46"/>
                  <a:gd name="T68" fmla="*/ 27 w 61"/>
                  <a:gd name="T69" fmla="*/ 11 h 46"/>
                  <a:gd name="T70" fmla="*/ 31 w 61"/>
                  <a:gd name="T71" fmla="*/ 14 h 46"/>
                  <a:gd name="T72" fmla="*/ 35 w 61"/>
                  <a:gd name="T73" fmla="*/ 15 h 46"/>
                  <a:gd name="T74" fmla="*/ 46 w 61"/>
                  <a:gd name="T75" fmla="*/ 14 h 46"/>
                  <a:gd name="T76" fmla="*/ 50 w 61"/>
                  <a:gd name="T77" fmla="*/ 8 h 46"/>
                  <a:gd name="T78" fmla="*/ 57 w 61"/>
                  <a:gd name="T79" fmla="*/ 8 h 46"/>
                  <a:gd name="T80" fmla="*/ 57 w 61"/>
                  <a:gd name="T81" fmla="*/ 11 h 46"/>
                  <a:gd name="T82" fmla="*/ 61 w 61"/>
                  <a:gd name="T83" fmla="*/ 12 h 46"/>
                  <a:gd name="T84" fmla="*/ 61 w 61"/>
                  <a:gd name="T85" fmla="*/ 14 h 46"/>
                  <a:gd name="T86" fmla="*/ 58 w 61"/>
                  <a:gd name="T87" fmla="*/ 18 h 46"/>
                  <a:gd name="T88" fmla="*/ 55 w 61"/>
                  <a:gd name="T89" fmla="*/ 16 h 46"/>
                  <a:gd name="T90" fmla="*/ 51 w 61"/>
                  <a:gd name="T91"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46">
                    <a:moveTo>
                      <a:pt x="51" y="25"/>
                    </a:moveTo>
                    <a:lnTo>
                      <a:pt x="51" y="25"/>
                    </a:lnTo>
                    <a:lnTo>
                      <a:pt x="54" y="31"/>
                    </a:lnTo>
                    <a:lnTo>
                      <a:pt x="55" y="37"/>
                    </a:lnTo>
                    <a:lnTo>
                      <a:pt x="55" y="39"/>
                    </a:lnTo>
                    <a:lnTo>
                      <a:pt x="55" y="39"/>
                    </a:lnTo>
                    <a:lnTo>
                      <a:pt x="46" y="45"/>
                    </a:lnTo>
                    <a:lnTo>
                      <a:pt x="46" y="45"/>
                    </a:lnTo>
                    <a:lnTo>
                      <a:pt x="38" y="45"/>
                    </a:lnTo>
                    <a:lnTo>
                      <a:pt x="31" y="45"/>
                    </a:lnTo>
                    <a:lnTo>
                      <a:pt x="28" y="46"/>
                    </a:lnTo>
                    <a:lnTo>
                      <a:pt x="28" y="46"/>
                    </a:lnTo>
                    <a:lnTo>
                      <a:pt x="23" y="44"/>
                    </a:lnTo>
                    <a:lnTo>
                      <a:pt x="16" y="38"/>
                    </a:lnTo>
                    <a:lnTo>
                      <a:pt x="9" y="33"/>
                    </a:lnTo>
                    <a:lnTo>
                      <a:pt x="7" y="27"/>
                    </a:lnTo>
                    <a:lnTo>
                      <a:pt x="3" y="26"/>
                    </a:lnTo>
                    <a:lnTo>
                      <a:pt x="1" y="23"/>
                    </a:lnTo>
                    <a:lnTo>
                      <a:pt x="3" y="23"/>
                    </a:lnTo>
                    <a:lnTo>
                      <a:pt x="3" y="23"/>
                    </a:lnTo>
                    <a:lnTo>
                      <a:pt x="1" y="20"/>
                    </a:lnTo>
                    <a:lnTo>
                      <a:pt x="0" y="18"/>
                    </a:lnTo>
                    <a:lnTo>
                      <a:pt x="0" y="16"/>
                    </a:lnTo>
                    <a:lnTo>
                      <a:pt x="4" y="14"/>
                    </a:lnTo>
                    <a:lnTo>
                      <a:pt x="4" y="14"/>
                    </a:lnTo>
                    <a:lnTo>
                      <a:pt x="5" y="10"/>
                    </a:lnTo>
                    <a:lnTo>
                      <a:pt x="8" y="7"/>
                    </a:lnTo>
                    <a:lnTo>
                      <a:pt x="15" y="0"/>
                    </a:lnTo>
                    <a:lnTo>
                      <a:pt x="15" y="0"/>
                    </a:lnTo>
                    <a:lnTo>
                      <a:pt x="19" y="3"/>
                    </a:lnTo>
                    <a:lnTo>
                      <a:pt x="22" y="4"/>
                    </a:lnTo>
                    <a:lnTo>
                      <a:pt x="24" y="1"/>
                    </a:lnTo>
                    <a:lnTo>
                      <a:pt x="24" y="3"/>
                    </a:lnTo>
                    <a:lnTo>
                      <a:pt x="27" y="11"/>
                    </a:lnTo>
                    <a:lnTo>
                      <a:pt x="27" y="11"/>
                    </a:lnTo>
                    <a:lnTo>
                      <a:pt x="31" y="14"/>
                    </a:lnTo>
                    <a:lnTo>
                      <a:pt x="35" y="15"/>
                    </a:lnTo>
                    <a:lnTo>
                      <a:pt x="46" y="14"/>
                    </a:lnTo>
                    <a:lnTo>
                      <a:pt x="50" y="8"/>
                    </a:lnTo>
                    <a:lnTo>
                      <a:pt x="57" y="8"/>
                    </a:lnTo>
                    <a:lnTo>
                      <a:pt x="57" y="11"/>
                    </a:lnTo>
                    <a:lnTo>
                      <a:pt x="61" y="12"/>
                    </a:lnTo>
                    <a:lnTo>
                      <a:pt x="61" y="14"/>
                    </a:lnTo>
                    <a:lnTo>
                      <a:pt x="58" y="18"/>
                    </a:lnTo>
                    <a:lnTo>
                      <a:pt x="55" y="16"/>
                    </a:lnTo>
                    <a:lnTo>
                      <a:pt x="51" y="2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2" name="Freeform 51">
                <a:extLst>
                  <a:ext uri="{FF2B5EF4-FFF2-40B4-BE49-F238E27FC236}">
                    <a16:creationId xmlns:a16="http://schemas.microsoft.com/office/drawing/2014/main" id="{9DC4834A-FE0D-4EC6-83A4-AD42ED53CA3D}"/>
                  </a:ext>
                </a:extLst>
              </p:cNvPr>
              <p:cNvSpPr>
                <a:spLocks/>
              </p:cNvSpPr>
              <p:nvPr/>
            </p:nvSpPr>
            <p:spPr bwMode="auto">
              <a:xfrm>
                <a:off x="3068638" y="1714569"/>
                <a:ext cx="9525" cy="20638"/>
              </a:xfrm>
              <a:custGeom>
                <a:avLst/>
                <a:gdLst>
                  <a:gd name="T0" fmla="*/ 9 w 12"/>
                  <a:gd name="T1" fmla="*/ 27 h 27"/>
                  <a:gd name="T2" fmla="*/ 8 w 12"/>
                  <a:gd name="T3" fmla="*/ 27 h 27"/>
                  <a:gd name="T4" fmla="*/ 2 w 12"/>
                  <a:gd name="T5" fmla="*/ 18 h 27"/>
                  <a:gd name="T6" fmla="*/ 2 w 12"/>
                  <a:gd name="T7" fmla="*/ 16 h 27"/>
                  <a:gd name="T8" fmla="*/ 1 w 12"/>
                  <a:gd name="T9" fmla="*/ 16 h 27"/>
                  <a:gd name="T10" fmla="*/ 1 w 12"/>
                  <a:gd name="T11" fmla="*/ 16 h 27"/>
                  <a:gd name="T12" fmla="*/ 0 w 12"/>
                  <a:gd name="T13" fmla="*/ 10 h 27"/>
                  <a:gd name="T14" fmla="*/ 0 w 12"/>
                  <a:gd name="T15" fmla="*/ 6 h 27"/>
                  <a:gd name="T16" fmla="*/ 1 w 12"/>
                  <a:gd name="T17" fmla="*/ 3 h 27"/>
                  <a:gd name="T18" fmla="*/ 2 w 12"/>
                  <a:gd name="T19" fmla="*/ 1 h 27"/>
                  <a:gd name="T20" fmla="*/ 4 w 12"/>
                  <a:gd name="T21" fmla="*/ 0 h 27"/>
                  <a:gd name="T22" fmla="*/ 5 w 12"/>
                  <a:gd name="T23" fmla="*/ 0 h 27"/>
                  <a:gd name="T24" fmla="*/ 12 w 12"/>
                  <a:gd name="T25" fmla="*/ 4 h 27"/>
                  <a:gd name="T26" fmla="*/ 12 w 12"/>
                  <a:gd name="T27" fmla="*/ 4 h 27"/>
                  <a:gd name="T28" fmla="*/ 12 w 12"/>
                  <a:gd name="T29" fmla="*/ 8 h 27"/>
                  <a:gd name="T30" fmla="*/ 10 w 12"/>
                  <a:gd name="T31" fmla="*/ 15 h 27"/>
                  <a:gd name="T32" fmla="*/ 9 w 12"/>
                  <a:gd name="T33" fmla="*/ 20 h 27"/>
                  <a:gd name="T34" fmla="*/ 9 w 12"/>
                  <a:gd name="T35" fmla="*/ 27 h 27"/>
                  <a:gd name="T36" fmla="*/ 9 w 12"/>
                  <a:gd name="T3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7">
                    <a:moveTo>
                      <a:pt x="9" y="27"/>
                    </a:moveTo>
                    <a:lnTo>
                      <a:pt x="8" y="27"/>
                    </a:lnTo>
                    <a:lnTo>
                      <a:pt x="2" y="18"/>
                    </a:lnTo>
                    <a:lnTo>
                      <a:pt x="2" y="16"/>
                    </a:lnTo>
                    <a:lnTo>
                      <a:pt x="1" y="16"/>
                    </a:lnTo>
                    <a:lnTo>
                      <a:pt x="1" y="16"/>
                    </a:lnTo>
                    <a:lnTo>
                      <a:pt x="0" y="10"/>
                    </a:lnTo>
                    <a:lnTo>
                      <a:pt x="0" y="6"/>
                    </a:lnTo>
                    <a:lnTo>
                      <a:pt x="1" y="3"/>
                    </a:lnTo>
                    <a:lnTo>
                      <a:pt x="2" y="1"/>
                    </a:lnTo>
                    <a:lnTo>
                      <a:pt x="4" y="0"/>
                    </a:lnTo>
                    <a:lnTo>
                      <a:pt x="5" y="0"/>
                    </a:lnTo>
                    <a:lnTo>
                      <a:pt x="12" y="4"/>
                    </a:lnTo>
                    <a:lnTo>
                      <a:pt x="12" y="4"/>
                    </a:lnTo>
                    <a:lnTo>
                      <a:pt x="12" y="8"/>
                    </a:lnTo>
                    <a:lnTo>
                      <a:pt x="10" y="15"/>
                    </a:lnTo>
                    <a:lnTo>
                      <a:pt x="9" y="20"/>
                    </a:lnTo>
                    <a:lnTo>
                      <a:pt x="9" y="27"/>
                    </a:lnTo>
                    <a:lnTo>
                      <a:pt x="9" y="2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3" name="Freeform 52">
                <a:extLst>
                  <a:ext uri="{FF2B5EF4-FFF2-40B4-BE49-F238E27FC236}">
                    <a16:creationId xmlns:a16="http://schemas.microsoft.com/office/drawing/2014/main" id="{913187E8-F9BC-4E80-9B0D-0E147CC2841C}"/>
                  </a:ext>
                </a:extLst>
              </p:cNvPr>
              <p:cNvSpPr>
                <a:spLocks/>
              </p:cNvSpPr>
              <p:nvPr/>
            </p:nvSpPr>
            <p:spPr bwMode="auto">
              <a:xfrm>
                <a:off x="2233613" y="1733619"/>
                <a:ext cx="7938" cy="6350"/>
              </a:xfrm>
              <a:custGeom>
                <a:avLst/>
                <a:gdLst>
                  <a:gd name="T0" fmla="*/ 0 w 10"/>
                  <a:gd name="T1" fmla="*/ 9 h 9"/>
                  <a:gd name="T2" fmla="*/ 1 w 10"/>
                  <a:gd name="T3" fmla="*/ 6 h 9"/>
                  <a:gd name="T4" fmla="*/ 3 w 10"/>
                  <a:gd name="T5" fmla="*/ 6 h 9"/>
                  <a:gd name="T6" fmla="*/ 3 w 10"/>
                  <a:gd name="T7" fmla="*/ 5 h 9"/>
                  <a:gd name="T8" fmla="*/ 6 w 10"/>
                  <a:gd name="T9" fmla="*/ 4 h 9"/>
                  <a:gd name="T10" fmla="*/ 4 w 10"/>
                  <a:gd name="T11" fmla="*/ 0 h 9"/>
                  <a:gd name="T12" fmla="*/ 7 w 10"/>
                  <a:gd name="T13" fmla="*/ 0 h 9"/>
                  <a:gd name="T14" fmla="*/ 8 w 10"/>
                  <a:gd name="T15" fmla="*/ 2 h 9"/>
                  <a:gd name="T16" fmla="*/ 7 w 10"/>
                  <a:gd name="T17" fmla="*/ 4 h 9"/>
                  <a:gd name="T18" fmla="*/ 10 w 10"/>
                  <a:gd name="T19" fmla="*/ 8 h 9"/>
                  <a:gd name="T20" fmla="*/ 0 w 10"/>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9">
                    <a:moveTo>
                      <a:pt x="0" y="9"/>
                    </a:moveTo>
                    <a:lnTo>
                      <a:pt x="1" y="6"/>
                    </a:lnTo>
                    <a:lnTo>
                      <a:pt x="3" y="6"/>
                    </a:lnTo>
                    <a:lnTo>
                      <a:pt x="3" y="5"/>
                    </a:lnTo>
                    <a:lnTo>
                      <a:pt x="6" y="4"/>
                    </a:lnTo>
                    <a:lnTo>
                      <a:pt x="4" y="0"/>
                    </a:lnTo>
                    <a:lnTo>
                      <a:pt x="7" y="0"/>
                    </a:lnTo>
                    <a:lnTo>
                      <a:pt x="8" y="2"/>
                    </a:lnTo>
                    <a:lnTo>
                      <a:pt x="7" y="4"/>
                    </a:lnTo>
                    <a:lnTo>
                      <a:pt x="10" y="8"/>
                    </a:lnTo>
                    <a:lnTo>
                      <a:pt x="0" y="9"/>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4" name="Freeform 53">
                <a:extLst>
                  <a:ext uri="{FF2B5EF4-FFF2-40B4-BE49-F238E27FC236}">
                    <a16:creationId xmlns:a16="http://schemas.microsoft.com/office/drawing/2014/main" id="{7BF1F376-9C38-4FBE-A387-F699E39656C3}"/>
                  </a:ext>
                </a:extLst>
              </p:cNvPr>
              <p:cNvSpPr>
                <a:spLocks/>
              </p:cNvSpPr>
              <p:nvPr/>
            </p:nvSpPr>
            <p:spPr bwMode="auto">
              <a:xfrm>
                <a:off x="3048000" y="1733619"/>
                <a:ext cx="19050" cy="9525"/>
              </a:xfrm>
              <a:custGeom>
                <a:avLst/>
                <a:gdLst>
                  <a:gd name="T0" fmla="*/ 22 w 24"/>
                  <a:gd name="T1" fmla="*/ 1 h 11"/>
                  <a:gd name="T2" fmla="*/ 24 w 24"/>
                  <a:gd name="T3" fmla="*/ 5 h 11"/>
                  <a:gd name="T4" fmla="*/ 24 w 24"/>
                  <a:gd name="T5" fmla="*/ 5 h 11"/>
                  <a:gd name="T6" fmla="*/ 22 w 24"/>
                  <a:gd name="T7" fmla="*/ 8 h 11"/>
                  <a:gd name="T8" fmla="*/ 19 w 24"/>
                  <a:gd name="T9" fmla="*/ 8 h 11"/>
                  <a:gd name="T10" fmla="*/ 17 w 24"/>
                  <a:gd name="T11" fmla="*/ 11 h 11"/>
                  <a:gd name="T12" fmla="*/ 17 w 24"/>
                  <a:gd name="T13" fmla="*/ 11 h 11"/>
                  <a:gd name="T14" fmla="*/ 15 w 24"/>
                  <a:gd name="T15" fmla="*/ 9 h 11"/>
                  <a:gd name="T16" fmla="*/ 12 w 24"/>
                  <a:gd name="T17" fmla="*/ 9 h 11"/>
                  <a:gd name="T18" fmla="*/ 9 w 24"/>
                  <a:gd name="T19" fmla="*/ 9 h 11"/>
                  <a:gd name="T20" fmla="*/ 7 w 24"/>
                  <a:gd name="T21" fmla="*/ 8 h 11"/>
                  <a:gd name="T22" fmla="*/ 3 w 24"/>
                  <a:gd name="T23" fmla="*/ 11 h 11"/>
                  <a:gd name="T24" fmla="*/ 0 w 24"/>
                  <a:gd name="T25" fmla="*/ 9 h 11"/>
                  <a:gd name="T26" fmla="*/ 0 w 24"/>
                  <a:gd name="T27" fmla="*/ 8 h 11"/>
                  <a:gd name="T28" fmla="*/ 3 w 24"/>
                  <a:gd name="T29" fmla="*/ 8 h 11"/>
                  <a:gd name="T30" fmla="*/ 19 w 24"/>
                  <a:gd name="T31" fmla="*/ 0 h 11"/>
                  <a:gd name="T32" fmla="*/ 22 w 24"/>
                  <a:gd name="T3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2" y="1"/>
                    </a:moveTo>
                    <a:lnTo>
                      <a:pt x="24" y="5"/>
                    </a:lnTo>
                    <a:lnTo>
                      <a:pt x="24" y="5"/>
                    </a:lnTo>
                    <a:lnTo>
                      <a:pt x="22" y="8"/>
                    </a:lnTo>
                    <a:lnTo>
                      <a:pt x="19" y="8"/>
                    </a:lnTo>
                    <a:lnTo>
                      <a:pt x="17" y="11"/>
                    </a:lnTo>
                    <a:lnTo>
                      <a:pt x="17" y="11"/>
                    </a:lnTo>
                    <a:lnTo>
                      <a:pt x="15" y="9"/>
                    </a:lnTo>
                    <a:lnTo>
                      <a:pt x="12" y="9"/>
                    </a:lnTo>
                    <a:lnTo>
                      <a:pt x="9" y="9"/>
                    </a:lnTo>
                    <a:lnTo>
                      <a:pt x="7" y="8"/>
                    </a:lnTo>
                    <a:lnTo>
                      <a:pt x="3" y="11"/>
                    </a:lnTo>
                    <a:lnTo>
                      <a:pt x="0" y="9"/>
                    </a:lnTo>
                    <a:lnTo>
                      <a:pt x="0" y="8"/>
                    </a:lnTo>
                    <a:lnTo>
                      <a:pt x="3" y="8"/>
                    </a:lnTo>
                    <a:lnTo>
                      <a:pt x="19" y="0"/>
                    </a:lnTo>
                    <a:lnTo>
                      <a:pt x="22"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5" name="Freeform 54">
                <a:extLst>
                  <a:ext uri="{FF2B5EF4-FFF2-40B4-BE49-F238E27FC236}">
                    <a16:creationId xmlns:a16="http://schemas.microsoft.com/office/drawing/2014/main" id="{01DEFABE-1CF6-4185-83CC-64E6EFFFD262}"/>
                  </a:ext>
                </a:extLst>
              </p:cNvPr>
              <p:cNvSpPr>
                <a:spLocks/>
              </p:cNvSpPr>
              <p:nvPr/>
            </p:nvSpPr>
            <p:spPr bwMode="auto">
              <a:xfrm>
                <a:off x="2139950" y="1747906"/>
                <a:ext cx="4763" cy="4763"/>
              </a:xfrm>
              <a:custGeom>
                <a:avLst/>
                <a:gdLst>
                  <a:gd name="T0" fmla="*/ 5 w 5"/>
                  <a:gd name="T1" fmla="*/ 3 h 6"/>
                  <a:gd name="T2" fmla="*/ 1 w 5"/>
                  <a:gd name="T3" fmla="*/ 6 h 6"/>
                  <a:gd name="T4" fmla="*/ 0 w 5"/>
                  <a:gd name="T5" fmla="*/ 5 h 6"/>
                  <a:gd name="T6" fmla="*/ 1 w 5"/>
                  <a:gd name="T7" fmla="*/ 3 h 6"/>
                  <a:gd name="T8" fmla="*/ 3 w 5"/>
                  <a:gd name="T9" fmla="*/ 0 h 6"/>
                  <a:gd name="T10" fmla="*/ 5 w 5"/>
                  <a:gd name="T11" fmla="*/ 3 h 6"/>
                </a:gdLst>
                <a:ahLst/>
                <a:cxnLst>
                  <a:cxn ang="0">
                    <a:pos x="T0" y="T1"/>
                  </a:cxn>
                  <a:cxn ang="0">
                    <a:pos x="T2" y="T3"/>
                  </a:cxn>
                  <a:cxn ang="0">
                    <a:pos x="T4" y="T5"/>
                  </a:cxn>
                  <a:cxn ang="0">
                    <a:pos x="T6" y="T7"/>
                  </a:cxn>
                  <a:cxn ang="0">
                    <a:pos x="T8" y="T9"/>
                  </a:cxn>
                  <a:cxn ang="0">
                    <a:pos x="T10" y="T11"/>
                  </a:cxn>
                </a:cxnLst>
                <a:rect l="0" t="0" r="r" b="b"/>
                <a:pathLst>
                  <a:path w="5" h="6">
                    <a:moveTo>
                      <a:pt x="5" y="3"/>
                    </a:moveTo>
                    <a:lnTo>
                      <a:pt x="1" y="6"/>
                    </a:lnTo>
                    <a:lnTo>
                      <a:pt x="0" y="5"/>
                    </a:lnTo>
                    <a:lnTo>
                      <a:pt x="1" y="3"/>
                    </a:lnTo>
                    <a:lnTo>
                      <a:pt x="3" y="0"/>
                    </a:lnTo>
                    <a:lnTo>
                      <a:pt x="5"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6" name="Freeform 55">
                <a:extLst>
                  <a:ext uri="{FF2B5EF4-FFF2-40B4-BE49-F238E27FC236}">
                    <a16:creationId xmlns:a16="http://schemas.microsoft.com/office/drawing/2014/main" id="{0FC3D0AE-7408-448F-A6DA-C84574857EA1}"/>
                  </a:ext>
                </a:extLst>
              </p:cNvPr>
              <p:cNvSpPr>
                <a:spLocks/>
              </p:cNvSpPr>
              <p:nvPr/>
            </p:nvSpPr>
            <p:spPr bwMode="auto">
              <a:xfrm>
                <a:off x="2641600" y="1755844"/>
                <a:ext cx="4763" cy="3175"/>
              </a:xfrm>
              <a:custGeom>
                <a:avLst/>
                <a:gdLst>
                  <a:gd name="T0" fmla="*/ 6 w 6"/>
                  <a:gd name="T1" fmla="*/ 3 h 4"/>
                  <a:gd name="T2" fmla="*/ 4 w 6"/>
                  <a:gd name="T3" fmla="*/ 4 h 4"/>
                  <a:gd name="T4" fmla="*/ 0 w 6"/>
                  <a:gd name="T5" fmla="*/ 4 h 4"/>
                  <a:gd name="T6" fmla="*/ 0 w 6"/>
                  <a:gd name="T7" fmla="*/ 1 h 4"/>
                  <a:gd name="T8" fmla="*/ 2 w 6"/>
                  <a:gd name="T9" fmla="*/ 0 h 4"/>
                  <a:gd name="T10" fmla="*/ 4 w 6"/>
                  <a:gd name="T11" fmla="*/ 1 h 4"/>
                  <a:gd name="T12" fmla="*/ 6 w 6"/>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3"/>
                    </a:moveTo>
                    <a:lnTo>
                      <a:pt x="4" y="4"/>
                    </a:lnTo>
                    <a:lnTo>
                      <a:pt x="0" y="4"/>
                    </a:lnTo>
                    <a:lnTo>
                      <a:pt x="0" y="1"/>
                    </a:lnTo>
                    <a:lnTo>
                      <a:pt x="2" y="0"/>
                    </a:lnTo>
                    <a:lnTo>
                      <a:pt x="4" y="1"/>
                    </a:lnTo>
                    <a:lnTo>
                      <a:pt x="6"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7" name="Freeform 56">
                <a:extLst>
                  <a:ext uri="{FF2B5EF4-FFF2-40B4-BE49-F238E27FC236}">
                    <a16:creationId xmlns:a16="http://schemas.microsoft.com/office/drawing/2014/main" id="{295618B1-0C31-49CC-A346-F53ABE54CE63}"/>
                  </a:ext>
                </a:extLst>
              </p:cNvPr>
              <p:cNvSpPr>
                <a:spLocks/>
              </p:cNvSpPr>
              <p:nvPr/>
            </p:nvSpPr>
            <p:spPr bwMode="auto">
              <a:xfrm>
                <a:off x="3054350" y="1752669"/>
                <a:ext cx="12700" cy="9525"/>
              </a:xfrm>
              <a:custGeom>
                <a:avLst/>
                <a:gdLst>
                  <a:gd name="T0" fmla="*/ 12 w 16"/>
                  <a:gd name="T1" fmla="*/ 3 h 12"/>
                  <a:gd name="T2" fmla="*/ 12 w 16"/>
                  <a:gd name="T3" fmla="*/ 7 h 12"/>
                  <a:gd name="T4" fmla="*/ 16 w 16"/>
                  <a:gd name="T5" fmla="*/ 8 h 12"/>
                  <a:gd name="T6" fmla="*/ 16 w 16"/>
                  <a:gd name="T7" fmla="*/ 8 h 12"/>
                  <a:gd name="T8" fmla="*/ 15 w 16"/>
                  <a:gd name="T9" fmla="*/ 11 h 12"/>
                  <a:gd name="T10" fmla="*/ 11 w 16"/>
                  <a:gd name="T11" fmla="*/ 8 h 12"/>
                  <a:gd name="T12" fmla="*/ 11 w 16"/>
                  <a:gd name="T13" fmla="*/ 9 h 12"/>
                  <a:gd name="T14" fmla="*/ 8 w 16"/>
                  <a:gd name="T15" fmla="*/ 12 h 12"/>
                  <a:gd name="T16" fmla="*/ 5 w 16"/>
                  <a:gd name="T17" fmla="*/ 8 h 12"/>
                  <a:gd name="T18" fmla="*/ 0 w 16"/>
                  <a:gd name="T19" fmla="*/ 7 h 12"/>
                  <a:gd name="T20" fmla="*/ 0 w 16"/>
                  <a:gd name="T21" fmla="*/ 4 h 12"/>
                  <a:gd name="T22" fmla="*/ 1 w 16"/>
                  <a:gd name="T23" fmla="*/ 1 h 12"/>
                  <a:gd name="T24" fmla="*/ 9 w 16"/>
                  <a:gd name="T25" fmla="*/ 0 h 12"/>
                  <a:gd name="T26" fmla="*/ 12 w 16"/>
                  <a:gd name="T2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2" y="3"/>
                    </a:moveTo>
                    <a:lnTo>
                      <a:pt x="12" y="7"/>
                    </a:lnTo>
                    <a:lnTo>
                      <a:pt x="16" y="8"/>
                    </a:lnTo>
                    <a:lnTo>
                      <a:pt x="16" y="8"/>
                    </a:lnTo>
                    <a:lnTo>
                      <a:pt x="15" y="11"/>
                    </a:lnTo>
                    <a:lnTo>
                      <a:pt x="11" y="8"/>
                    </a:lnTo>
                    <a:lnTo>
                      <a:pt x="11" y="9"/>
                    </a:lnTo>
                    <a:lnTo>
                      <a:pt x="8" y="12"/>
                    </a:lnTo>
                    <a:lnTo>
                      <a:pt x="5" y="8"/>
                    </a:lnTo>
                    <a:lnTo>
                      <a:pt x="0" y="7"/>
                    </a:lnTo>
                    <a:lnTo>
                      <a:pt x="0" y="4"/>
                    </a:lnTo>
                    <a:lnTo>
                      <a:pt x="1" y="1"/>
                    </a:lnTo>
                    <a:lnTo>
                      <a:pt x="9" y="0"/>
                    </a:lnTo>
                    <a:lnTo>
                      <a:pt x="12"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8" name="Freeform 57">
                <a:extLst>
                  <a:ext uri="{FF2B5EF4-FFF2-40B4-BE49-F238E27FC236}">
                    <a16:creationId xmlns:a16="http://schemas.microsoft.com/office/drawing/2014/main" id="{4B3E1602-A197-4E09-9B75-497568A234A7}"/>
                  </a:ext>
                </a:extLst>
              </p:cNvPr>
              <p:cNvSpPr>
                <a:spLocks/>
              </p:cNvSpPr>
              <p:nvPr/>
            </p:nvSpPr>
            <p:spPr bwMode="auto">
              <a:xfrm>
                <a:off x="3140075" y="1717744"/>
                <a:ext cx="46038" cy="44450"/>
              </a:xfrm>
              <a:custGeom>
                <a:avLst/>
                <a:gdLst>
                  <a:gd name="T0" fmla="*/ 36 w 59"/>
                  <a:gd name="T1" fmla="*/ 52 h 55"/>
                  <a:gd name="T2" fmla="*/ 37 w 59"/>
                  <a:gd name="T3" fmla="*/ 50 h 55"/>
                  <a:gd name="T4" fmla="*/ 33 w 59"/>
                  <a:gd name="T5" fmla="*/ 52 h 55"/>
                  <a:gd name="T6" fmla="*/ 32 w 59"/>
                  <a:gd name="T7" fmla="*/ 55 h 55"/>
                  <a:gd name="T8" fmla="*/ 30 w 59"/>
                  <a:gd name="T9" fmla="*/ 52 h 55"/>
                  <a:gd name="T10" fmla="*/ 32 w 59"/>
                  <a:gd name="T11" fmla="*/ 40 h 55"/>
                  <a:gd name="T12" fmla="*/ 25 w 59"/>
                  <a:gd name="T13" fmla="*/ 37 h 55"/>
                  <a:gd name="T14" fmla="*/ 24 w 59"/>
                  <a:gd name="T15" fmla="*/ 35 h 55"/>
                  <a:gd name="T16" fmla="*/ 21 w 59"/>
                  <a:gd name="T17" fmla="*/ 32 h 55"/>
                  <a:gd name="T18" fmla="*/ 13 w 59"/>
                  <a:gd name="T19" fmla="*/ 37 h 55"/>
                  <a:gd name="T20" fmla="*/ 15 w 59"/>
                  <a:gd name="T21" fmla="*/ 42 h 55"/>
                  <a:gd name="T22" fmla="*/ 14 w 59"/>
                  <a:gd name="T23" fmla="*/ 48 h 55"/>
                  <a:gd name="T24" fmla="*/ 7 w 59"/>
                  <a:gd name="T25" fmla="*/ 51 h 55"/>
                  <a:gd name="T26" fmla="*/ 0 w 59"/>
                  <a:gd name="T27" fmla="*/ 51 h 55"/>
                  <a:gd name="T28" fmla="*/ 3 w 59"/>
                  <a:gd name="T29" fmla="*/ 44 h 55"/>
                  <a:gd name="T30" fmla="*/ 7 w 59"/>
                  <a:gd name="T31" fmla="*/ 39 h 55"/>
                  <a:gd name="T32" fmla="*/ 7 w 59"/>
                  <a:gd name="T33" fmla="*/ 33 h 55"/>
                  <a:gd name="T34" fmla="*/ 11 w 59"/>
                  <a:gd name="T35" fmla="*/ 31 h 55"/>
                  <a:gd name="T36" fmla="*/ 15 w 59"/>
                  <a:gd name="T37" fmla="*/ 29 h 55"/>
                  <a:gd name="T38" fmla="*/ 24 w 59"/>
                  <a:gd name="T39" fmla="*/ 31 h 55"/>
                  <a:gd name="T40" fmla="*/ 25 w 59"/>
                  <a:gd name="T41" fmla="*/ 24 h 55"/>
                  <a:gd name="T42" fmla="*/ 18 w 59"/>
                  <a:gd name="T43" fmla="*/ 19 h 55"/>
                  <a:gd name="T44" fmla="*/ 15 w 59"/>
                  <a:gd name="T45" fmla="*/ 12 h 55"/>
                  <a:gd name="T46" fmla="*/ 10 w 59"/>
                  <a:gd name="T47" fmla="*/ 6 h 55"/>
                  <a:gd name="T48" fmla="*/ 17 w 59"/>
                  <a:gd name="T49" fmla="*/ 5 h 55"/>
                  <a:gd name="T50" fmla="*/ 26 w 59"/>
                  <a:gd name="T51" fmla="*/ 5 h 55"/>
                  <a:gd name="T52" fmla="*/ 25 w 59"/>
                  <a:gd name="T53" fmla="*/ 6 h 55"/>
                  <a:gd name="T54" fmla="*/ 25 w 59"/>
                  <a:gd name="T55" fmla="*/ 5 h 55"/>
                  <a:gd name="T56" fmla="*/ 19 w 59"/>
                  <a:gd name="T57" fmla="*/ 4 h 55"/>
                  <a:gd name="T58" fmla="*/ 24 w 59"/>
                  <a:gd name="T59" fmla="*/ 10 h 55"/>
                  <a:gd name="T60" fmla="*/ 28 w 59"/>
                  <a:gd name="T61" fmla="*/ 10 h 55"/>
                  <a:gd name="T62" fmla="*/ 34 w 59"/>
                  <a:gd name="T63" fmla="*/ 12 h 55"/>
                  <a:gd name="T64" fmla="*/ 41 w 59"/>
                  <a:gd name="T65" fmla="*/ 10 h 55"/>
                  <a:gd name="T66" fmla="*/ 43 w 59"/>
                  <a:gd name="T67" fmla="*/ 13 h 55"/>
                  <a:gd name="T68" fmla="*/ 37 w 59"/>
                  <a:gd name="T69" fmla="*/ 14 h 55"/>
                  <a:gd name="T70" fmla="*/ 32 w 59"/>
                  <a:gd name="T71" fmla="*/ 16 h 55"/>
                  <a:gd name="T72" fmla="*/ 29 w 59"/>
                  <a:gd name="T73" fmla="*/ 20 h 55"/>
                  <a:gd name="T74" fmla="*/ 33 w 59"/>
                  <a:gd name="T75" fmla="*/ 25 h 55"/>
                  <a:gd name="T76" fmla="*/ 37 w 59"/>
                  <a:gd name="T77" fmla="*/ 28 h 55"/>
                  <a:gd name="T78" fmla="*/ 41 w 59"/>
                  <a:gd name="T79" fmla="*/ 27 h 55"/>
                  <a:gd name="T80" fmla="*/ 48 w 59"/>
                  <a:gd name="T81" fmla="*/ 27 h 55"/>
                  <a:gd name="T82" fmla="*/ 51 w 59"/>
                  <a:gd name="T83" fmla="*/ 25 h 55"/>
                  <a:gd name="T84" fmla="*/ 55 w 59"/>
                  <a:gd name="T85" fmla="*/ 24 h 55"/>
                  <a:gd name="T86" fmla="*/ 52 w 59"/>
                  <a:gd name="T87" fmla="*/ 27 h 55"/>
                  <a:gd name="T88" fmla="*/ 49 w 59"/>
                  <a:gd name="T89" fmla="*/ 29 h 55"/>
                  <a:gd name="T90" fmla="*/ 51 w 59"/>
                  <a:gd name="T91" fmla="*/ 33 h 55"/>
                  <a:gd name="T92" fmla="*/ 51 w 59"/>
                  <a:gd name="T93" fmla="*/ 37 h 55"/>
                  <a:gd name="T94" fmla="*/ 59 w 59"/>
                  <a:gd name="T95" fmla="*/ 42 h 55"/>
                  <a:gd name="T96" fmla="*/ 55 w 59"/>
                  <a:gd name="T97" fmla="*/ 46 h 55"/>
                  <a:gd name="T98" fmla="*/ 57 w 59"/>
                  <a:gd name="T99" fmla="*/ 51 h 55"/>
                  <a:gd name="T100" fmla="*/ 53 w 59"/>
                  <a:gd name="T101" fmla="*/ 52 h 55"/>
                  <a:gd name="T102" fmla="*/ 51 w 59"/>
                  <a:gd name="T103" fmla="*/ 48 h 55"/>
                  <a:gd name="T104" fmla="*/ 44 w 59"/>
                  <a:gd name="T105" fmla="*/ 48 h 55"/>
                  <a:gd name="T106" fmla="*/ 38 w 59"/>
                  <a:gd name="T107"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 h="55">
                    <a:moveTo>
                      <a:pt x="38" y="51"/>
                    </a:moveTo>
                    <a:lnTo>
                      <a:pt x="36" y="52"/>
                    </a:lnTo>
                    <a:lnTo>
                      <a:pt x="34" y="52"/>
                    </a:lnTo>
                    <a:lnTo>
                      <a:pt x="37" y="50"/>
                    </a:lnTo>
                    <a:lnTo>
                      <a:pt x="34" y="48"/>
                    </a:lnTo>
                    <a:lnTo>
                      <a:pt x="33" y="52"/>
                    </a:lnTo>
                    <a:lnTo>
                      <a:pt x="34" y="54"/>
                    </a:lnTo>
                    <a:lnTo>
                      <a:pt x="32" y="55"/>
                    </a:lnTo>
                    <a:lnTo>
                      <a:pt x="30" y="55"/>
                    </a:lnTo>
                    <a:lnTo>
                      <a:pt x="30" y="52"/>
                    </a:lnTo>
                    <a:lnTo>
                      <a:pt x="32" y="51"/>
                    </a:lnTo>
                    <a:lnTo>
                      <a:pt x="32" y="40"/>
                    </a:lnTo>
                    <a:lnTo>
                      <a:pt x="30" y="37"/>
                    </a:lnTo>
                    <a:lnTo>
                      <a:pt x="25" y="37"/>
                    </a:lnTo>
                    <a:lnTo>
                      <a:pt x="25" y="37"/>
                    </a:lnTo>
                    <a:lnTo>
                      <a:pt x="24" y="35"/>
                    </a:lnTo>
                    <a:lnTo>
                      <a:pt x="21" y="32"/>
                    </a:lnTo>
                    <a:lnTo>
                      <a:pt x="21" y="32"/>
                    </a:lnTo>
                    <a:lnTo>
                      <a:pt x="17" y="33"/>
                    </a:lnTo>
                    <a:lnTo>
                      <a:pt x="13" y="37"/>
                    </a:lnTo>
                    <a:lnTo>
                      <a:pt x="13" y="39"/>
                    </a:lnTo>
                    <a:lnTo>
                      <a:pt x="15" y="42"/>
                    </a:lnTo>
                    <a:lnTo>
                      <a:pt x="17" y="46"/>
                    </a:lnTo>
                    <a:lnTo>
                      <a:pt x="14" y="48"/>
                    </a:lnTo>
                    <a:lnTo>
                      <a:pt x="15" y="52"/>
                    </a:lnTo>
                    <a:lnTo>
                      <a:pt x="7" y="51"/>
                    </a:lnTo>
                    <a:lnTo>
                      <a:pt x="3" y="52"/>
                    </a:lnTo>
                    <a:lnTo>
                      <a:pt x="0" y="51"/>
                    </a:lnTo>
                    <a:lnTo>
                      <a:pt x="0" y="47"/>
                    </a:lnTo>
                    <a:lnTo>
                      <a:pt x="3" y="44"/>
                    </a:lnTo>
                    <a:lnTo>
                      <a:pt x="3" y="42"/>
                    </a:lnTo>
                    <a:lnTo>
                      <a:pt x="7" y="39"/>
                    </a:lnTo>
                    <a:lnTo>
                      <a:pt x="7" y="33"/>
                    </a:lnTo>
                    <a:lnTo>
                      <a:pt x="7" y="33"/>
                    </a:lnTo>
                    <a:lnTo>
                      <a:pt x="9" y="32"/>
                    </a:lnTo>
                    <a:lnTo>
                      <a:pt x="11" y="31"/>
                    </a:lnTo>
                    <a:lnTo>
                      <a:pt x="13" y="31"/>
                    </a:lnTo>
                    <a:lnTo>
                      <a:pt x="15" y="29"/>
                    </a:lnTo>
                    <a:lnTo>
                      <a:pt x="21" y="31"/>
                    </a:lnTo>
                    <a:lnTo>
                      <a:pt x="24" y="31"/>
                    </a:lnTo>
                    <a:lnTo>
                      <a:pt x="25" y="27"/>
                    </a:lnTo>
                    <a:lnTo>
                      <a:pt x="25" y="24"/>
                    </a:lnTo>
                    <a:lnTo>
                      <a:pt x="24" y="20"/>
                    </a:lnTo>
                    <a:lnTo>
                      <a:pt x="18" y="19"/>
                    </a:lnTo>
                    <a:lnTo>
                      <a:pt x="15" y="12"/>
                    </a:lnTo>
                    <a:lnTo>
                      <a:pt x="15" y="12"/>
                    </a:lnTo>
                    <a:lnTo>
                      <a:pt x="11" y="10"/>
                    </a:lnTo>
                    <a:lnTo>
                      <a:pt x="10" y="6"/>
                    </a:lnTo>
                    <a:lnTo>
                      <a:pt x="10" y="6"/>
                    </a:lnTo>
                    <a:lnTo>
                      <a:pt x="17" y="5"/>
                    </a:lnTo>
                    <a:lnTo>
                      <a:pt x="22" y="0"/>
                    </a:lnTo>
                    <a:lnTo>
                      <a:pt x="26" y="5"/>
                    </a:lnTo>
                    <a:lnTo>
                      <a:pt x="26" y="6"/>
                    </a:lnTo>
                    <a:lnTo>
                      <a:pt x="25" y="6"/>
                    </a:lnTo>
                    <a:lnTo>
                      <a:pt x="25" y="5"/>
                    </a:lnTo>
                    <a:lnTo>
                      <a:pt x="25" y="5"/>
                    </a:lnTo>
                    <a:lnTo>
                      <a:pt x="21" y="4"/>
                    </a:lnTo>
                    <a:lnTo>
                      <a:pt x="19" y="4"/>
                    </a:lnTo>
                    <a:lnTo>
                      <a:pt x="24" y="8"/>
                    </a:lnTo>
                    <a:lnTo>
                      <a:pt x="24" y="10"/>
                    </a:lnTo>
                    <a:lnTo>
                      <a:pt x="25" y="12"/>
                    </a:lnTo>
                    <a:lnTo>
                      <a:pt x="28" y="10"/>
                    </a:lnTo>
                    <a:lnTo>
                      <a:pt x="28" y="10"/>
                    </a:lnTo>
                    <a:lnTo>
                      <a:pt x="34" y="12"/>
                    </a:lnTo>
                    <a:lnTo>
                      <a:pt x="38" y="12"/>
                    </a:lnTo>
                    <a:lnTo>
                      <a:pt x="41" y="10"/>
                    </a:lnTo>
                    <a:lnTo>
                      <a:pt x="43" y="12"/>
                    </a:lnTo>
                    <a:lnTo>
                      <a:pt x="43" y="13"/>
                    </a:lnTo>
                    <a:lnTo>
                      <a:pt x="43" y="13"/>
                    </a:lnTo>
                    <a:lnTo>
                      <a:pt x="37" y="14"/>
                    </a:lnTo>
                    <a:lnTo>
                      <a:pt x="32" y="14"/>
                    </a:lnTo>
                    <a:lnTo>
                      <a:pt x="32" y="16"/>
                    </a:lnTo>
                    <a:lnTo>
                      <a:pt x="32" y="17"/>
                    </a:lnTo>
                    <a:lnTo>
                      <a:pt x="29" y="20"/>
                    </a:lnTo>
                    <a:lnTo>
                      <a:pt x="29" y="20"/>
                    </a:lnTo>
                    <a:lnTo>
                      <a:pt x="33" y="25"/>
                    </a:lnTo>
                    <a:lnTo>
                      <a:pt x="34" y="28"/>
                    </a:lnTo>
                    <a:lnTo>
                      <a:pt x="37" y="28"/>
                    </a:lnTo>
                    <a:lnTo>
                      <a:pt x="37" y="28"/>
                    </a:lnTo>
                    <a:lnTo>
                      <a:pt x="41" y="27"/>
                    </a:lnTo>
                    <a:lnTo>
                      <a:pt x="44" y="25"/>
                    </a:lnTo>
                    <a:lnTo>
                      <a:pt x="48" y="27"/>
                    </a:lnTo>
                    <a:lnTo>
                      <a:pt x="48" y="25"/>
                    </a:lnTo>
                    <a:lnTo>
                      <a:pt x="51" y="25"/>
                    </a:lnTo>
                    <a:lnTo>
                      <a:pt x="53" y="23"/>
                    </a:lnTo>
                    <a:lnTo>
                      <a:pt x="55" y="24"/>
                    </a:lnTo>
                    <a:lnTo>
                      <a:pt x="55" y="25"/>
                    </a:lnTo>
                    <a:lnTo>
                      <a:pt x="52" y="27"/>
                    </a:lnTo>
                    <a:lnTo>
                      <a:pt x="52" y="29"/>
                    </a:lnTo>
                    <a:lnTo>
                      <a:pt x="49" y="29"/>
                    </a:lnTo>
                    <a:lnTo>
                      <a:pt x="49" y="29"/>
                    </a:lnTo>
                    <a:lnTo>
                      <a:pt x="51" y="33"/>
                    </a:lnTo>
                    <a:lnTo>
                      <a:pt x="52" y="36"/>
                    </a:lnTo>
                    <a:lnTo>
                      <a:pt x="51" y="37"/>
                    </a:lnTo>
                    <a:lnTo>
                      <a:pt x="56" y="42"/>
                    </a:lnTo>
                    <a:lnTo>
                      <a:pt x="59" y="42"/>
                    </a:lnTo>
                    <a:lnTo>
                      <a:pt x="59" y="43"/>
                    </a:lnTo>
                    <a:lnTo>
                      <a:pt x="55" y="46"/>
                    </a:lnTo>
                    <a:lnTo>
                      <a:pt x="53" y="50"/>
                    </a:lnTo>
                    <a:lnTo>
                      <a:pt x="57" y="51"/>
                    </a:lnTo>
                    <a:lnTo>
                      <a:pt x="55" y="52"/>
                    </a:lnTo>
                    <a:lnTo>
                      <a:pt x="53" y="52"/>
                    </a:lnTo>
                    <a:lnTo>
                      <a:pt x="51" y="48"/>
                    </a:lnTo>
                    <a:lnTo>
                      <a:pt x="51" y="48"/>
                    </a:lnTo>
                    <a:lnTo>
                      <a:pt x="48" y="47"/>
                    </a:lnTo>
                    <a:lnTo>
                      <a:pt x="44" y="48"/>
                    </a:lnTo>
                    <a:lnTo>
                      <a:pt x="41" y="52"/>
                    </a:lnTo>
                    <a:lnTo>
                      <a:pt x="38" y="5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29" name="Freeform 58">
                <a:extLst>
                  <a:ext uri="{FF2B5EF4-FFF2-40B4-BE49-F238E27FC236}">
                    <a16:creationId xmlns:a16="http://schemas.microsoft.com/office/drawing/2014/main" id="{CF7DF435-C01C-4CE9-8C13-F6A0272FF9E7}"/>
                  </a:ext>
                </a:extLst>
              </p:cNvPr>
              <p:cNvSpPr>
                <a:spLocks/>
              </p:cNvSpPr>
              <p:nvPr/>
            </p:nvSpPr>
            <p:spPr bwMode="auto">
              <a:xfrm>
                <a:off x="3173413" y="1778069"/>
                <a:ext cx="4763" cy="7938"/>
              </a:xfrm>
              <a:custGeom>
                <a:avLst/>
                <a:gdLst>
                  <a:gd name="T0" fmla="*/ 3 w 7"/>
                  <a:gd name="T1" fmla="*/ 3 h 10"/>
                  <a:gd name="T2" fmla="*/ 7 w 7"/>
                  <a:gd name="T3" fmla="*/ 3 h 10"/>
                  <a:gd name="T4" fmla="*/ 6 w 7"/>
                  <a:gd name="T5" fmla="*/ 6 h 10"/>
                  <a:gd name="T6" fmla="*/ 6 w 7"/>
                  <a:gd name="T7" fmla="*/ 6 h 10"/>
                  <a:gd name="T8" fmla="*/ 4 w 7"/>
                  <a:gd name="T9" fmla="*/ 7 h 10"/>
                  <a:gd name="T10" fmla="*/ 2 w 7"/>
                  <a:gd name="T11" fmla="*/ 10 h 10"/>
                  <a:gd name="T12" fmla="*/ 2 w 7"/>
                  <a:gd name="T13" fmla="*/ 9 h 10"/>
                  <a:gd name="T14" fmla="*/ 2 w 7"/>
                  <a:gd name="T15" fmla="*/ 7 h 10"/>
                  <a:gd name="T16" fmla="*/ 0 w 7"/>
                  <a:gd name="T17" fmla="*/ 3 h 10"/>
                  <a:gd name="T18" fmla="*/ 2 w 7"/>
                  <a:gd name="T19" fmla="*/ 0 h 10"/>
                  <a:gd name="T20" fmla="*/ 2 w 7"/>
                  <a:gd name="T21" fmla="*/ 0 h 10"/>
                  <a:gd name="T22" fmla="*/ 3 w 7"/>
                  <a:gd name="T23" fmla="*/ 3 h 10"/>
                  <a:gd name="T24" fmla="*/ 3 w 7"/>
                  <a:gd name="T2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0">
                    <a:moveTo>
                      <a:pt x="3" y="3"/>
                    </a:moveTo>
                    <a:lnTo>
                      <a:pt x="7" y="3"/>
                    </a:lnTo>
                    <a:lnTo>
                      <a:pt x="6" y="6"/>
                    </a:lnTo>
                    <a:lnTo>
                      <a:pt x="6" y="6"/>
                    </a:lnTo>
                    <a:lnTo>
                      <a:pt x="4" y="7"/>
                    </a:lnTo>
                    <a:lnTo>
                      <a:pt x="2" y="10"/>
                    </a:lnTo>
                    <a:lnTo>
                      <a:pt x="2" y="9"/>
                    </a:lnTo>
                    <a:lnTo>
                      <a:pt x="2" y="7"/>
                    </a:lnTo>
                    <a:lnTo>
                      <a:pt x="0" y="3"/>
                    </a:lnTo>
                    <a:lnTo>
                      <a:pt x="2" y="0"/>
                    </a:lnTo>
                    <a:lnTo>
                      <a:pt x="2" y="0"/>
                    </a:lnTo>
                    <a:lnTo>
                      <a:pt x="3" y="3"/>
                    </a:lnTo>
                    <a:lnTo>
                      <a:pt x="3"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0" name="Freeform 59">
                <a:extLst>
                  <a:ext uri="{FF2B5EF4-FFF2-40B4-BE49-F238E27FC236}">
                    <a16:creationId xmlns:a16="http://schemas.microsoft.com/office/drawing/2014/main" id="{4C30882A-4039-43FC-B640-7CA26256A84C}"/>
                  </a:ext>
                </a:extLst>
              </p:cNvPr>
              <p:cNvSpPr>
                <a:spLocks/>
              </p:cNvSpPr>
              <p:nvPr/>
            </p:nvSpPr>
            <p:spPr bwMode="auto">
              <a:xfrm>
                <a:off x="3070225" y="1754256"/>
                <a:ext cx="39688" cy="34925"/>
              </a:xfrm>
              <a:custGeom>
                <a:avLst/>
                <a:gdLst>
                  <a:gd name="T0" fmla="*/ 49 w 49"/>
                  <a:gd name="T1" fmla="*/ 10 h 43"/>
                  <a:gd name="T2" fmla="*/ 42 w 49"/>
                  <a:gd name="T3" fmla="*/ 17 h 43"/>
                  <a:gd name="T4" fmla="*/ 40 w 49"/>
                  <a:gd name="T5" fmla="*/ 25 h 43"/>
                  <a:gd name="T6" fmla="*/ 42 w 49"/>
                  <a:gd name="T7" fmla="*/ 27 h 43"/>
                  <a:gd name="T8" fmla="*/ 46 w 49"/>
                  <a:gd name="T9" fmla="*/ 36 h 43"/>
                  <a:gd name="T10" fmla="*/ 44 w 49"/>
                  <a:gd name="T11" fmla="*/ 39 h 43"/>
                  <a:gd name="T12" fmla="*/ 38 w 49"/>
                  <a:gd name="T13" fmla="*/ 43 h 43"/>
                  <a:gd name="T14" fmla="*/ 37 w 49"/>
                  <a:gd name="T15" fmla="*/ 38 h 43"/>
                  <a:gd name="T16" fmla="*/ 32 w 49"/>
                  <a:gd name="T17" fmla="*/ 38 h 43"/>
                  <a:gd name="T18" fmla="*/ 25 w 49"/>
                  <a:gd name="T19" fmla="*/ 34 h 43"/>
                  <a:gd name="T20" fmla="*/ 15 w 49"/>
                  <a:gd name="T21" fmla="*/ 35 h 43"/>
                  <a:gd name="T22" fmla="*/ 10 w 49"/>
                  <a:gd name="T23" fmla="*/ 32 h 43"/>
                  <a:gd name="T24" fmla="*/ 8 w 49"/>
                  <a:gd name="T25" fmla="*/ 36 h 43"/>
                  <a:gd name="T26" fmla="*/ 3 w 49"/>
                  <a:gd name="T27" fmla="*/ 35 h 43"/>
                  <a:gd name="T28" fmla="*/ 0 w 49"/>
                  <a:gd name="T29" fmla="*/ 34 h 43"/>
                  <a:gd name="T30" fmla="*/ 3 w 49"/>
                  <a:gd name="T31" fmla="*/ 27 h 43"/>
                  <a:gd name="T32" fmla="*/ 4 w 49"/>
                  <a:gd name="T33" fmla="*/ 21 h 43"/>
                  <a:gd name="T34" fmla="*/ 7 w 49"/>
                  <a:gd name="T35" fmla="*/ 15 h 43"/>
                  <a:gd name="T36" fmla="*/ 11 w 49"/>
                  <a:gd name="T37" fmla="*/ 12 h 43"/>
                  <a:gd name="T38" fmla="*/ 13 w 49"/>
                  <a:gd name="T39" fmla="*/ 8 h 43"/>
                  <a:gd name="T40" fmla="*/ 17 w 49"/>
                  <a:gd name="T41" fmla="*/ 15 h 43"/>
                  <a:gd name="T42" fmla="*/ 23 w 49"/>
                  <a:gd name="T43" fmla="*/ 17 h 43"/>
                  <a:gd name="T44" fmla="*/ 25 w 49"/>
                  <a:gd name="T45" fmla="*/ 20 h 43"/>
                  <a:gd name="T46" fmla="*/ 27 w 49"/>
                  <a:gd name="T47" fmla="*/ 19 h 43"/>
                  <a:gd name="T48" fmla="*/ 33 w 49"/>
                  <a:gd name="T49" fmla="*/ 15 h 43"/>
                  <a:gd name="T50" fmla="*/ 33 w 49"/>
                  <a:gd name="T51" fmla="*/ 9 h 43"/>
                  <a:gd name="T52" fmla="*/ 36 w 49"/>
                  <a:gd name="T53" fmla="*/ 5 h 43"/>
                  <a:gd name="T54" fmla="*/ 41 w 49"/>
                  <a:gd name="T55" fmla="*/ 5 h 43"/>
                  <a:gd name="T56" fmla="*/ 44 w 49"/>
                  <a:gd name="T57" fmla="*/ 1 h 43"/>
                  <a:gd name="T58" fmla="*/ 49 w 49"/>
                  <a:gd name="T59" fmla="*/ 1 h 43"/>
                  <a:gd name="T60" fmla="*/ 49 w 49"/>
                  <a:gd name="T61" fmla="*/ 5 h 43"/>
                  <a:gd name="T62" fmla="*/ 49 w 49"/>
                  <a:gd name="T6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43">
                    <a:moveTo>
                      <a:pt x="49" y="10"/>
                    </a:moveTo>
                    <a:lnTo>
                      <a:pt x="49" y="10"/>
                    </a:lnTo>
                    <a:lnTo>
                      <a:pt x="45" y="13"/>
                    </a:lnTo>
                    <a:lnTo>
                      <a:pt x="42" y="17"/>
                    </a:lnTo>
                    <a:lnTo>
                      <a:pt x="44" y="20"/>
                    </a:lnTo>
                    <a:lnTo>
                      <a:pt x="40" y="25"/>
                    </a:lnTo>
                    <a:lnTo>
                      <a:pt x="42" y="27"/>
                    </a:lnTo>
                    <a:lnTo>
                      <a:pt x="42" y="27"/>
                    </a:lnTo>
                    <a:lnTo>
                      <a:pt x="45" y="31"/>
                    </a:lnTo>
                    <a:lnTo>
                      <a:pt x="46" y="36"/>
                    </a:lnTo>
                    <a:lnTo>
                      <a:pt x="46" y="36"/>
                    </a:lnTo>
                    <a:lnTo>
                      <a:pt x="44" y="39"/>
                    </a:lnTo>
                    <a:lnTo>
                      <a:pt x="40" y="40"/>
                    </a:lnTo>
                    <a:lnTo>
                      <a:pt x="38" y="43"/>
                    </a:lnTo>
                    <a:lnTo>
                      <a:pt x="37" y="42"/>
                    </a:lnTo>
                    <a:lnTo>
                      <a:pt x="37" y="38"/>
                    </a:lnTo>
                    <a:lnTo>
                      <a:pt x="32" y="38"/>
                    </a:lnTo>
                    <a:lnTo>
                      <a:pt x="32" y="38"/>
                    </a:lnTo>
                    <a:lnTo>
                      <a:pt x="29" y="35"/>
                    </a:lnTo>
                    <a:lnTo>
                      <a:pt x="25" y="34"/>
                    </a:lnTo>
                    <a:lnTo>
                      <a:pt x="21" y="34"/>
                    </a:lnTo>
                    <a:lnTo>
                      <a:pt x="15" y="35"/>
                    </a:lnTo>
                    <a:lnTo>
                      <a:pt x="13" y="31"/>
                    </a:lnTo>
                    <a:lnTo>
                      <a:pt x="10" y="32"/>
                    </a:lnTo>
                    <a:lnTo>
                      <a:pt x="10" y="35"/>
                    </a:lnTo>
                    <a:lnTo>
                      <a:pt x="8" y="36"/>
                    </a:lnTo>
                    <a:lnTo>
                      <a:pt x="6" y="35"/>
                    </a:lnTo>
                    <a:lnTo>
                      <a:pt x="3" y="35"/>
                    </a:lnTo>
                    <a:lnTo>
                      <a:pt x="2" y="35"/>
                    </a:lnTo>
                    <a:lnTo>
                      <a:pt x="0" y="34"/>
                    </a:lnTo>
                    <a:lnTo>
                      <a:pt x="0" y="34"/>
                    </a:lnTo>
                    <a:lnTo>
                      <a:pt x="3" y="27"/>
                    </a:lnTo>
                    <a:lnTo>
                      <a:pt x="4" y="24"/>
                    </a:lnTo>
                    <a:lnTo>
                      <a:pt x="4" y="21"/>
                    </a:lnTo>
                    <a:lnTo>
                      <a:pt x="8" y="19"/>
                    </a:lnTo>
                    <a:lnTo>
                      <a:pt x="7" y="15"/>
                    </a:lnTo>
                    <a:lnTo>
                      <a:pt x="7" y="15"/>
                    </a:lnTo>
                    <a:lnTo>
                      <a:pt x="11" y="12"/>
                    </a:lnTo>
                    <a:lnTo>
                      <a:pt x="13" y="8"/>
                    </a:lnTo>
                    <a:lnTo>
                      <a:pt x="13" y="8"/>
                    </a:lnTo>
                    <a:lnTo>
                      <a:pt x="15" y="12"/>
                    </a:lnTo>
                    <a:lnTo>
                      <a:pt x="17" y="15"/>
                    </a:lnTo>
                    <a:lnTo>
                      <a:pt x="19" y="16"/>
                    </a:lnTo>
                    <a:lnTo>
                      <a:pt x="23" y="17"/>
                    </a:lnTo>
                    <a:lnTo>
                      <a:pt x="23" y="19"/>
                    </a:lnTo>
                    <a:lnTo>
                      <a:pt x="25" y="20"/>
                    </a:lnTo>
                    <a:lnTo>
                      <a:pt x="26" y="17"/>
                    </a:lnTo>
                    <a:lnTo>
                      <a:pt x="27" y="19"/>
                    </a:lnTo>
                    <a:lnTo>
                      <a:pt x="33" y="16"/>
                    </a:lnTo>
                    <a:lnTo>
                      <a:pt x="33" y="15"/>
                    </a:lnTo>
                    <a:lnTo>
                      <a:pt x="36" y="12"/>
                    </a:lnTo>
                    <a:lnTo>
                      <a:pt x="33" y="9"/>
                    </a:lnTo>
                    <a:lnTo>
                      <a:pt x="33" y="9"/>
                    </a:lnTo>
                    <a:lnTo>
                      <a:pt x="36" y="5"/>
                    </a:lnTo>
                    <a:lnTo>
                      <a:pt x="40" y="4"/>
                    </a:lnTo>
                    <a:lnTo>
                      <a:pt x="41" y="5"/>
                    </a:lnTo>
                    <a:lnTo>
                      <a:pt x="44" y="4"/>
                    </a:lnTo>
                    <a:lnTo>
                      <a:pt x="44" y="1"/>
                    </a:lnTo>
                    <a:lnTo>
                      <a:pt x="46" y="0"/>
                    </a:lnTo>
                    <a:lnTo>
                      <a:pt x="49" y="1"/>
                    </a:lnTo>
                    <a:lnTo>
                      <a:pt x="49" y="1"/>
                    </a:lnTo>
                    <a:lnTo>
                      <a:pt x="49" y="5"/>
                    </a:lnTo>
                    <a:lnTo>
                      <a:pt x="49" y="10"/>
                    </a:lnTo>
                    <a:lnTo>
                      <a:pt x="49" y="1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1" name="Freeform 60">
                <a:extLst>
                  <a:ext uri="{FF2B5EF4-FFF2-40B4-BE49-F238E27FC236}">
                    <a16:creationId xmlns:a16="http://schemas.microsoft.com/office/drawing/2014/main" id="{C3FDC3F4-22DA-4FE1-9829-A8B17A4D5782}"/>
                  </a:ext>
                </a:extLst>
              </p:cNvPr>
              <p:cNvSpPr>
                <a:spLocks/>
              </p:cNvSpPr>
              <p:nvPr/>
            </p:nvSpPr>
            <p:spPr bwMode="auto">
              <a:xfrm>
                <a:off x="2946400" y="1720919"/>
                <a:ext cx="190500" cy="139700"/>
              </a:xfrm>
              <a:custGeom>
                <a:avLst/>
                <a:gdLst>
                  <a:gd name="T0" fmla="*/ 91 w 240"/>
                  <a:gd name="T1" fmla="*/ 19 h 175"/>
                  <a:gd name="T2" fmla="*/ 107 w 240"/>
                  <a:gd name="T3" fmla="*/ 25 h 175"/>
                  <a:gd name="T4" fmla="*/ 110 w 240"/>
                  <a:gd name="T5" fmla="*/ 33 h 175"/>
                  <a:gd name="T6" fmla="*/ 128 w 240"/>
                  <a:gd name="T7" fmla="*/ 46 h 175"/>
                  <a:gd name="T8" fmla="*/ 128 w 240"/>
                  <a:gd name="T9" fmla="*/ 65 h 175"/>
                  <a:gd name="T10" fmla="*/ 120 w 240"/>
                  <a:gd name="T11" fmla="*/ 65 h 175"/>
                  <a:gd name="T12" fmla="*/ 114 w 240"/>
                  <a:gd name="T13" fmla="*/ 71 h 175"/>
                  <a:gd name="T14" fmla="*/ 101 w 240"/>
                  <a:gd name="T15" fmla="*/ 85 h 175"/>
                  <a:gd name="T16" fmla="*/ 94 w 240"/>
                  <a:gd name="T17" fmla="*/ 92 h 175"/>
                  <a:gd name="T18" fmla="*/ 113 w 240"/>
                  <a:gd name="T19" fmla="*/ 99 h 175"/>
                  <a:gd name="T20" fmla="*/ 133 w 240"/>
                  <a:gd name="T21" fmla="*/ 89 h 175"/>
                  <a:gd name="T22" fmla="*/ 145 w 240"/>
                  <a:gd name="T23" fmla="*/ 101 h 175"/>
                  <a:gd name="T24" fmla="*/ 158 w 240"/>
                  <a:gd name="T25" fmla="*/ 90 h 175"/>
                  <a:gd name="T26" fmla="*/ 166 w 240"/>
                  <a:gd name="T27" fmla="*/ 90 h 175"/>
                  <a:gd name="T28" fmla="*/ 169 w 240"/>
                  <a:gd name="T29" fmla="*/ 101 h 175"/>
                  <a:gd name="T30" fmla="*/ 169 w 240"/>
                  <a:gd name="T31" fmla="*/ 104 h 175"/>
                  <a:gd name="T32" fmla="*/ 163 w 240"/>
                  <a:gd name="T33" fmla="*/ 118 h 175"/>
                  <a:gd name="T34" fmla="*/ 177 w 240"/>
                  <a:gd name="T35" fmla="*/ 119 h 175"/>
                  <a:gd name="T36" fmla="*/ 192 w 240"/>
                  <a:gd name="T37" fmla="*/ 108 h 175"/>
                  <a:gd name="T38" fmla="*/ 205 w 240"/>
                  <a:gd name="T39" fmla="*/ 101 h 175"/>
                  <a:gd name="T40" fmla="*/ 200 w 240"/>
                  <a:gd name="T41" fmla="*/ 116 h 175"/>
                  <a:gd name="T42" fmla="*/ 189 w 240"/>
                  <a:gd name="T43" fmla="*/ 124 h 175"/>
                  <a:gd name="T44" fmla="*/ 194 w 240"/>
                  <a:gd name="T45" fmla="*/ 135 h 175"/>
                  <a:gd name="T46" fmla="*/ 194 w 240"/>
                  <a:gd name="T47" fmla="*/ 143 h 175"/>
                  <a:gd name="T48" fmla="*/ 205 w 240"/>
                  <a:gd name="T49" fmla="*/ 146 h 175"/>
                  <a:gd name="T50" fmla="*/ 212 w 240"/>
                  <a:gd name="T51" fmla="*/ 139 h 175"/>
                  <a:gd name="T52" fmla="*/ 208 w 240"/>
                  <a:gd name="T53" fmla="*/ 126 h 175"/>
                  <a:gd name="T54" fmla="*/ 230 w 240"/>
                  <a:gd name="T55" fmla="*/ 119 h 175"/>
                  <a:gd name="T56" fmla="*/ 239 w 240"/>
                  <a:gd name="T57" fmla="*/ 128 h 175"/>
                  <a:gd name="T58" fmla="*/ 238 w 240"/>
                  <a:gd name="T59" fmla="*/ 145 h 175"/>
                  <a:gd name="T60" fmla="*/ 212 w 240"/>
                  <a:gd name="T61" fmla="*/ 147 h 175"/>
                  <a:gd name="T62" fmla="*/ 198 w 240"/>
                  <a:gd name="T63" fmla="*/ 165 h 175"/>
                  <a:gd name="T64" fmla="*/ 193 w 240"/>
                  <a:gd name="T65" fmla="*/ 169 h 175"/>
                  <a:gd name="T66" fmla="*/ 177 w 240"/>
                  <a:gd name="T67" fmla="*/ 158 h 175"/>
                  <a:gd name="T68" fmla="*/ 159 w 240"/>
                  <a:gd name="T69" fmla="*/ 164 h 175"/>
                  <a:gd name="T70" fmla="*/ 152 w 240"/>
                  <a:gd name="T71" fmla="*/ 149 h 175"/>
                  <a:gd name="T72" fmla="*/ 143 w 240"/>
                  <a:gd name="T73" fmla="*/ 131 h 175"/>
                  <a:gd name="T74" fmla="*/ 132 w 240"/>
                  <a:gd name="T75" fmla="*/ 127 h 175"/>
                  <a:gd name="T76" fmla="*/ 110 w 240"/>
                  <a:gd name="T77" fmla="*/ 134 h 175"/>
                  <a:gd name="T78" fmla="*/ 102 w 240"/>
                  <a:gd name="T79" fmla="*/ 141 h 175"/>
                  <a:gd name="T80" fmla="*/ 87 w 240"/>
                  <a:gd name="T81" fmla="*/ 142 h 175"/>
                  <a:gd name="T82" fmla="*/ 76 w 240"/>
                  <a:gd name="T83" fmla="*/ 145 h 175"/>
                  <a:gd name="T84" fmla="*/ 67 w 240"/>
                  <a:gd name="T85" fmla="*/ 146 h 175"/>
                  <a:gd name="T86" fmla="*/ 57 w 240"/>
                  <a:gd name="T87" fmla="*/ 145 h 175"/>
                  <a:gd name="T88" fmla="*/ 49 w 240"/>
                  <a:gd name="T89" fmla="*/ 124 h 175"/>
                  <a:gd name="T90" fmla="*/ 42 w 240"/>
                  <a:gd name="T91" fmla="*/ 112 h 175"/>
                  <a:gd name="T92" fmla="*/ 33 w 240"/>
                  <a:gd name="T93" fmla="*/ 118 h 175"/>
                  <a:gd name="T94" fmla="*/ 26 w 240"/>
                  <a:gd name="T95" fmla="*/ 126 h 175"/>
                  <a:gd name="T96" fmla="*/ 12 w 240"/>
                  <a:gd name="T97" fmla="*/ 120 h 175"/>
                  <a:gd name="T98" fmla="*/ 2 w 240"/>
                  <a:gd name="T99" fmla="*/ 107 h 175"/>
                  <a:gd name="T100" fmla="*/ 0 w 240"/>
                  <a:gd name="T101" fmla="*/ 82 h 175"/>
                  <a:gd name="T102" fmla="*/ 4 w 240"/>
                  <a:gd name="T103" fmla="*/ 65 h 175"/>
                  <a:gd name="T104" fmla="*/ 8 w 240"/>
                  <a:gd name="T105" fmla="*/ 59 h 175"/>
                  <a:gd name="T106" fmla="*/ 7 w 240"/>
                  <a:gd name="T107" fmla="*/ 35 h 175"/>
                  <a:gd name="T108" fmla="*/ 8 w 240"/>
                  <a:gd name="T109" fmla="*/ 24 h 175"/>
                  <a:gd name="T110" fmla="*/ 19 w 240"/>
                  <a:gd name="T111" fmla="*/ 10 h 175"/>
                  <a:gd name="T112" fmla="*/ 37 w 240"/>
                  <a:gd name="T113" fmla="*/ 5 h 175"/>
                  <a:gd name="T114" fmla="*/ 49 w 240"/>
                  <a:gd name="T115" fmla="*/ 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175">
                    <a:moveTo>
                      <a:pt x="63" y="0"/>
                    </a:moveTo>
                    <a:lnTo>
                      <a:pt x="67" y="5"/>
                    </a:lnTo>
                    <a:lnTo>
                      <a:pt x="67" y="5"/>
                    </a:lnTo>
                    <a:lnTo>
                      <a:pt x="75" y="9"/>
                    </a:lnTo>
                    <a:lnTo>
                      <a:pt x="83" y="13"/>
                    </a:lnTo>
                    <a:lnTo>
                      <a:pt x="91" y="19"/>
                    </a:lnTo>
                    <a:lnTo>
                      <a:pt x="99" y="21"/>
                    </a:lnTo>
                    <a:lnTo>
                      <a:pt x="102" y="21"/>
                    </a:lnTo>
                    <a:lnTo>
                      <a:pt x="102" y="19"/>
                    </a:lnTo>
                    <a:lnTo>
                      <a:pt x="103" y="17"/>
                    </a:lnTo>
                    <a:lnTo>
                      <a:pt x="107" y="20"/>
                    </a:lnTo>
                    <a:lnTo>
                      <a:pt x="107" y="25"/>
                    </a:lnTo>
                    <a:lnTo>
                      <a:pt x="112" y="27"/>
                    </a:lnTo>
                    <a:lnTo>
                      <a:pt x="113" y="27"/>
                    </a:lnTo>
                    <a:lnTo>
                      <a:pt x="116" y="29"/>
                    </a:lnTo>
                    <a:lnTo>
                      <a:pt x="117" y="32"/>
                    </a:lnTo>
                    <a:lnTo>
                      <a:pt x="116" y="33"/>
                    </a:lnTo>
                    <a:lnTo>
                      <a:pt x="110" y="33"/>
                    </a:lnTo>
                    <a:lnTo>
                      <a:pt x="110" y="36"/>
                    </a:lnTo>
                    <a:lnTo>
                      <a:pt x="113" y="35"/>
                    </a:lnTo>
                    <a:lnTo>
                      <a:pt x="113" y="35"/>
                    </a:lnTo>
                    <a:lnTo>
                      <a:pt x="118" y="40"/>
                    </a:lnTo>
                    <a:lnTo>
                      <a:pt x="124" y="46"/>
                    </a:lnTo>
                    <a:lnTo>
                      <a:pt x="128" y="46"/>
                    </a:lnTo>
                    <a:lnTo>
                      <a:pt x="128" y="46"/>
                    </a:lnTo>
                    <a:lnTo>
                      <a:pt x="131" y="50"/>
                    </a:lnTo>
                    <a:lnTo>
                      <a:pt x="132" y="57"/>
                    </a:lnTo>
                    <a:lnTo>
                      <a:pt x="131" y="59"/>
                    </a:lnTo>
                    <a:lnTo>
                      <a:pt x="132" y="61"/>
                    </a:lnTo>
                    <a:lnTo>
                      <a:pt x="128" y="65"/>
                    </a:lnTo>
                    <a:lnTo>
                      <a:pt x="126" y="69"/>
                    </a:lnTo>
                    <a:lnTo>
                      <a:pt x="128" y="70"/>
                    </a:lnTo>
                    <a:lnTo>
                      <a:pt x="128" y="71"/>
                    </a:lnTo>
                    <a:lnTo>
                      <a:pt x="124" y="70"/>
                    </a:lnTo>
                    <a:lnTo>
                      <a:pt x="120" y="65"/>
                    </a:lnTo>
                    <a:lnTo>
                      <a:pt x="120" y="65"/>
                    </a:lnTo>
                    <a:lnTo>
                      <a:pt x="117" y="65"/>
                    </a:lnTo>
                    <a:lnTo>
                      <a:pt x="114" y="65"/>
                    </a:lnTo>
                    <a:lnTo>
                      <a:pt x="112" y="65"/>
                    </a:lnTo>
                    <a:lnTo>
                      <a:pt x="110" y="65"/>
                    </a:lnTo>
                    <a:lnTo>
                      <a:pt x="109" y="66"/>
                    </a:lnTo>
                    <a:lnTo>
                      <a:pt x="114" y="71"/>
                    </a:lnTo>
                    <a:lnTo>
                      <a:pt x="110" y="76"/>
                    </a:lnTo>
                    <a:lnTo>
                      <a:pt x="110" y="81"/>
                    </a:lnTo>
                    <a:lnTo>
                      <a:pt x="109" y="82"/>
                    </a:lnTo>
                    <a:lnTo>
                      <a:pt x="105" y="81"/>
                    </a:lnTo>
                    <a:lnTo>
                      <a:pt x="103" y="81"/>
                    </a:lnTo>
                    <a:lnTo>
                      <a:pt x="101" y="85"/>
                    </a:lnTo>
                    <a:lnTo>
                      <a:pt x="98" y="85"/>
                    </a:lnTo>
                    <a:lnTo>
                      <a:pt x="97" y="89"/>
                    </a:lnTo>
                    <a:lnTo>
                      <a:pt x="94" y="89"/>
                    </a:lnTo>
                    <a:lnTo>
                      <a:pt x="91" y="89"/>
                    </a:lnTo>
                    <a:lnTo>
                      <a:pt x="91" y="89"/>
                    </a:lnTo>
                    <a:lnTo>
                      <a:pt x="94" y="92"/>
                    </a:lnTo>
                    <a:lnTo>
                      <a:pt x="95" y="93"/>
                    </a:lnTo>
                    <a:lnTo>
                      <a:pt x="101" y="95"/>
                    </a:lnTo>
                    <a:lnTo>
                      <a:pt x="102" y="96"/>
                    </a:lnTo>
                    <a:lnTo>
                      <a:pt x="109" y="97"/>
                    </a:lnTo>
                    <a:lnTo>
                      <a:pt x="110" y="97"/>
                    </a:lnTo>
                    <a:lnTo>
                      <a:pt x="113" y="99"/>
                    </a:lnTo>
                    <a:lnTo>
                      <a:pt x="118" y="90"/>
                    </a:lnTo>
                    <a:lnTo>
                      <a:pt x="118" y="90"/>
                    </a:lnTo>
                    <a:lnTo>
                      <a:pt x="122" y="89"/>
                    </a:lnTo>
                    <a:lnTo>
                      <a:pt x="125" y="90"/>
                    </a:lnTo>
                    <a:lnTo>
                      <a:pt x="131" y="89"/>
                    </a:lnTo>
                    <a:lnTo>
                      <a:pt x="133" y="89"/>
                    </a:lnTo>
                    <a:lnTo>
                      <a:pt x="135" y="93"/>
                    </a:lnTo>
                    <a:lnTo>
                      <a:pt x="135" y="93"/>
                    </a:lnTo>
                    <a:lnTo>
                      <a:pt x="140" y="96"/>
                    </a:lnTo>
                    <a:lnTo>
                      <a:pt x="144" y="97"/>
                    </a:lnTo>
                    <a:lnTo>
                      <a:pt x="144" y="97"/>
                    </a:lnTo>
                    <a:lnTo>
                      <a:pt x="145" y="101"/>
                    </a:lnTo>
                    <a:lnTo>
                      <a:pt x="145" y="104"/>
                    </a:lnTo>
                    <a:lnTo>
                      <a:pt x="147" y="104"/>
                    </a:lnTo>
                    <a:lnTo>
                      <a:pt x="152" y="100"/>
                    </a:lnTo>
                    <a:lnTo>
                      <a:pt x="154" y="92"/>
                    </a:lnTo>
                    <a:lnTo>
                      <a:pt x="159" y="86"/>
                    </a:lnTo>
                    <a:lnTo>
                      <a:pt x="158" y="90"/>
                    </a:lnTo>
                    <a:lnTo>
                      <a:pt x="160" y="92"/>
                    </a:lnTo>
                    <a:lnTo>
                      <a:pt x="164" y="89"/>
                    </a:lnTo>
                    <a:lnTo>
                      <a:pt x="169" y="90"/>
                    </a:lnTo>
                    <a:lnTo>
                      <a:pt x="170" y="90"/>
                    </a:lnTo>
                    <a:lnTo>
                      <a:pt x="169" y="92"/>
                    </a:lnTo>
                    <a:lnTo>
                      <a:pt x="166" y="90"/>
                    </a:lnTo>
                    <a:lnTo>
                      <a:pt x="164" y="92"/>
                    </a:lnTo>
                    <a:lnTo>
                      <a:pt x="164" y="93"/>
                    </a:lnTo>
                    <a:lnTo>
                      <a:pt x="166" y="95"/>
                    </a:lnTo>
                    <a:lnTo>
                      <a:pt x="164" y="100"/>
                    </a:lnTo>
                    <a:lnTo>
                      <a:pt x="166" y="101"/>
                    </a:lnTo>
                    <a:lnTo>
                      <a:pt x="169" y="101"/>
                    </a:lnTo>
                    <a:lnTo>
                      <a:pt x="171" y="101"/>
                    </a:lnTo>
                    <a:lnTo>
                      <a:pt x="173" y="99"/>
                    </a:lnTo>
                    <a:lnTo>
                      <a:pt x="173" y="99"/>
                    </a:lnTo>
                    <a:lnTo>
                      <a:pt x="174" y="101"/>
                    </a:lnTo>
                    <a:lnTo>
                      <a:pt x="174" y="101"/>
                    </a:lnTo>
                    <a:lnTo>
                      <a:pt x="169" y="104"/>
                    </a:lnTo>
                    <a:lnTo>
                      <a:pt x="163" y="105"/>
                    </a:lnTo>
                    <a:lnTo>
                      <a:pt x="162" y="107"/>
                    </a:lnTo>
                    <a:lnTo>
                      <a:pt x="164" y="112"/>
                    </a:lnTo>
                    <a:lnTo>
                      <a:pt x="164" y="112"/>
                    </a:lnTo>
                    <a:lnTo>
                      <a:pt x="163" y="115"/>
                    </a:lnTo>
                    <a:lnTo>
                      <a:pt x="163" y="118"/>
                    </a:lnTo>
                    <a:lnTo>
                      <a:pt x="163" y="118"/>
                    </a:lnTo>
                    <a:lnTo>
                      <a:pt x="167" y="119"/>
                    </a:lnTo>
                    <a:lnTo>
                      <a:pt x="171" y="119"/>
                    </a:lnTo>
                    <a:lnTo>
                      <a:pt x="174" y="120"/>
                    </a:lnTo>
                    <a:lnTo>
                      <a:pt x="175" y="120"/>
                    </a:lnTo>
                    <a:lnTo>
                      <a:pt x="177" y="119"/>
                    </a:lnTo>
                    <a:lnTo>
                      <a:pt x="177" y="115"/>
                    </a:lnTo>
                    <a:lnTo>
                      <a:pt x="181" y="114"/>
                    </a:lnTo>
                    <a:lnTo>
                      <a:pt x="185" y="104"/>
                    </a:lnTo>
                    <a:lnTo>
                      <a:pt x="186" y="104"/>
                    </a:lnTo>
                    <a:lnTo>
                      <a:pt x="189" y="107"/>
                    </a:lnTo>
                    <a:lnTo>
                      <a:pt x="192" y="108"/>
                    </a:lnTo>
                    <a:lnTo>
                      <a:pt x="194" y="107"/>
                    </a:lnTo>
                    <a:lnTo>
                      <a:pt x="196" y="108"/>
                    </a:lnTo>
                    <a:lnTo>
                      <a:pt x="202" y="104"/>
                    </a:lnTo>
                    <a:lnTo>
                      <a:pt x="204" y="100"/>
                    </a:lnTo>
                    <a:lnTo>
                      <a:pt x="205" y="101"/>
                    </a:lnTo>
                    <a:lnTo>
                      <a:pt x="205" y="101"/>
                    </a:lnTo>
                    <a:lnTo>
                      <a:pt x="207" y="109"/>
                    </a:lnTo>
                    <a:lnTo>
                      <a:pt x="208" y="116"/>
                    </a:lnTo>
                    <a:lnTo>
                      <a:pt x="207" y="116"/>
                    </a:lnTo>
                    <a:lnTo>
                      <a:pt x="204" y="115"/>
                    </a:lnTo>
                    <a:lnTo>
                      <a:pt x="204" y="115"/>
                    </a:lnTo>
                    <a:lnTo>
                      <a:pt x="200" y="116"/>
                    </a:lnTo>
                    <a:lnTo>
                      <a:pt x="196" y="118"/>
                    </a:lnTo>
                    <a:lnTo>
                      <a:pt x="194" y="120"/>
                    </a:lnTo>
                    <a:lnTo>
                      <a:pt x="190" y="122"/>
                    </a:lnTo>
                    <a:lnTo>
                      <a:pt x="189" y="120"/>
                    </a:lnTo>
                    <a:lnTo>
                      <a:pt x="189" y="120"/>
                    </a:lnTo>
                    <a:lnTo>
                      <a:pt x="189" y="124"/>
                    </a:lnTo>
                    <a:lnTo>
                      <a:pt x="189" y="127"/>
                    </a:lnTo>
                    <a:lnTo>
                      <a:pt x="192" y="126"/>
                    </a:lnTo>
                    <a:lnTo>
                      <a:pt x="196" y="130"/>
                    </a:lnTo>
                    <a:lnTo>
                      <a:pt x="196" y="130"/>
                    </a:lnTo>
                    <a:lnTo>
                      <a:pt x="194" y="133"/>
                    </a:lnTo>
                    <a:lnTo>
                      <a:pt x="194" y="135"/>
                    </a:lnTo>
                    <a:lnTo>
                      <a:pt x="196" y="137"/>
                    </a:lnTo>
                    <a:lnTo>
                      <a:pt x="196" y="137"/>
                    </a:lnTo>
                    <a:lnTo>
                      <a:pt x="194" y="142"/>
                    </a:lnTo>
                    <a:lnTo>
                      <a:pt x="192" y="141"/>
                    </a:lnTo>
                    <a:lnTo>
                      <a:pt x="190" y="142"/>
                    </a:lnTo>
                    <a:lnTo>
                      <a:pt x="194" y="143"/>
                    </a:lnTo>
                    <a:lnTo>
                      <a:pt x="194" y="143"/>
                    </a:lnTo>
                    <a:lnTo>
                      <a:pt x="198" y="141"/>
                    </a:lnTo>
                    <a:lnTo>
                      <a:pt x="204" y="139"/>
                    </a:lnTo>
                    <a:lnTo>
                      <a:pt x="205" y="141"/>
                    </a:lnTo>
                    <a:lnTo>
                      <a:pt x="202" y="142"/>
                    </a:lnTo>
                    <a:lnTo>
                      <a:pt x="205" y="146"/>
                    </a:lnTo>
                    <a:lnTo>
                      <a:pt x="209" y="147"/>
                    </a:lnTo>
                    <a:lnTo>
                      <a:pt x="212" y="146"/>
                    </a:lnTo>
                    <a:lnTo>
                      <a:pt x="212" y="145"/>
                    </a:lnTo>
                    <a:lnTo>
                      <a:pt x="213" y="143"/>
                    </a:lnTo>
                    <a:lnTo>
                      <a:pt x="213" y="141"/>
                    </a:lnTo>
                    <a:lnTo>
                      <a:pt x="212" y="139"/>
                    </a:lnTo>
                    <a:lnTo>
                      <a:pt x="209" y="142"/>
                    </a:lnTo>
                    <a:lnTo>
                      <a:pt x="208" y="138"/>
                    </a:lnTo>
                    <a:lnTo>
                      <a:pt x="209" y="137"/>
                    </a:lnTo>
                    <a:lnTo>
                      <a:pt x="209" y="133"/>
                    </a:lnTo>
                    <a:lnTo>
                      <a:pt x="202" y="130"/>
                    </a:lnTo>
                    <a:lnTo>
                      <a:pt x="208" y="126"/>
                    </a:lnTo>
                    <a:lnTo>
                      <a:pt x="212" y="127"/>
                    </a:lnTo>
                    <a:lnTo>
                      <a:pt x="212" y="127"/>
                    </a:lnTo>
                    <a:lnTo>
                      <a:pt x="215" y="123"/>
                    </a:lnTo>
                    <a:lnTo>
                      <a:pt x="220" y="120"/>
                    </a:lnTo>
                    <a:lnTo>
                      <a:pt x="225" y="119"/>
                    </a:lnTo>
                    <a:lnTo>
                      <a:pt x="230" y="119"/>
                    </a:lnTo>
                    <a:lnTo>
                      <a:pt x="236" y="114"/>
                    </a:lnTo>
                    <a:lnTo>
                      <a:pt x="239" y="114"/>
                    </a:lnTo>
                    <a:lnTo>
                      <a:pt x="239" y="118"/>
                    </a:lnTo>
                    <a:lnTo>
                      <a:pt x="240" y="119"/>
                    </a:lnTo>
                    <a:lnTo>
                      <a:pt x="238" y="126"/>
                    </a:lnTo>
                    <a:lnTo>
                      <a:pt x="239" y="128"/>
                    </a:lnTo>
                    <a:lnTo>
                      <a:pt x="236" y="128"/>
                    </a:lnTo>
                    <a:lnTo>
                      <a:pt x="235" y="134"/>
                    </a:lnTo>
                    <a:lnTo>
                      <a:pt x="235" y="134"/>
                    </a:lnTo>
                    <a:lnTo>
                      <a:pt x="238" y="139"/>
                    </a:lnTo>
                    <a:lnTo>
                      <a:pt x="238" y="143"/>
                    </a:lnTo>
                    <a:lnTo>
                      <a:pt x="238" y="145"/>
                    </a:lnTo>
                    <a:lnTo>
                      <a:pt x="234" y="146"/>
                    </a:lnTo>
                    <a:lnTo>
                      <a:pt x="224" y="143"/>
                    </a:lnTo>
                    <a:lnTo>
                      <a:pt x="223" y="143"/>
                    </a:lnTo>
                    <a:lnTo>
                      <a:pt x="220" y="149"/>
                    </a:lnTo>
                    <a:lnTo>
                      <a:pt x="216" y="150"/>
                    </a:lnTo>
                    <a:lnTo>
                      <a:pt x="212" y="147"/>
                    </a:lnTo>
                    <a:lnTo>
                      <a:pt x="212" y="147"/>
                    </a:lnTo>
                    <a:lnTo>
                      <a:pt x="209" y="150"/>
                    </a:lnTo>
                    <a:lnTo>
                      <a:pt x="207" y="154"/>
                    </a:lnTo>
                    <a:lnTo>
                      <a:pt x="204" y="158"/>
                    </a:lnTo>
                    <a:lnTo>
                      <a:pt x="202" y="162"/>
                    </a:lnTo>
                    <a:lnTo>
                      <a:pt x="198" y="165"/>
                    </a:lnTo>
                    <a:lnTo>
                      <a:pt x="197" y="166"/>
                    </a:lnTo>
                    <a:lnTo>
                      <a:pt x="198" y="169"/>
                    </a:lnTo>
                    <a:lnTo>
                      <a:pt x="197" y="172"/>
                    </a:lnTo>
                    <a:lnTo>
                      <a:pt x="194" y="175"/>
                    </a:lnTo>
                    <a:lnTo>
                      <a:pt x="192" y="173"/>
                    </a:lnTo>
                    <a:lnTo>
                      <a:pt x="193" y="169"/>
                    </a:lnTo>
                    <a:lnTo>
                      <a:pt x="192" y="169"/>
                    </a:lnTo>
                    <a:lnTo>
                      <a:pt x="186" y="164"/>
                    </a:lnTo>
                    <a:lnTo>
                      <a:pt x="186" y="164"/>
                    </a:lnTo>
                    <a:lnTo>
                      <a:pt x="182" y="162"/>
                    </a:lnTo>
                    <a:lnTo>
                      <a:pt x="179" y="160"/>
                    </a:lnTo>
                    <a:lnTo>
                      <a:pt x="177" y="158"/>
                    </a:lnTo>
                    <a:lnTo>
                      <a:pt x="174" y="158"/>
                    </a:lnTo>
                    <a:lnTo>
                      <a:pt x="171" y="161"/>
                    </a:lnTo>
                    <a:lnTo>
                      <a:pt x="171" y="161"/>
                    </a:lnTo>
                    <a:lnTo>
                      <a:pt x="163" y="161"/>
                    </a:lnTo>
                    <a:lnTo>
                      <a:pt x="162" y="162"/>
                    </a:lnTo>
                    <a:lnTo>
                      <a:pt x="159" y="164"/>
                    </a:lnTo>
                    <a:lnTo>
                      <a:pt x="158" y="160"/>
                    </a:lnTo>
                    <a:lnTo>
                      <a:pt x="159" y="158"/>
                    </a:lnTo>
                    <a:lnTo>
                      <a:pt x="158" y="156"/>
                    </a:lnTo>
                    <a:lnTo>
                      <a:pt x="155" y="154"/>
                    </a:lnTo>
                    <a:lnTo>
                      <a:pt x="154" y="149"/>
                    </a:lnTo>
                    <a:lnTo>
                      <a:pt x="152" y="149"/>
                    </a:lnTo>
                    <a:lnTo>
                      <a:pt x="152" y="149"/>
                    </a:lnTo>
                    <a:lnTo>
                      <a:pt x="151" y="146"/>
                    </a:lnTo>
                    <a:lnTo>
                      <a:pt x="150" y="143"/>
                    </a:lnTo>
                    <a:lnTo>
                      <a:pt x="147" y="138"/>
                    </a:lnTo>
                    <a:lnTo>
                      <a:pt x="144" y="135"/>
                    </a:lnTo>
                    <a:lnTo>
                      <a:pt x="143" y="131"/>
                    </a:lnTo>
                    <a:lnTo>
                      <a:pt x="143" y="127"/>
                    </a:lnTo>
                    <a:lnTo>
                      <a:pt x="145" y="122"/>
                    </a:lnTo>
                    <a:lnTo>
                      <a:pt x="144" y="119"/>
                    </a:lnTo>
                    <a:lnTo>
                      <a:pt x="140" y="119"/>
                    </a:lnTo>
                    <a:lnTo>
                      <a:pt x="140" y="119"/>
                    </a:lnTo>
                    <a:lnTo>
                      <a:pt x="132" y="127"/>
                    </a:lnTo>
                    <a:lnTo>
                      <a:pt x="126" y="131"/>
                    </a:lnTo>
                    <a:lnTo>
                      <a:pt x="122" y="134"/>
                    </a:lnTo>
                    <a:lnTo>
                      <a:pt x="122" y="134"/>
                    </a:lnTo>
                    <a:lnTo>
                      <a:pt x="120" y="133"/>
                    </a:lnTo>
                    <a:lnTo>
                      <a:pt x="117" y="134"/>
                    </a:lnTo>
                    <a:lnTo>
                      <a:pt x="110" y="134"/>
                    </a:lnTo>
                    <a:lnTo>
                      <a:pt x="106" y="131"/>
                    </a:lnTo>
                    <a:lnTo>
                      <a:pt x="103" y="131"/>
                    </a:lnTo>
                    <a:lnTo>
                      <a:pt x="102" y="133"/>
                    </a:lnTo>
                    <a:lnTo>
                      <a:pt x="105" y="137"/>
                    </a:lnTo>
                    <a:lnTo>
                      <a:pt x="105" y="139"/>
                    </a:lnTo>
                    <a:lnTo>
                      <a:pt x="102" y="141"/>
                    </a:lnTo>
                    <a:lnTo>
                      <a:pt x="102" y="141"/>
                    </a:lnTo>
                    <a:lnTo>
                      <a:pt x="99" y="138"/>
                    </a:lnTo>
                    <a:lnTo>
                      <a:pt x="95" y="138"/>
                    </a:lnTo>
                    <a:lnTo>
                      <a:pt x="91" y="138"/>
                    </a:lnTo>
                    <a:lnTo>
                      <a:pt x="87" y="141"/>
                    </a:lnTo>
                    <a:lnTo>
                      <a:pt x="87" y="142"/>
                    </a:lnTo>
                    <a:lnTo>
                      <a:pt x="90" y="143"/>
                    </a:lnTo>
                    <a:lnTo>
                      <a:pt x="88" y="145"/>
                    </a:lnTo>
                    <a:lnTo>
                      <a:pt x="88" y="145"/>
                    </a:lnTo>
                    <a:lnTo>
                      <a:pt x="83" y="146"/>
                    </a:lnTo>
                    <a:lnTo>
                      <a:pt x="79" y="146"/>
                    </a:lnTo>
                    <a:lnTo>
                      <a:pt x="76" y="145"/>
                    </a:lnTo>
                    <a:lnTo>
                      <a:pt x="75" y="145"/>
                    </a:lnTo>
                    <a:lnTo>
                      <a:pt x="75" y="147"/>
                    </a:lnTo>
                    <a:lnTo>
                      <a:pt x="72" y="147"/>
                    </a:lnTo>
                    <a:lnTo>
                      <a:pt x="71" y="146"/>
                    </a:lnTo>
                    <a:lnTo>
                      <a:pt x="68" y="150"/>
                    </a:lnTo>
                    <a:lnTo>
                      <a:pt x="67" y="146"/>
                    </a:lnTo>
                    <a:lnTo>
                      <a:pt x="65" y="146"/>
                    </a:lnTo>
                    <a:lnTo>
                      <a:pt x="61" y="150"/>
                    </a:lnTo>
                    <a:lnTo>
                      <a:pt x="60" y="150"/>
                    </a:lnTo>
                    <a:lnTo>
                      <a:pt x="60" y="150"/>
                    </a:lnTo>
                    <a:lnTo>
                      <a:pt x="59" y="147"/>
                    </a:lnTo>
                    <a:lnTo>
                      <a:pt x="57" y="145"/>
                    </a:lnTo>
                    <a:lnTo>
                      <a:pt x="57" y="145"/>
                    </a:lnTo>
                    <a:lnTo>
                      <a:pt x="53" y="142"/>
                    </a:lnTo>
                    <a:lnTo>
                      <a:pt x="50" y="137"/>
                    </a:lnTo>
                    <a:lnTo>
                      <a:pt x="49" y="133"/>
                    </a:lnTo>
                    <a:lnTo>
                      <a:pt x="48" y="128"/>
                    </a:lnTo>
                    <a:lnTo>
                      <a:pt x="49" y="124"/>
                    </a:lnTo>
                    <a:lnTo>
                      <a:pt x="49" y="120"/>
                    </a:lnTo>
                    <a:lnTo>
                      <a:pt x="50" y="119"/>
                    </a:lnTo>
                    <a:lnTo>
                      <a:pt x="49" y="116"/>
                    </a:lnTo>
                    <a:lnTo>
                      <a:pt x="49" y="116"/>
                    </a:lnTo>
                    <a:lnTo>
                      <a:pt x="46" y="114"/>
                    </a:lnTo>
                    <a:lnTo>
                      <a:pt x="42" y="112"/>
                    </a:lnTo>
                    <a:lnTo>
                      <a:pt x="42" y="109"/>
                    </a:lnTo>
                    <a:lnTo>
                      <a:pt x="38" y="111"/>
                    </a:lnTo>
                    <a:lnTo>
                      <a:pt x="38" y="114"/>
                    </a:lnTo>
                    <a:lnTo>
                      <a:pt x="36" y="115"/>
                    </a:lnTo>
                    <a:lnTo>
                      <a:pt x="37" y="118"/>
                    </a:lnTo>
                    <a:lnTo>
                      <a:pt x="33" y="118"/>
                    </a:lnTo>
                    <a:lnTo>
                      <a:pt x="31" y="119"/>
                    </a:lnTo>
                    <a:lnTo>
                      <a:pt x="29" y="119"/>
                    </a:lnTo>
                    <a:lnTo>
                      <a:pt x="27" y="116"/>
                    </a:lnTo>
                    <a:lnTo>
                      <a:pt x="27" y="116"/>
                    </a:lnTo>
                    <a:lnTo>
                      <a:pt x="25" y="123"/>
                    </a:lnTo>
                    <a:lnTo>
                      <a:pt x="26" y="126"/>
                    </a:lnTo>
                    <a:lnTo>
                      <a:pt x="22" y="127"/>
                    </a:lnTo>
                    <a:lnTo>
                      <a:pt x="22" y="127"/>
                    </a:lnTo>
                    <a:lnTo>
                      <a:pt x="18" y="124"/>
                    </a:lnTo>
                    <a:lnTo>
                      <a:pt x="14" y="123"/>
                    </a:lnTo>
                    <a:lnTo>
                      <a:pt x="12" y="120"/>
                    </a:lnTo>
                    <a:lnTo>
                      <a:pt x="12" y="120"/>
                    </a:lnTo>
                    <a:lnTo>
                      <a:pt x="10" y="119"/>
                    </a:lnTo>
                    <a:lnTo>
                      <a:pt x="8" y="118"/>
                    </a:lnTo>
                    <a:lnTo>
                      <a:pt x="7" y="119"/>
                    </a:lnTo>
                    <a:lnTo>
                      <a:pt x="4" y="118"/>
                    </a:lnTo>
                    <a:lnTo>
                      <a:pt x="6" y="112"/>
                    </a:lnTo>
                    <a:lnTo>
                      <a:pt x="2" y="107"/>
                    </a:lnTo>
                    <a:lnTo>
                      <a:pt x="2" y="100"/>
                    </a:lnTo>
                    <a:lnTo>
                      <a:pt x="0" y="99"/>
                    </a:lnTo>
                    <a:lnTo>
                      <a:pt x="0" y="92"/>
                    </a:lnTo>
                    <a:lnTo>
                      <a:pt x="3" y="90"/>
                    </a:lnTo>
                    <a:lnTo>
                      <a:pt x="0" y="86"/>
                    </a:lnTo>
                    <a:lnTo>
                      <a:pt x="0" y="82"/>
                    </a:lnTo>
                    <a:lnTo>
                      <a:pt x="3" y="81"/>
                    </a:lnTo>
                    <a:lnTo>
                      <a:pt x="3" y="77"/>
                    </a:lnTo>
                    <a:lnTo>
                      <a:pt x="4" y="76"/>
                    </a:lnTo>
                    <a:lnTo>
                      <a:pt x="6" y="70"/>
                    </a:lnTo>
                    <a:lnTo>
                      <a:pt x="3" y="66"/>
                    </a:lnTo>
                    <a:lnTo>
                      <a:pt x="4" y="65"/>
                    </a:lnTo>
                    <a:lnTo>
                      <a:pt x="6" y="63"/>
                    </a:lnTo>
                    <a:lnTo>
                      <a:pt x="8" y="65"/>
                    </a:lnTo>
                    <a:lnTo>
                      <a:pt x="10" y="63"/>
                    </a:lnTo>
                    <a:lnTo>
                      <a:pt x="11" y="61"/>
                    </a:lnTo>
                    <a:lnTo>
                      <a:pt x="11" y="61"/>
                    </a:lnTo>
                    <a:lnTo>
                      <a:pt x="8" y="59"/>
                    </a:lnTo>
                    <a:lnTo>
                      <a:pt x="6" y="57"/>
                    </a:lnTo>
                    <a:lnTo>
                      <a:pt x="7" y="47"/>
                    </a:lnTo>
                    <a:lnTo>
                      <a:pt x="4" y="43"/>
                    </a:lnTo>
                    <a:lnTo>
                      <a:pt x="6" y="40"/>
                    </a:lnTo>
                    <a:lnTo>
                      <a:pt x="4" y="36"/>
                    </a:lnTo>
                    <a:lnTo>
                      <a:pt x="7" y="35"/>
                    </a:lnTo>
                    <a:lnTo>
                      <a:pt x="6" y="33"/>
                    </a:lnTo>
                    <a:lnTo>
                      <a:pt x="3" y="32"/>
                    </a:lnTo>
                    <a:lnTo>
                      <a:pt x="3" y="31"/>
                    </a:lnTo>
                    <a:lnTo>
                      <a:pt x="3" y="31"/>
                    </a:lnTo>
                    <a:lnTo>
                      <a:pt x="4" y="28"/>
                    </a:lnTo>
                    <a:lnTo>
                      <a:pt x="8" y="24"/>
                    </a:lnTo>
                    <a:lnTo>
                      <a:pt x="15" y="20"/>
                    </a:lnTo>
                    <a:lnTo>
                      <a:pt x="15" y="20"/>
                    </a:lnTo>
                    <a:lnTo>
                      <a:pt x="17" y="13"/>
                    </a:lnTo>
                    <a:lnTo>
                      <a:pt x="15" y="12"/>
                    </a:lnTo>
                    <a:lnTo>
                      <a:pt x="18" y="12"/>
                    </a:lnTo>
                    <a:lnTo>
                      <a:pt x="19" y="10"/>
                    </a:lnTo>
                    <a:lnTo>
                      <a:pt x="23" y="9"/>
                    </a:lnTo>
                    <a:lnTo>
                      <a:pt x="26" y="10"/>
                    </a:lnTo>
                    <a:lnTo>
                      <a:pt x="27" y="9"/>
                    </a:lnTo>
                    <a:lnTo>
                      <a:pt x="30" y="9"/>
                    </a:lnTo>
                    <a:lnTo>
                      <a:pt x="30" y="9"/>
                    </a:lnTo>
                    <a:lnTo>
                      <a:pt x="37" y="5"/>
                    </a:lnTo>
                    <a:lnTo>
                      <a:pt x="41" y="4"/>
                    </a:lnTo>
                    <a:lnTo>
                      <a:pt x="44" y="4"/>
                    </a:lnTo>
                    <a:lnTo>
                      <a:pt x="45" y="1"/>
                    </a:lnTo>
                    <a:lnTo>
                      <a:pt x="46" y="0"/>
                    </a:lnTo>
                    <a:lnTo>
                      <a:pt x="49" y="1"/>
                    </a:lnTo>
                    <a:lnTo>
                      <a:pt x="49" y="1"/>
                    </a:lnTo>
                    <a:lnTo>
                      <a:pt x="52" y="0"/>
                    </a:lnTo>
                    <a:lnTo>
                      <a:pt x="56" y="0"/>
                    </a:lnTo>
                    <a:lnTo>
                      <a:pt x="63" y="0"/>
                    </a:lnTo>
                    <a:lnTo>
                      <a:pt x="63"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2" name="Freeform 61">
                <a:extLst>
                  <a:ext uri="{FF2B5EF4-FFF2-40B4-BE49-F238E27FC236}">
                    <a16:creationId xmlns:a16="http://schemas.microsoft.com/office/drawing/2014/main" id="{9C143F9F-1633-48FD-B68D-6507CF9D8E19}"/>
                  </a:ext>
                </a:extLst>
              </p:cNvPr>
              <p:cNvSpPr>
                <a:spLocks/>
              </p:cNvSpPr>
              <p:nvPr/>
            </p:nvSpPr>
            <p:spPr bwMode="auto">
              <a:xfrm>
                <a:off x="2962275" y="1827281"/>
                <a:ext cx="12700" cy="9525"/>
              </a:xfrm>
              <a:custGeom>
                <a:avLst/>
                <a:gdLst>
                  <a:gd name="T0" fmla="*/ 8 w 18"/>
                  <a:gd name="T1" fmla="*/ 2 h 12"/>
                  <a:gd name="T2" fmla="*/ 10 w 18"/>
                  <a:gd name="T3" fmla="*/ 4 h 12"/>
                  <a:gd name="T4" fmla="*/ 12 w 18"/>
                  <a:gd name="T5" fmla="*/ 5 h 12"/>
                  <a:gd name="T6" fmla="*/ 12 w 18"/>
                  <a:gd name="T7" fmla="*/ 2 h 12"/>
                  <a:gd name="T8" fmla="*/ 14 w 18"/>
                  <a:gd name="T9" fmla="*/ 2 h 12"/>
                  <a:gd name="T10" fmla="*/ 15 w 18"/>
                  <a:gd name="T11" fmla="*/ 2 h 12"/>
                  <a:gd name="T12" fmla="*/ 17 w 18"/>
                  <a:gd name="T13" fmla="*/ 5 h 12"/>
                  <a:gd name="T14" fmla="*/ 18 w 18"/>
                  <a:gd name="T15" fmla="*/ 9 h 12"/>
                  <a:gd name="T16" fmla="*/ 12 w 18"/>
                  <a:gd name="T17" fmla="*/ 12 h 12"/>
                  <a:gd name="T18" fmla="*/ 12 w 18"/>
                  <a:gd name="T19" fmla="*/ 12 h 12"/>
                  <a:gd name="T20" fmla="*/ 7 w 18"/>
                  <a:gd name="T21" fmla="*/ 10 h 12"/>
                  <a:gd name="T22" fmla="*/ 4 w 18"/>
                  <a:gd name="T23" fmla="*/ 9 h 12"/>
                  <a:gd name="T24" fmla="*/ 2 w 18"/>
                  <a:gd name="T25" fmla="*/ 8 h 12"/>
                  <a:gd name="T26" fmla="*/ 2 w 18"/>
                  <a:gd name="T27" fmla="*/ 8 h 12"/>
                  <a:gd name="T28" fmla="*/ 2 w 18"/>
                  <a:gd name="T29" fmla="*/ 4 h 12"/>
                  <a:gd name="T30" fmla="*/ 0 w 18"/>
                  <a:gd name="T31" fmla="*/ 0 h 12"/>
                  <a:gd name="T32" fmla="*/ 3 w 18"/>
                  <a:gd name="T33" fmla="*/ 0 h 12"/>
                  <a:gd name="T34" fmla="*/ 3 w 18"/>
                  <a:gd name="T35" fmla="*/ 0 h 12"/>
                  <a:gd name="T36" fmla="*/ 8 w 18"/>
                  <a:gd name="T37" fmla="*/ 2 h 12"/>
                  <a:gd name="T38" fmla="*/ 8 w 18"/>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2">
                    <a:moveTo>
                      <a:pt x="8" y="2"/>
                    </a:moveTo>
                    <a:lnTo>
                      <a:pt x="10" y="4"/>
                    </a:lnTo>
                    <a:lnTo>
                      <a:pt x="12" y="5"/>
                    </a:lnTo>
                    <a:lnTo>
                      <a:pt x="12" y="2"/>
                    </a:lnTo>
                    <a:lnTo>
                      <a:pt x="14" y="2"/>
                    </a:lnTo>
                    <a:lnTo>
                      <a:pt x="15" y="2"/>
                    </a:lnTo>
                    <a:lnTo>
                      <a:pt x="17" y="5"/>
                    </a:lnTo>
                    <a:lnTo>
                      <a:pt x="18" y="9"/>
                    </a:lnTo>
                    <a:lnTo>
                      <a:pt x="12" y="12"/>
                    </a:lnTo>
                    <a:lnTo>
                      <a:pt x="12" y="12"/>
                    </a:lnTo>
                    <a:lnTo>
                      <a:pt x="7" y="10"/>
                    </a:lnTo>
                    <a:lnTo>
                      <a:pt x="4" y="9"/>
                    </a:lnTo>
                    <a:lnTo>
                      <a:pt x="2" y="8"/>
                    </a:lnTo>
                    <a:lnTo>
                      <a:pt x="2" y="8"/>
                    </a:lnTo>
                    <a:lnTo>
                      <a:pt x="2" y="4"/>
                    </a:lnTo>
                    <a:lnTo>
                      <a:pt x="0" y="0"/>
                    </a:lnTo>
                    <a:lnTo>
                      <a:pt x="3" y="0"/>
                    </a:lnTo>
                    <a:lnTo>
                      <a:pt x="3" y="0"/>
                    </a:lnTo>
                    <a:lnTo>
                      <a:pt x="8" y="2"/>
                    </a:lnTo>
                    <a:lnTo>
                      <a:pt x="8"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3" name="Freeform 62">
                <a:extLst>
                  <a:ext uri="{FF2B5EF4-FFF2-40B4-BE49-F238E27FC236}">
                    <a16:creationId xmlns:a16="http://schemas.microsoft.com/office/drawing/2014/main" id="{BAAE0577-474E-4917-B682-B523ED63913D}"/>
                  </a:ext>
                </a:extLst>
              </p:cNvPr>
              <p:cNvSpPr>
                <a:spLocks/>
              </p:cNvSpPr>
              <p:nvPr/>
            </p:nvSpPr>
            <p:spPr bwMode="auto">
              <a:xfrm>
                <a:off x="3143250" y="1846331"/>
                <a:ext cx="4763" cy="4763"/>
              </a:xfrm>
              <a:custGeom>
                <a:avLst/>
                <a:gdLst>
                  <a:gd name="T0" fmla="*/ 2 w 7"/>
                  <a:gd name="T1" fmla="*/ 5 h 5"/>
                  <a:gd name="T2" fmla="*/ 2 w 7"/>
                  <a:gd name="T3" fmla="*/ 3 h 5"/>
                  <a:gd name="T4" fmla="*/ 0 w 7"/>
                  <a:gd name="T5" fmla="*/ 1 h 5"/>
                  <a:gd name="T6" fmla="*/ 2 w 7"/>
                  <a:gd name="T7" fmla="*/ 0 h 5"/>
                  <a:gd name="T8" fmla="*/ 7 w 7"/>
                  <a:gd name="T9" fmla="*/ 0 h 5"/>
                  <a:gd name="T10" fmla="*/ 7 w 7"/>
                  <a:gd name="T11" fmla="*/ 0 h 5"/>
                  <a:gd name="T12" fmla="*/ 4 w 7"/>
                  <a:gd name="T13" fmla="*/ 3 h 5"/>
                  <a:gd name="T14" fmla="*/ 2 w 7"/>
                  <a:gd name="T15" fmla="*/ 5 h 5"/>
                  <a:gd name="T16" fmla="*/ 2 w 7"/>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2" y="5"/>
                    </a:moveTo>
                    <a:lnTo>
                      <a:pt x="2" y="3"/>
                    </a:lnTo>
                    <a:lnTo>
                      <a:pt x="0" y="1"/>
                    </a:lnTo>
                    <a:lnTo>
                      <a:pt x="2" y="0"/>
                    </a:lnTo>
                    <a:lnTo>
                      <a:pt x="7" y="0"/>
                    </a:lnTo>
                    <a:lnTo>
                      <a:pt x="7" y="0"/>
                    </a:lnTo>
                    <a:lnTo>
                      <a:pt x="4" y="3"/>
                    </a:lnTo>
                    <a:lnTo>
                      <a:pt x="2" y="5"/>
                    </a:lnTo>
                    <a:lnTo>
                      <a:pt x="2"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4" name="Freeform 63">
                <a:extLst>
                  <a:ext uri="{FF2B5EF4-FFF2-40B4-BE49-F238E27FC236}">
                    <a16:creationId xmlns:a16="http://schemas.microsoft.com/office/drawing/2014/main" id="{8B0EDE1D-E66A-4227-A39B-C625796D6452}"/>
                  </a:ext>
                </a:extLst>
              </p:cNvPr>
              <p:cNvSpPr>
                <a:spLocks/>
              </p:cNvSpPr>
              <p:nvPr/>
            </p:nvSpPr>
            <p:spPr bwMode="auto">
              <a:xfrm>
                <a:off x="3079750" y="1851094"/>
                <a:ext cx="6350" cy="3175"/>
              </a:xfrm>
              <a:custGeom>
                <a:avLst/>
                <a:gdLst>
                  <a:gd name="T0" fmla="*/ 8 w 8"/>
                  <a:gd name="T1" fmla="*/ 0 h 4"/>
                  <a:gd name="T2" fmla="*/ 8 w 8"/>
                  <a:gd name="T3" fmla="*/ 0 h 4"/>
                  <a:gd name="T4" fmla="*/ 5 w 8"/>
                  <a:gd name="T5" fmla="*/ 2 h 4"/>
                  <a:gd name="T6" fmla="*/ 2 w 8"/>
                  <a:gd name="T7" fmla="*/ 4 h 4"/>
                  <a:gd name="T8" fmla="*/ 0 w 8"/>
                  <a:gd name="T9" fmla="*/ 4 h 4"/>
                  <a:gd name="T10" fmla="*/ 2 w 8"/>
                  <a:gd name="T11" fmla="*/ 0 h 4"/>
                  <a:gd name="T12" fmla="*/ 8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8" y="0"/>
                    </a:moveTo>
                    <a:lnTo>
                      <a:pt x="8" y="0"/>
                    </a:lnTo>
                    <a:lnTo>
                      <a:pt x="5" y="2"/>
                    </a:lnTo>
                    <a:lnTo>
                      <a:pt x="2" y="4"/>
                    </a:lnTo>
                    <a:lnTo>
                      <a:pt x="0" y="4"/>
                    </a:lnTo>
                    <a:lnTo>
                      <a:pt x="2" y="0"/>
                    </a:lnTo>
                    <a:lnTo>
                      <a:pt x="8"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5" name="Freeform 64">
                <a:extLst>
                  <a:ext uri="{FF2B5EF4-FFF2-40B4-BE49-F238E27FC236}">
                    <a16:creationId xmlns:a16="http://schemas.microsoft.com/office/drawing/2014/main" id="{48F101FA-5FB5-4FF8-A38C-D699316AC2D9}"/>
                  </a:ext>
                </a:extLst>
              </p:cNvPr>
              <p:cNvSpPr>
                <a:spLocks/>
              </p:cNvSpPr>
              <p:nvPr/>
            </p:nvSpPr>
            <p:spPr bwMode="auto">
              <a:xfrm>
                <a:off x="3001963" y="1854269"/>
                <a:ext cx="4763" cy="6350"/>
              </a:xfrm>
              <a:custGeom>
                <a:avLst/>
                <a:gdLst>
                  <a:gd name="T0" fmla="*/ 2 w 7"/>
                  <a:gd name="T1" fmla="*/ 0 h 9"/>
                  <a:gd name="T2" fmla="*/ 7 w 7"/>
                  <a:gd name="T3" fmla="*/ 5 h 9"/>
                  <a:gd name="T4" fmla="*/ 7 w 7"/>
                  <a:gd name="T5" fmla="*/ 7 h 9"/>
                  <a:gd name="T6" fmla="*/ 3 w 7"/>
                  <a:gd name="T7" fmla="*/ 9 h 9"/>
                  <a:gd name="T8" fmla="*/ 2 w 7"/>
                  <a:gd name="T9" fmla="*/ 7 h 9"/>
                  <a:gd name="T10" fmla="*/ 0 w 7"/>
                  <a:gd name="T11" fmla="*/ 3 h 9"/>
                  <a:gd name="T12" fmla="*/ 2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2" y="0"/>
                    </a:moveTo>
                    <a:lnTo>
                      <a:pt x="7" y="5"/>
                    </a:lnTo>
                    <a:lnTo>
                      <a:pt x="7" y="7"/>
                    </a:lnTo>
                    <a:lnTo>
                      <a:pt x="3" y="9"/>
                    </a:lnTo>
                    <a:lnTo>
                      <a:pt x="2" y="7"/>
                    </a:lnTo>
                    <a:lnTo>
                      <a:pt x="0" y="3"/>
                    </a:lnTo>
                    <a:lnTo>
                      <a:pt x="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6" name="Freeform 65">
                <a:extLst>
                  <a:ext uri="{FF2B5EF4-FFF2-40B4-BE49-F238E27FC236}">
                    <a16:creationId xmlns:a16="http://schemas.microsoft.com/office/drawing/2014/main" id="{67920626-A2F7-47EC-90D9-6A41B009E92C}"/>
                  </a:ext>
                </a:extLst>
              </p:cNvPr>
              <p:cNvSpPr>
                <a:spLocks/>
              </p:cNvSpPr>
              <p:nvPr/>
            </p:nvSpPr>
            <p:spPr bwMode="auto">
              <a:xfrm>
                <a:off x="3055938" y="1866969"/>
                <a:ext cx="7938" cy="4763"/>
              </a:xfrm>
              <a:custGeom>
                <a:avLst/>
                <a:gdLst>
                  <a:gd name="T0" fmla="*/ 10 w 11"/>
                  <a:gd name="T1" fmla="*/ 0 h 6"/>
                  <a:gd name="T2" fmla="*/ 11 w 11"/>
                  <a:gd name="T3" fmla="*/ 0 h 6"/>
                  <a:gd name="T4" fmla="*/ 7 w 11"/>
                  <a:gd name="T5" fmla="*/ 2 h 6"/>
                  <a:gd name="T6" fmla="*/ 7 w 11"/>
                  <a:gd name="T7" fmla="*/ 4 h 6"/>
                  <a:gd name="T8" fmla="*/ 6 w 11"/>
                  <a:gd name="T9" fmla="*/ 5 h 6"/>
                  <a:gd name="T10" fmla="*/ 3 w 11"/>
                  <a:gd name="T11" fmla="*/ 6 h 6"/>
                  <a:gd name="T12" fmla="*/ 0 w 11"/>
                  <a:gd name="T13" fmla="*/ 4 h 6"/>
                  <a:gd name="T14" fmla="*/ 0 w 11"/>
                  <a:gd name="T15" fmla="*/ 4 h 6"/>
                  <a:gd name="T16" fmla="*/ 4 w 11"/>
                  <a:gd name="T17" fmla="*/ 1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lnTo>
                      <a:pt x="11" y="0"/>
                    </a:lnTo>
                    <a:lnTo>
                      <a:pt x="7" y="2"/>
                    </a:lnTo>
                    <a:lnTo>
                      <a:pt x="7" y="4"/>
                    </a:lnTo>
                    <a:lnTo>
                      <a:pt x="6" y="5"/>
                    </a:lnTo>
                    <a:lnTo>
                      <a:pt x="3" y="6"/>
                    </a:lnTo>
                    <a:lnTo>
                      <a:pt x="0" y="4"/>
                    </a:lnTo>
                    <a:lnTo>
                      <a:pt x="0" y="4"/>
                    </a:lnTo>
                    <a:lnTo>
                      <a:pt x="4" y="1"/>
                    </a:lnTo>
                    <a:lnTo>
                      <a:pt x="10" y="0"/>
                    </a:lnTo>
                    <a:lnTo>
                      <a:pt x="10"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7" name="Freeform 66">
                <a:extLst>
                  <a:ext uri="{FF2B5EF4-FFF2-40B4-BE49-F238E27FC236}">
                    <a16:creationId xmlns:a16="http://schemas.microsoft.com/office/drawing/2014/main" id="{684F8336-F5A9-4217-8A82-1C22826ADEDF}"/>
                  </a:ext>
                </a:extLst>
              </p:cNvPr>
              <p:cNvSpPr>
                <a:spLocks/>
              </p:cNvSpPr>
              <p:nvPr/>
            </p:nvSpPr>
            <p:spPr bwMode="auto">
              <a:xfrm>
                <a:off x="3062288" y="1859031"/>
                <a:ext cx="30163" cy="15875"/>
              </a:xfrm>
              <a:custGeom>
                <a:avLst/>
                <a:gdLst>
                  <a:gd name="T0" fmla="*/ 24 w 36"/>
                  <a:gd name="T1" fmla="*/ 21 h 21"/>
                  <a:gd name="T2" fmla="*/ 20 w 36"/>
                  <a:gd name="T3" fmla="*/ 18 h 21"/>
                  <a:gd name="T4" fmla="*/ 20 w 36"/>
                  <a:gd name="T5" fmla="*/ 18 h 21"/>
                  <a:gd name="T6" fmla="*/ 15 w 36"/>
                  <a:gd name="T7" fmla="*/ 19 h 21"/>
                  <a:gd name="T8" fmla="*/ 9 w 36"/>
                  <a:gd name="T9" fmla="*/ 19 h 21"/>
                  <a:gd name="T10" fmla="*/ 4 w 36"/>
                  <a:gd name="T11" fmla="*/ 18 h 21"/>
                  <a:gd name="T12" fmla="*/ 0 w 36"/>
                  <a:gd name="T13" fmla="*/ 15 h 21"/>
                  <a:gd name="T14" fmla="*/ 0 w 36"/>
                  <a:gd name="T15" fmla="*/ 14 h 21"/>
                  <a:gd name="T16" fmla="*/ 9 w 36"/>
                  <a:gd name="T17" fmla="*/ 8 h 21"/>
                  <a:gd name="T18" fmla="*/ 9 w 36"/>
                  <a:gd name="T19" fmla="*/ 8 h 21"/>
                  <a:gd name="T20" fmla="*/ 12 w 36"/>
                  <a:gd name="T21" fmla="*/ 10 h 21"/>
                  <a:gd name="T22" fmla="*/ 15 w 36"/>
                  <a:gd name="T23" fmla="*/ 12 h 21"/>
                  <a:gd name="T24" fmla="*/ 17 w 36"/>
                  <a:gd name="T25" fmla="*/ 12 h 21"/>
                  <a:gd name="T26" fmla="*/ 17 w 36"/>
                  <a:gd name="T27" fmla="*/ 4 h 21"/>
                  <a:gd name="T28" fmla="*/ 17 w 36"/>
                  <a:gd name="T29" fmla="*/ 4 h 21"/>
                  <a:gd name="T30" fmla="*/ 22 w 36"/>
                  <a:gd name="T31" fmla="*/ 2 h 21"/>
                  <a:gd name="T32" fmla="*/ 27 w 36"/>
                  <a:gd name="T33" fmla="*/ 0 h 21"/>
                  <a:gd name="T34" fmla="*/ 28 w 36"/>
                  <a:gd name="T35" fmla="*/ 0 h 21"/>
                  <a:gd name="T36" fmla="*/ 27 w 36"/>
                  <a:gd name="T37" fmla="*/ 3 h 21"/>
                  <a:gd name="T38" fmla="*/ 27 w 36"/>
                  <a:gd name="T39" fmla="*/ 6 h 21"/>
                  <a:gd name="T40" fmla="*/ 26 w 36"/>
                  <a:gd name="T41" fmla="*/ 8 h 21"/>
                  <a:gd name="T42" fmla="*/ 27 w 36"/>
                  <a:gd name="T43" fmla="*/ 12 h 21"/>
                  <a:gd name="T44" fmla="*/ 30 w 36"/>
                  <a:gd name="T45" fmla="*/ 15 h 21"/>
                  <a:gd name="T46" fmla="*/ 34 w 36"/>
                  <a:gd name="T47" fmla="*/ 14 h 21"/>
                  <a:gd name="T48" fmla="*/ 36 w 36"/>
                  <a:gd name="T49" fmla="*/ 14 h 21"/>
                  <a:gd name="T50" fmla="*/ 31 w 36"/>
                  <a:gd name="T51" fmla="*/ 19 h 21"/>
                  <a:gd name="T52" fmla="*/ 31 w 36"/>
                  <a:gd name="T53" fmla="*/ 19 h 21"/>
                  <a:gd name="T54" fmla="*/ 24 w 36"/>
                  <a:gd name="T55" fmla="*/ 21 h 21"/>
                  <a:gd name="T56" fmla="*/ 24 w 36"/>
                  <a:gd name="T5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21">
                    <a:moveTo>
                      <a:pt x="24" y="21"/>
                    </a:moveTo>
                    <a:lnTo>
                      <a:pt x="20" y="18"/>
                    </a:lnTo>
                    <a:lnTo>
                      <a:pt x="20" y="18"/>
                    </a:lnTo>
                    <a:lnTo>
                      <a:pt x="15" y="19"/>
                    </a:lnTo>
                    <a:lnTo>
                      <a:pt x="9" y="19"/>
                    </a:lnTo>
                    <a:lnTo>
                      <a:pt x="4" y="18"/>
                    </a:lnTo>
                    <a:lnTo>
                      <a:pt x="0" y="15"/>
                    </a:lnTo>
                    <a:lnTo>
                      <a:pt x="0" y="14"/>
                    </a:lnTo>
                    <a:lnTo>
                      <a:pt x="9" y="8"/>
                    </a:lnTo>
                    <a:lnTo>
                      <a:pt x="9" y="8"/>
                    </a:lnTo>
                    <a:lnTo>
                      <a:pt x="12" y="10"/>
                    </a:lnTo>
                    <a:lnTo>
                      <a:pt x="15" y="12"/>
                    </a:lnTo>
                    <a:lnTo>
                      <a:pt x="17" y="12"/>
                    </a:lnTo>
                    <a:lnTo>
                      <a:pt x="17" y="4"/>
                    </a:lnTo>
                    <a:lnTo>
                      <a:pt x="17" y="4"/>
                    </a:lnTo>
                    <a:lnTo>
                      <a:pt x="22" y="2"/>
                    </a:lnTo>
                    <a:lnTo>
                      <a:pt x="27" y="0"/>
                    </a:lnTo>
                    <a:lnTo>
                      <a:pt x="28" y="0"/>
                    </a:lnTo>
                    <a:lnTo>
                      <a:pt x="27" y="3"/>
                    </a:lnTo>
                    <a:lnTo>
                      <a:pt x="27" y="6"/>
                    </a:lnTo>
                    <a:lnTo>
                      <a:pt x="26" y="8"/>
                    </a:lnTo>
                    <a:lnTo>
                      <a:pt x="27" y="12"/>
                    </a:lnTo>
                    <a:lnTo>
                      <a:pt x="30" y="15"/>
                    </a:lnTo>
                    <a:lnTo>
                      <a:pt x="34" y="14"/>
                    </a:lnTo>
                    <a:lnTo>
                      <a:pt x="36" y="14"/>
                    </a:lnTo>
                    <a:lnTo>
                      <a:pt x="31" y="19"/>
                    </a:lnTo>
                    <a:lnTo>
                      <a:pt x="31" y="19"/>
                    </a:lnTo>
                    <a:lnTo>
                      <a:pt x="24" y="21"/>
                    </a:lnTo>
                    <a:lnTo>
                      <a:pt x="24" y="2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8" name="Freeform 67">
                <a:extLst>
                  <a:ext uri="{FF2B5EF4-FFF2-40B4-BE49-F238E27FC236}">
                    <a16:creationId xmlns:a16="http://schemas.microsoft.com/office/drawing/2014/main" id="{53D5778D-1EEE-4B41-A5D0-557BCD8A078A}"/>
                  </a:ext>
                </a:extLst>
              </p:cNvPr>
              <p:cNvSpPr>
                <a:spLocks/>
              </p:cNvSpPr>
              <p:nvPr/>
            </p:nvSpPr>
            <p:spPr bwMode="auto">
              <a:xfrm>
                <a:off x="2998788" y="1868556"/>
                <a:ext cx="9525" cy="11113"/>
              </a:xfrm>
              <a:custGeom>
                <a:avLst/>
                <a:gdLst>
                  <a:gd name="T0" fmla="*/ 12 w 12"/>
                  <a:gd name="T1" fmla="*/ 8 h 15"/>
                  <a:gd name="T2" fmla="*/ 12 w 12"/>
                  <a:gd name="T3" fmla="*/ 8 h 15"/>
                  <a:gd name="T4" fmla="*/ 12 w 12"/>
                  <a:gd name="T5" fmla="*/ 11 h 15"/>
                  <a:gd name="T6" fmla="*/ 11 w 12"/>
                  <a:gd name="T7" fmla="*/ 14 h 15"/>
                  <a:gd name="T8" fmla="*/ 7 w 12"/>
                  <a:gd name="T9" fmla="*/ 15 h 15"/>
                  <a:gd name="T10" fmla="*/ 4 w 12"/>
                  <a:gd name="T11" fmla="*/ 14 h 15"/>
                  <a:gd name="T12" fmla="*/ 4 w 12"/>
                  <a:gd name="T13" fmla="*/ 14 h 15"/>
                  <a:gd name="T14" fmla="*/ 2 w 12"/>
                  <a:gd name="T15" fmla="*/ 10 h 15"/>
                  <a:gd name="T16" fmla="*/ 0 w 12"/>
                  <a:gd name="T17" fmla="*/ 5 h 15"/>
                  <a:gd name="T18" fmla="*/ 2 w 12"/>
                  <a:gd name="T19" fmla="*/ 4 h 15"/>
                  <a:gd name="T20" fmla="*/ 2 w 12"/>
                  <a:gd name="T21" fmla="*/ 1 h 15"/>
                  <a:gd name="T22" fmla="*/ 5 w 12"/>
                  <a:gd name="T23" fmla="*/ 0 h 15"/>
                  <a:gd name="T24" fmla="*/ 8 w 12"/>
                  <a:gd name="T25" fmla="*/ 1 h 15"/>
                  <a:gd name="T26" fmla="*/ 7 w 12"/>
                  <a:gd name="T27" fmla="*/ 4 h 15"/>
                  <a:gd name="T28" fmla="*/ 7 w 12"/>
                  <a:gd name="T29" fmla="*/ 4 h 15"/>
                  <a:gd name="T30" fmla="*/ 9 w 12"/>
                  <a:gd name="T31" fmla="*/ 7 h 15"/>
                  <a:gd name="T32" fmla="*/ 12 w 12"/>
                  <a:gd name="T33" fmla="*/ 8 h 15"/>
                  <a:gd name="T34" fmla="*/ 12 w 12"/>
                  <a:gd name="T3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5">
                    <a:moveTo>
                      <a:pt x="12" y="8"/>
                    </a:moveTo>
                    <a:lnTo>
                      <a:pt x="12" y="8"/>
                    </a:lnTo>
                    <a:lnTo>
                      <a:pt x="12" y="11"/>
                    </a:lnTo>
                    <a:lnTo>
                      <a:pt x="11" y="14"/>
                    </a:lnTo>
                    <a:lnTo>
                      <a:pt x="7" y="15"/>
                    </a:lnTo>
                    <a:lnTo>
                      <a:pt x="4" y="14"/>
                    </a:lnTo>
                    <a:lnTo>
                      <a:pt x="4" y="14"/>
                    </a:lnTo>
                    <a:lnTo>
                      <a:pt x="2" y="10"/>
                    </a:lnTo>
                    <a:lnTo>
                      <a:pt x="0" y="5"/>
                    </a:lnTo>
                    <a:lnTo>
                      <a:pt x="2" y="4"/>
                    </a:lnTo>
                    <a:lnTo>
                      <a:pt x="2" y="1"/>
                    </a:lnTo>
                    <a:lnTo>
                      <a:pt x="5" y="0"/>
                    </a:lnTo>
                    <a:lnTo>
                      <a:pt x="8" y="1"/>
                    </a:lnTo>
                    <a:lnTo>
                      <a:pt x="7" y="4"/>
                    </a:lnTo>
                    <a:lnTo>
                      <a:pt x="7" y="4"/>
                    </a:lnTo>
                    <a:lnTo>
                      <a:pt x="9" y="7"/>
                    </a:lnTo>
                    <a:lnTo>
                      <a:pt x="12" y="8"/>
                    </a:lnTo>
                    <a:lnTo>
                      <a:pt x="12" y="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39" name="Freeform 68">
                <a:extLst>
                  <a:ext uri="{FF2B5EF4-FFF2-40B4-BE49-F238E27FC236}">
                    <a16:creationId xmlns:a16="http://schemas.microsoft.com/office/drawing/2014/main" id="{370C526A-0F96-4939-80CE-8DE29F33108F}"/>
                  </a:ext>
                </a:extLst>
              </p:cNvPr>
              <p:cNvSpPr>
                <a:spLocks/>
              </p:cNvSpPr>
              <p:nvPr/>
            </p:nvSpPr>
            <p:spPr bwMode="auto">
              <a:xfrm>
                <a:off x="3008313" y="1871731"/>
                <a:ext cx="25400" cy="17463"/>
              </a:xfrm>
              <a:custGeom>
                <a:avLst/>
                <a:gdLst>
                  <a:gd name="T0" fmla="*/ 8 w 31"/>
                  <a:gd name="T1" fmla="*/ 5 h 22"/>
                  <a:gd name="T2" fmla="*/ 8 w 31"/>
                  <a:gd name="T3" fmla="*/ 5 h 22"/>
                  <a:gd name="T4" fmla="*/ 22 w 31"/>
                  <a:gd name="T5" fmla="*/ 2 h 22"/>
                  <a:gd name="T6" fmla="*/ 22 w 31"/>
                  <a:gd name="T7" fmla="*/ 2 h 22"/>
                  <a:gd name="T8" fmla="*/ 26 w 31"/>
                  <a:gd name="T9" fmla="*/ 0 h 22"/>
                  <a:gd name="T10" fmla="*/ 27 w 31"/>
                  <a:gd name="T11" fmla="*/ 0 h 22"/>
                  <a:gd name="T12" fmla="*/ 28 w 31"/>
                  <a:gd name="T13" fmla="*/ 0 h 22"/>
                  <a:gd name="T14" fmla="*/ 31 w 31"/>
                  <a:gd name="T15" fmla="*/ 2 h 22"/>
                  <a:gd name="T16" fmla="*/ 30 w 31"/>
                  <a:gd name="T17" fmla="*/ 3 h 22"/>
                  <a:gd name="T18" fmla="*/ 30 w 31"/>
                  <a:gd name="T19" fmla="*/ 3 h 22"/>
                  <a:gd name="T20" fmla="*/ 24 w 31"/>
                  <a:gd name="T21" fmla="*/ 3 h 22"/>
                  <a:gd name="T22" fmla="*/ 20 w 31"/>
                  <a:gd name="T23" fmla="*/ 6 h 22"/>
                  <a:gd name="T24" fmla="*/ 19 w 31"/>
                  <a:gd name="T25" fmla="*/ 9 h 22"/>
                  <a:gd name="T26" fmla="*/ 18 w 31"/>
                  <a:gd name="T27" fmla="*/ 9 h 22"/>
                  <a:gd name="T28" fmla="*/ 16 w 31"/>
                  <a:gd name="T29" fmla="*/ 7 h 22"/>
                  <a:gd name="T30" fmla="*/ 14 w 31"/>
                  <a:gd name="T31" fmla="*/ 7 h 22"/>
                  <a:gd name="T32" fmla="*/ 14 w 31"/>
                  <a:gd name="T33" fmla="*/ 10 h 22"/>
                  <a:gd name="T34" fmla="*/ 18 w 31"/>
                  <a:gd name="T35" fmla="*/ 13 h 22"/>
                  <a:gd name="T36" fmla="*/ 18 w 31"/>
                  <a:gd name="T37" fmla="*/ 13 h 22"/>
                  <a:gd name="T38" fmla="*/ 22 w 31"/>
                  <a:gd name="T39" fmla="*/ 11 h 22"/>
                  <a:gd name="T40" fmla="*/ 24 w 31"/>
                  <a:gd name="T41" fmla="*/ 10 h 22"/>
                  <a:gd name="T42" fmla="*/ 26 w 31"/>
                  <a:gd name="T43" fmla="*/ 14 h 22"/>
                  <a:gd name="T44" fmla="*/ 24 w 31"/>
                  <a:gd name="T45" fmla="*/ 15 h 22"/>
                  <a:gd name="T46" fmla="*/ 24 w 31"/>
                  <a:gd name="T47" fmla="*/ 17 h 22"/>
                  <a:gd name="T48" fmla="*/ 26 w 31"/>
                  <a:gd name="T49" fmla="*/ 19 h 22"/>
                  <a:gd name="T50" fmla="*/ 24 w 31"/>
                  <a:gd name="T51" fmla="*/ 21 h 22"/>
                  <a:gd name="T52" fmla="*/ 23 w 31"/>
                  <a:gd name="T53" fmla="*/ 22 h 22"/>
                  <a:gd name="T54" fmla="*/ 19 w 31"/>
                  <a:gd name="T55" fmla="*/ 18 h 22"/>
                  <a:gd name="T56" fmla="*/ 16 w 31"/>
                  <a:gd name="T57" fmla="*/ 18 h 22"/>
                  <a:gd name="T58" fmla="*/ 16 w 31"/>
                  <a:gd name="T59" fmla="*/ 21 h 22"/>
                  <a:gd name="T60" fmla="*/ 8 w 31"/>
                  <a:gd name="T61" fmla="*/ 22 h 22"/>
                  <a:gd name="T62" fmla="*/ 3 w 31"/>
                  <a:gd name="T63" fmla="*/ 19 h 22"/>
                  <a:gd name="T64" fmla="*/ 0 w 31"/>
                  <a:gd name="T65" fmla="*/ 14 h 22"/>
                  <a:gd name="T66" fmla="*/ 1 w 31"/>
                  <a:gd name="T67" fmla="*/ 11 h 22"/>
                  <a:gd name="T68" fmla="*/ 7 w 31"/>
                  <a:gd name="T69" fmla="*/ 9 h 22"/>
                  <a:gd name="T70" fmla="*/ 8 w 31"/>
                  <a:gd name="T71"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2">
                    <a:moveTo>
                      <a:pt x="8" y="5"/>
                    </a:moveTo>
                    <a:lnTo>
                      <a:pt x="8" y="5"/>
                    </a:lnTo>
                    <a:lnTo>
                      <a:pt x="22" y="2"/>
                    </a:lnTo>
                    <a:lnTo>
                      <a:pt x="22" y="2"/>
                    </a:lnTo>
                    <a:lnTo>
                      <a:pt x="26" y="0"/>
                    </a:lnTo>
                    <a:lnTo>
                      <a:pt x="27" y="0"/>
                    </a:lnTo>
                    <a:lnTo>
                      <a:pt x="28" y="0"/>
                    </a:lnTo>
                    <a:lnTo>
                      <a:pt x="31" y="2"/>
                    </a:lnTo>
                    <a:lnTo>
                      <a:pt x="30" y="3"/>
                    </a:lnTo>
                    <a:lnTo>
                      <a:pt x="30" y="3"/>
                    </a:lnTo>
                    <a:lnTo>
                      <a:pt x="24" y="3"/>
                    </a:lnTo>
                    <a:lnTo>
                      <a:pt x="20" y="6"/>
                    </a:lnTo>
                    <a:lnTo>
                      <a:pt x="19" y="9"/>
                    </a:lnTo>
                    <a:lnTo>
                      <a:pt x="18" y="9"/>
                    </a:lnTo>
                    <a:lnTo>
                      <a:pt x="16" y="7"/>
                    </a:lnTo>
                    <a:lnTo>
                      <a:pt x="14" y="7"/>
                    </a:lnTo>
                    <a:lnTo>
                      <a:pt x="14" y="10"/>
                    </a:lnTo>
                    <a:lnTo>
                      <a:pt x="18" y="13"/>
                    </a:lnTo>
                    <a:lnTo>
                      <a:pt x="18" y="13"/>
                    </a:lnTo>
                    <a:lnTo>
                      <a:pt x="22" y="11"/>
                    </a:lnTo>
                    <a:lnTo>
                      <a:pt x="24" y="10"/>
                    </a:lnTo>
                    <a:lnTo>
                      <a:pt x="26" y="14"/>
                    </a:lnTo>
                    <a:lnTo>
                      <a:pt x="24" y="15"/>
                    </a:lnTo>
                    <a:lnTo>
                      <a:pt x="24" y="17"/>
                    </a:lnTo>
                    <a:lnTo>
                      <a:pt x="26" y="19"/>
                    </a:lnTo>
                    <a:lnTo>
                      <a:pt x="24" y="21"/>
                    </a:lnTo>
                    <a:lnTo>
                      <a:pt x="23" y="22"/>
                    </a:lnTo>
                    <a:lnTo>
                      <a:pt x="19" y="18"/>
                    </a:lnTo>
                    <a:lnTo>
                      <a:pt x="16" y="18"/>
                    </a:lnTo>
                    <a:lnTo>
                      <a:pt x="16" y="21"/>
                    </a:lnTo>
                    <a:lnTo>
                      <a:pt x="8" y="22"/>
                    </a:lnTo>
                    <a:lnTo>
                      <a:pt x="3" y="19"/>
                    </a:lnTo>
                    <a:lnTo>
                      <a:pt x="0" y="14"/>
                    </a:lnTo>
                    <a:lnTo>
                      <a:pt x="1" y="11"/>
                    </a:lnTo>
                    <a:lnTo>
                      <a:pt x="7" y="9"/>
                    </a:lnTo>
                    <a:lnTo>
                      <a:pt x="8"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0" name="Freeform 69">
                <a:extLst>
                  <a:ext uri="{FF2B5EF4-FFF2-40B4-BE49-F238E27FC236}">
                    <a16:creationId xmlns:a16="http://schemas.microsoft.com/office/drawing/2014/main" id="{08980395-B24A-4ED9-B586-D9CB7E1C4CBA}"/>
                  </a:ext>
                </a:extLst>
              </p:cNvPr>
              <p:cNvSpPr>
                <a:spLocks/>
              </p:cNvSpPr>
              <p:nvPr/>
            </p:nvSpPr>
            <p:spPr bwMode="auto">
              <a:xfrm>
                <a:off x="2927350" y="1830456"/>
                <a:ext cx="74613" cy="77788"/>
              </a:xfrm>
              <a:custGeom>
                <a:avLst/>
                <a:gdLst>
                  <a:gd name="T0" fmla="*/ 73 w 95"/>
                  <a:gd name="T1" fmla="*/ 94 h 98"/>
                  <a:gd name="T2" fmla="*/ 77 w 95"/>
                  <a:gd name="T3" fmla="*/ 96 h 98"/>
                  <a:gd name="T4" fmla="*/ 72 w 95"/>
                  <a:gd name="T5" fmla="*/ 98 h 98"/>
                  <a:gd name="T6" fmla="*/ 69 w 95"/>
                  <a:gd name="T7" fmla="*/ 95 h 98"/>
                  <a:gd name="T8" fmla="*/ 65 w 95"/>
                  <a:gd name="T9" fmla="*/ 92 h 98"/>
                  <a:gd name="T10" fmla="*/ 60 w 95"/>
                  <a:gd name="T11" fmla="*/ 94 h 98"/>
                  <a:gd name="T12" fmla="*/ 55 w 95"/>
                  <a:gd name="T13" fmla="*/ 94 h 98"/>
                  <a:gd name="T14" fmla="*/ 51 w 95"/>
                  <a:gd name="T15" fmla="*/ 96 h 98"/>
                  <a:gd name="T16" fmla="*/ 46 w 95"/>
                  <a:gd name="T17" fmla="*/ 88 h 98"/>
                  <a:gd name="T18" fmla="*/ 39 w 95"/>
                  <a:gd name="T19" fmla="*/ 81 h 98"/>
                  <a:gd name="T20" fmla="*/ 39 w 95"/>
                  <a:gd name="T21" fmla="*/ 77 h 98"/>
                  <a:gd name="T22" fmla="*/ 36 w 95"/>
                  <a:gd name="T23" fmla="*/ 75 h 98"/>
                  <a:gd name="T24" fmla="*/ 38 w 95"/>
                  <a:gd name="T25" fmla="*/ 70 h 98"/>
                  <a:gd name="T26" fmla="*/ 28 w 95"/>
                  <a:gd name="T27" fmla="*/ 62 h 98"/>
                  <a:gd name="T28" fmla="*/ 20 w 95"/>
                  <a:gd name="T29" fmla="*/ 51 h 98"/>
                  <a:gd name="T30" fmla="*/ 20 w 95"/>
                  <a:gd name="T31" fmla="*/ 47 h 98"/>
                  <a:gd name="T32" fmla="*/ 22 w 95"/>
                  <a:gd name="T33" fmla="*/ 41 h 98"/>
                  <a:gd name="T34" fmla="*/ 16 w 95"/>
                  <a:gd name="T35" fmla="*/ 38 h 98"/>
                  <a:gd name="T36" fmla="*/ 8 w 95"/>
                  <a:gd name="T37" fmla="*/ 38 h 98"/>
                  <a:gd name="T38" fmla="*/ 1 w 95"/>
                  <a:gd name="T39" fmla="*/ 27 h 98"/>
                  <a:gd name="T40" fmla="*/ 4 w 95"/>
                  <a:gd name="T41" fmla="*/ 24 h 98"/>
                  <a:gd name="T42" fmla="*/ 7 w 95"/>
                  <a:gd name="T43" fmla="*/ 14 h 98"/>
                  <a:gd name="T44" fmla="*/ 13 w 95"/>
                  <a:gd name="T45" fmla="*/ 5 h 98"/>
                  <a:gd name="T46" fmla="*/ 17 w 95"/>
                  <a:gd name="T47" fmla="*/ 5 h 98"/>
                  <a:gd name="T48" fmla="*/ 20 w 95"/>
                  <a:gd name="T49" fmla="*/ 4 h 98"/>
                  <a:gd name="T50" fmla="*/ 24 w 95"/>
                  <a:gd name="T51" fmla="*/ 3 h 98"/>
                  <a:gd name="T52" fmla="*/ 27 w 95"/>
                  <a:gd name="T53" fmla="*/ 0 h 98"/>
                  <a:gd name="T54" fmla="*/ 36 w 95"/>
                  <a:gd name="T55" fmla="*/ 1 h 98"/>
                  <a:gd name="T56" fmla="*/ 39 w 95"/>
                  <a:gd name="T57" fmla="*/ 5 h 98"/>
                  <a:gd name="T58" fmla="*/ 41 w 95"/>
                  <a:gd name="T59" fmla="*/ 8 h 98"/>
                  <a:gd name="T60" fmla="*/ 45 w 95"/>
                  <a:gd name="T61" fmla="*/ 11 h 98"/>
                  <a:gd name="T62" fmla="*/ 45 w 95"/>
                  <a:gd name="T63" fmla="*/ 15 h 98"/>
                  <a:gd name="T64" fmla="*/ 50 w 95"/>
                  <a:gd name="T65" fmla="*/ 15 h 98"/>
                  <a:gd name="T66" fmla="*/ 61 w 95"/>
                  <a:gd name="T67" fmla="*/ 20 h 98"/>
                  <a:gd name="T68" fmla="*/ 66 w 95"/>
                  <a:gd name="T69" fmla="*/ 23 h 98"/>
                  <a:gd name="T70" fmla="*/ 70 w 95"/>
                  <a:gd name="T71" fmla="*/ 27 h 98"/>
                  <a:gd name="T72" fmla="*/ 73 w 95"/>
                  <a:gd name="T73" fmla="*/ 27 h 98"/>
                  <a:gd name="T74" fmla="*/ 80 w 95"/>
                  <a:gd name="T75" fmla="*/ 33 h 98"/>
                  <a:gd name="T76" fmla="*/ 81 w 95"/>
                  <a:gd name="T77" fmla="*/ 35 h 98"/>
                  <a:gd name="T78" fmla="*/ 74 w 95"/>
                  <a:gd name="T79" fmla="*/ 38 h 98"/>
                  <a:gd name="T80" fmla="*/ 81 w 95"/>
                  <a:gd name="T81" fmla="*/ 41 h 98"/>
                  <a:gd name="T82" fmla="*/ 85 w 95"/>
                  <a:gd name="T83" fmla="*/ 47 h 98"/>
                  <a:gd name="T84" fmla="*/ 80 w 95"/>
                  <a:gd name="T85" fmla="*/ 56 h 98"/>
                  <a:gd name="T86" fmla="*/ 81 w 95"/>
                  <a:gd name="T87" fmla="*/ 58 h 98"/>
                  <a:gd name="T88" fmla="*/ 88 w 95"/>
                  <a:gd name="T89" fmla="*/ 61 h 98"/>
                  <a:gd name="T90" fmla="*/ 84 w 95"/>
                  <a:gd name="T91" fmla="*/ 65 h 98"/>
                  <a:gd name="T92" fmla="*/ 89 w 95"/>
                  <a:gd name="T93" fmla="*/ 65 h 98"/>
                  <a:gd name="T94" fmla="*/ 95 w 95"/>
                  <a:gd name="T95" fmla="*/ 69 h 98"/>
                  <a:gd name="T96" fmla="*/ 91 w 95"/>
                  <a:gd name="T97" fmla="*/ 72 h 98"/>
                  <a:gd name="T98" fmla="*/ 87 w 95"/>
                  <a:gd name="T99" fmla="*/ 73 h 98"/>
                  <a:gd name="T100" fmla="*/ 84 w 95"/>
                  <a:gd name="T101" fmla="*/ 77 h 98"/>
                  <a:gd name="T102" fmla="*/ 80 w 95"/>
                  <a:gd name="T103" fmla="*/ 77 h 98"/>
                  <a:gd name="T104" fmla="*/ 77 w 95"/>
                  <a:gd name="T105" fmla="*/ 79 h 98"/>
                  <a:gd name="T106" fmla="*/ 70 w 95"/>
                  <a:gd name="T107" fmla="*/ 80 h 98"/>
                  <a:gd name="T108" fmla="*/ 65 w 95"/>
                  <a:gd name="T109" fmla="*/ 89 h 98"/>
                  <a:gd name="T110" fmla="*/ 68 w 95"/>
                  <a:gd name="T111" fmla="*/ 89 h 98"/>
                  <a:gd name="T112" fmla="*/ 73 w 95"/>
                  <a:gd name="T113" fmla="*/ 9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98">
                    <a:moveTo>
                      <a:pt x="73" y="91"/>
                    </a:moveTo>
                    <a:lnTo>
                      <a:pt x="73" y="94"/>
                    </a:lnTo>
                    <a:lnTo>
                      <a:pt x="77" y="95"/>
                    </a:lnTo>
                    <a:lnTo>
                      <a:pt x="77" y="96"/>
                    </a:lnTo>
                    <a:lnTo>
                      <a:pt x="74" y="98"/>
                    </a:lnTo>
                    <a:lnTo>
                      <a:pt x="72" y="98"/>
                    </a:lnTo>
                    <a:lnTo>
                      <a:pt x="72" y="98"/>
                    </a:lnTo>
                    <a:lnTo>
                      <a:pt x="69" y="95"/>
                    </a:lnTo>
                    <a:lnTo>
                      <a:pt x="65" y="92"/>
                    </a:lnTo>
                    <a:lnTo>
                      <a:pt x="65" y="92"/>
                    </a:lnTo>
                    <a:lnTo>
                      <a:pt x="62" y="94"/>
                    </a:lnTo>
                    <a:lnTo>
                      <a:pt x="60" y="94"/>
                    </a:lnTo>
                    <a:lnTo>
                      <a:pt x="58" y="95"/>
                    </a:lnTo>
                    <a:lnTo>
                      <a:pt x="55" y="94"/>
                    </a:lnTo>
                    <a:lnTo>
                      <a:pt x="51" y="96"/>
                    </a:lnTo>
                    <a:lnTo>
                      <a:pt x="51" y="96"/>
                    </a:lnTo>
                    <a:lnTo>
                      <a:pt x="50" y="92"/>
                    </a:lnTo>
                    <a:lnTo>
                      <a:pt x="46" y="88"/>
                    </a:lnTo>
                    <a:lnTo>
                      <a:pt x="38" y="81"/>
                    </a:lnTo>
                    <a:lnTo>
                      <a:pt x="39" y="81"/>
                    </a:lnTo>
                    <a:lnTo>
                      <a:pt x="39" y="81"/>
                    </a:lnTo>
                    <a:lnTo>
                      <a:pt x="39" y="77"/>
                    </a:lnTo>
                    <a:lnTo>
                      <a:pt x="39" y="75"/>
                    </a:lnTo>
                    <a:lnTo>
                      <a:pt x="36" y="75"/>
                    </a:lnTo>
                    <a:lnTo>
                      <a:pt x="36" y="72"/>
                    </a:lnTo>
                    <a:lnTo>
                      <a:pt x="38" y="70"/>
                    </a:lnTo>
                    <a:lnTo>
                      <a:pt x="38" y="70"/>
                    </a:lnTo>
                    <a:lnTo>
                      <a:pt x="28" y="62"/>
                    </a:lnTo>
                    <a:lnTo>
                      <a:pt x="23" y="57"/>
                    </a:lnTo>
                    <a:lnTo>
                      <a:pt x="20" y="51"/>
                    </a:lnTo>
                    <a:lnTo>
                      <a:pt x="20" y="51"/>
                    </a:lnTo>
                    <a:lnTo>
                      <a:pt x="20" y="47"/>
                    </a:lnTo>
                    <a:lnTo>
                      <a:pt x="20" y="43"/>
                    </a:lnTo>
                    <a:lnTo>
                      <a:pt x="22" y="41"/>
                    </a:lnTo>
                    <a:lnTo>
                      <a:pt x="16" y="38"/>
                    </a:lnTo>
                    <a:lnTo>
                      <a:pt x="16" y="38"/>
                    </a:lnTo>
                    <a:lnTo>
                      <a:pt x="12" y="38"/>
                    </a:lnTo>
                    <a:lnTo>
                      <a:pt x="8" y="38"/>
                    </a:lnTo>
                    <a:lnTo>
                      <a:pt x="0" y="37"/>
                    </a:lnTo>
                    <a:lnTo>
                      <a:pt x="1" y="27"/>
                    </a:lnTo>
                    <a:lnTo>
                      <a:pt x="4" y="24"/>
                    </a:lnTo>
                    <a:lnTo>
                      <a:pt x="4" y="24"/>
                    </a:lnTo>
                    <a:lnTo>
                      <a:pt x="4" y="20"/>
                    </a:lnTo>
                    <a:lnTo>
                      <a:pt x="7" y="14"/>
                    </a:lnTo>
                    <a:lnTo>
                      <a:pt x="9" y="8"/>
                    </a:lnTo>
                    <a:lnTo>
                      <a:pt x="13" y="5"/>
                    </a:lnTo>
                    <a:lnTo>
                      <a:pt x="15" y="4"/>
                    </a:lnTo>
                    <a:lnTo>
                      <a:pt x="17" y="5"/>
                    </a:lnTo>
                    <a:lnTo>
                      <a:pt x="20" y="5"/>
                    </a:lnTo>
                    <a:lnTo>
                      <a:pt x="20" y="4"/>
                    </a:lnTo>
                    <a:lnTo>
                      <a:pt x="20" y="4"/>
                    </a:lnTo>
                    <a:lnTo>
                      <a:pt x="24" y="3"/>
                    </a:lnTo>
                    <a:lnTo>
                      <a:pt x="27" y="0"/>
                    </a:lnTo>
                    <a:lnTo>
                      <a:pt x="27" y="0"/>
                    </a:lnTo>
                    <a:lnTo>
                      <a:pt x="34" y="0"/>
                    </a:lnTo>
                    <a:lnTo>
                      <a:pt x="36" y="1"/>
                    </a:lnTo>
                    <a:lnTo>
                      <a:pt x="39" y="3"/>
                    </a:lnTo>
                    <a:lnTo>
                      <a:pt x="39" y="5"/>
                    </a:lnTo>
                    <a:lnTo>
                      <a:pt x="39" y="5"/>
                    </a:lnTo>
                    <a:lnTo>
                      <a:pt x="41" y="8"/>
                    </a:lnTo>
                    <a:lnTo>
                      <a:pt x="43" y="8"/>
                    </a:lnTo>
                    <a:lnTo>
                      <a:pt x="45" y="11"/>
                    </a:lnTo>
                    <a:lnTo>
                      <a:pt x="42" y="14"/>
                    </a:lnTo>
                    <a:lnTo>
                      <a:pt x="45" y="15"/>
                    </a:lnTo>
                    <a:lnTo>
                      <a:pt x="45" y="15"/>
                    </a:lnTo>
                    <a:lnTo>
                      <a:pt x="50" y="15"/>
                    </a:lnTo>
                    <a:lnTo>
                      <a:pt x="55" y="18"/>
                    </a:lnTo>
                    <a:lnTo>
                      <a:pt x="61" y="20"/>
                    </a:lnTo>
                    <a:lnTo>
                      <a:pt x="66" y="23"/>
                    </a:lnTo>
                    <a:lnTo>
                      <a:pt x="66" y="23"/>
                    </a:lnTo>
                    <a:lnTo>
                      <a:pt x="69" y="26"/>
                    </a:lnTo>
                    <a:lnTo>
                      <a:pt x="70" y="27"/>
                    </a:lnTo>
                    <a:lnTo>
                      <a:pt x="73" y="27"/>
                    </a:lnTo>
                    <a:lnTo>
                      <a:pt x="73" y="27"/>
                    </a:lnTo>
                    <a:lnTo>
                      <a:pt x="77" y="30"/>
                    </a:lnTo>
                    <a:lnTo>
                      <a:pt x="80" y="33"/>
                    </a:lnTo>
                    <a:lnTo>
                      <a:pt x="81" y="35"/>
                    </a:lnTo>
                    <a:lnTo>
                      <a:pt x="81" y="35"/>
                    </a:lnTo>
                    <a:lnTo>
                      <a:pt x="79" y="35"/>
                    </a:lnTo>
                    <a:lnTo>
                      <a:pt x="74" y="38"/>
                    </a:lnTo>
                    <a:lnTo>
                      <a:pt x="80" y="39"/>
                    </a:lnTo>
                    <a:lnTo>
                      <a:pt x="81" y="41"/>
                    </a:lnTo>
                    <a:lnTo>
                      <a:pt x="77" y="43"/>
                    </a:lnTo>
                    <a:lnTo>
                      <a:pt x="85" y="47"/>
                    </a:lnTo>
                    <a:lnTo>
                      <a:pt x="85" y="53"/>
                    </a:lnTo>
                    <a:lnTo>
                      <a:pt x="80" y="56"/>
                    </a:lnTo>
                    <a:lnTo>
                      <a:pt x="80" y="57"/>
                    </a:lnTo>
                    <a:lnTo>
                      <a:pt x="81" y="58"/>
                    </a:lnTo>
                    <a:lnTo>
                      <a:pt x="87" y="57"/>
                    </a:lnTo>
                    <a:lnTo>
                      <a:pt x="88" y="61"/>
                    </a:lnTo>
                    <a:lnTo>
                      <a:pt x="84" y="62"/>
                    </a:lnTo>
                    <a:lnTo>
                      <a:pt x="84" y="65"/>
                    </a:lnTo>
                    <a:lnTo>
                      <a:pt x="84" y="65"/>
                    </a:lnTo>
                    <a:lnTo>
                      <a:pt x="89" y="65"/>
                    </a:lnTo>
                    <a:lnTo>
                      <a:pt x="95" y="66"/>
                    </a:lnTo>
                    <a:lnTo>
                      <a:pt x="95" y="69"/>
                    </a:lnTo>
                    <a:lnTo>
                      <a:pt x="95" y="69"/>
                    </a:lnTo>
                    <a:lnTo>
                      <a:pt x="91" y="72"/>
                    </a:lnTo>
                    <a:lnTo>
                      <a:pt x="88" y="73"/>
                    </a:lnTo>
                    <a:lnTo>
                      <a:pt x="87" y="73"/>
                    </a:lnTo>
                    <a:lnTo>
                      <a:pt x="84" y="75"/>
                    </a:lnTo>
                    <a:lnTo>
                      <a:pt x="84" y="77"/>
                    </a:lnTo>
                    <a:lnTo>
                      <a:pt x="83" y="79"/>
                    </a:lnTo>
                    <a:lnTo>
                      <a:pt x="80" y="77"/>
                    </a:lnTo>
                    <a:lnTo>
                      <a:pt x="80" y="77"/>
                    </a:lnTo>
                    <a:lnTo>
                      <a:pt x="77" y="79"/>
                    </a:lnTo>
                    <a:lnTo>
                      <a:pt x="74" y="80"/>
                    </a:lnTo>
                    <a:lnTo>
                      <a:pt x="70" y="80"/>
                    </a:lnTo>
                    <a:lnTo>
                      <a:pt x="68" y="81"/>
                    </a:lnTo>
                    <a:lnTo>
                      <a:pt x="65" y="89"/>
                    </a:lnTo>
                    <a:lnTo>
                      <a:pt x="65" y="89"/>
                    </a:lnTo>
                    <a:lnTo>
                      <a:pt x="68" y="89"/>
                    </a:lnTo>
                    <a:lnTo>
                      <a:pt x="72" y="92"/>
                    </a:lnTo>
                    <a:lnTo>
                      <a:pt x="73" y="9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1" name="Freeform 70">
                <a:extLst>
                  <a:ext uri="{FF2B5EF4-FFF2-40B4-BE49-F238E27FC236}">
                    <a16:creationId xmlns:a16="http://schemas.microsoft.com/office/drawing/2014/main" id="{532EAC2C-C6C1-43F7-9D25-9FFB84B17B30}"/>
                  </a:ext>
                </a:extLst>
              </p:cNvPr>
              <p:cNvSpPr>
                <a:spLocks/>
              </p:cNvSpPr>
              <p:nvPr/>
            </p:nvSpPr>
            <p:spPr bwMode="auto">
              <a:xfrm>
                <a:off x="2986088" y="1892369"/>
                <a:ext cx="28575" cy="15875"/>
              </a:xfrm>
              <a:custGeom>
                <a:avLst/>
                <a:gdLst>
                  <a:gd name="T0" fmla="*/ 0 w 37"/>
                  <a:gd name="T1" fmla="*/ 14 h 19"/>
                  <a:gd name="T2" fmla="*/ 0 w 37"/>
                  <a:gd name="T3" fmla="*/ 14 h 19"/>
                  <a:gd name="T4" fmla="*/ 4 w 37"/>
                  <a:gd name="T5" fmla="*/ 10 h 19"/>
                  <a:gd name="T6" fmla="*/ 4 w 37"/>
                  <a:gd name="T7" fmla="*/ 10 h 19"/>
                  <a:gd name="T8" fmla="*/ 8 w 37"/>
                  <a:gd name="T9" fmla="*/ 4 h 19"/>
                  <a:gd name="T10" fmla="*/ 10 w 37"/>
                  <a:gd name="T11" fmla="*/ 4 h 19"/>
                  <a:gd name="T12" fmla="*/ 14 w 37"/>
                  <a:gd name="T13" fmla="*/ 6 h 19"/>
                  <a:gd name="T14" fmla="*/ 20 w 37"/>
                  <a:gd name="T15" fmla="*/ 3 h 19"/>
                  <a:gd name="T16" fmla="*/ 25 w 37"/>
                  <a:gd name="T17" fmla="*/ 4 h 19"/>
                  <a:gd name="T18" fmla="*/ 26 w 37"/>
                  <a:gd name="T19" fmla="*/ 3 h 19"/>
                  <a:gd name="T20" fmla="*/ 27 w 37"/>
                  <a:gd name="T21" fmla="*/ 2 h 19"/>
                  <a:gd name="T22" fmla="*/ 27 w 37"/>
                  <a:gd name="T23" fmla="*/ 2 h 19"/>
                  <a:gd name="T24" fmla="*/ 30 w 37"/>
                  <a:gd name="T25" fmla="*/ 0 h 19"/>
                  <a:gd name="T26" fmla="*/ 33 w 37"/>
                  <a:gd name="T27" fmla="*/ 2 h 19"/>
                  <a:gd name="T28" fmla="*/ 34 w 37"/>
                  <a:gd name="T29" fmla="*/ 4 h 19"/>
                  <a:gd name="T30" fmla="*/ 34 w 37"/>
                  <a:gd name="T31" fmla="*/ 4 h 19"/>
                  <a:gd name="T32" fmla="*/ 31 w 37"/>
                  <a:gd name="T33" fmla="*/ 8 h 19"/>
                  <a:gd name="T34" fmla="*/ 29 w 37"/>
                  <a:gd name="T35" fmla="*/ 12 h 19"/>
                  <a:gd name="T36" fmla="*/ 30 w 37"/>
                  <a:gd name="T37" fmla="*/ 14 h 19"/>
                  <a:gd name="T38" fmla="*/ 34 w 37"/>
                  <a:gd name="T39" fmla="*/ 11 h 19"/>
                  <a:gd name="T40" fmla="*/ 37 w 37"/>
                  <a:gd name="T41" fmla="*/ 12 h 19"/>
                  <a:gd name="T42" fmla="*/ 37 w 37"/>
                  <a:gd name="T43" fmla="*/ 12 h 19"/>
                  <a:gd name="T44" fmla="*/ 34 w 37"/>
                  <a:gd name="T45" fmla="*/ 14 h 19"/>
                  <a:gd name="T46" fmla="*/ 29 w 37"/>
                  <a:gd name="T47" fmla="*/ 15 h 19"/>
                  <a:gd name="T48" fmla="*/ 25 w 37"/>
                  <a:gd name="T49" fmla="*/ 17 h 19"/>
                  <a:gd name="T50" fmla="*/ 22 w 37"/>
                  <a:gd name="T51" fmla="*/ 17 h 19"/>
                  <a:gd name="T52" fmla="*/ 22 w 37"/>
                  <a:gd name="T53" fmla="*/ 17 h 19"/>
                  <a:gd name="T54" fmla="*/ 18 w 37"/>
                  <a:gd name="T55" fmla="*/ 18 h 19"/>
                  <a:gd name="T56" fmla="*/ 15 w 37"/>
                  <a:gd name="T57" fmla="*/ 19 h 19"/>
                  <a:gd name="T58" fmla="*/ 11 w 37"/>
                  <a:gd name="T59" fmla="*/ 18 h 19"/>
                  <a:gd name="T60" fmla="*/ 7 w 37"/>
                  <a:gd name="T61" fmla="*/ 15 h 19"/>
                  <a:gd name="T62" fmla="*/ 0 w 37"/>
                  <a:gd name="T63"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19">
                    <a:moveTo>
                      <a:pt x="0" y="14"/>
                    </a:moveTo>
                    <a:lnTo>
                      <a:pt x="0" y="14"/>
                    </a:lnTo>
                    <a:lnTo>
                      <a:pt x="4" y="10"/>
                    </a:lnTo>
                    <a:lnTo>
                      <a:pt x="4" y="10"/>
                    </a:lnTo>
                    <a:lnTo>
                      <a:pt x="8" y="4"/>
                    </a:lnTo>
                    <a:lnTo>
                      <a:pt x="10" y="4"/>
                    </a:lnTo>
                    <a:lnTo>
                      <a:pt x="14" y="6"/>
                    </a:lnTo>
                    <a:lnTo>
                      <a:pt x="20" y="3"/>
                    </a:lnTo>
                    <a:lnTo>
                      <a:pt x="25" y="4"/>
                    </a:lnTo>
                    <a:lnTo>
                      <a:pt x="26" y="3"/>
                    </a:lnTo>
                    <a:lnTo>
                      <a:pt x="27" y="2"/>
                    </a:lnTo>
                    <a:lnTo>
                      <a:pt x="27" y="2"/>
                    </a:lnTo>
                    <a:lnTo>
                      <a:pt x="30" y="0"/>
                    </a:lnTo>
                    <a:lnTo>
                      <a:pt x="33" y="2"/>
                    </a:lnTo>
                    <a:lnTo>
                      <a:pt x="34" y="4"/>
                    </a:lnTo>
                    <a:lnTo>
                      <a:pt x="34" y="4"/>
                    </a:lnTo>
                    <a:lnTo>
                      <a:pt x="31" y="8"/>
                    </a:lnTo>
                    <a:lnTo>
                      <a:pt x="29" y="12"/>
                    </a:lnTo>
                    <a:lnTo>
                      <a:pt x="30" y="14"/>
                    </a:lnTo>
                    <a:lnTo>
                      <a:pt x="34" y="11"/>
                    </a:lnTo>
                    <a:lnTo>
                      <a:pt x="37" y="12"/>
                    </a:lnTo>
                    <a:lnTo>
                      <a:pt x="37" y="12"/>
                    </a:lnTo>
                    <a:lnTo>
                      <a:pt x="34" y="14"/>
                    </a:lnTo>
                    <a:lnTo>
                      <a:pt x="29" y="15"/>
                    </a:lnTo>
                    <a:lnTo>
                      <a:pt x="25" y="17"/>
                    </a:lnTo>
                    <a:lnTo>
                      <a:pt x="22" y="17"/>
                    </a:lnTo>
                    <a:lnTo>
                      <a:pt x="22" y="17"/>
                    </a:lnTo>
                    <a:lnTo>
                      <a:pt x="18" y="18"/>
                    </a:lnTo>
                    <a:lnTo>
                      <a:pt x="15" y="19"/>
                    </a:lnTo>
                    <a:lnTo>
                      <a:pt x="11" y="18"/>
                    </a:lnTo>
                    <a:lnTo>
                      <a:pt x="7" y="15"/>
                    </a:lnTo>
                    <a:lnTo>
                      <a:pt x="0" y="1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2" name="Freeform 71">
                <a:extLst>
                  <a:ext uri="{FF2B5EF4-FFF2-40B4-BE49-F238E27FC236}">
                    <a16:creationId xmlns:a16="http://schemas.microsoft.com/office/drawing/2014/main" id="{3BC282A0-B34C-45BA-B155-5AD936D71669}"/>
                  </a:ext>
                </a:extLst>
              </p:cNvPr>
              <p:cNvSpPr>
                <a:spLocks/>
              </p:cNvSpPr>
              <p:nvPr/>
            </p:nvSpPr>
            <p:spPr bwMode="auto">
              <a:xfrm>
                <a:off x="3032125" y="1919356"/>
                <a:ext cx="6350" cy="7938"/>
              </a:xfrm>
              <a:custGeom>
                <a:avLst/>
                <a:gdLst>
                  <a:gd name="T0" fmla="*/ 7 w 9"/>
                  <a:gd name="T1" fmla="*/ 0 h 10"/>
                  <a:gd name="T2" fmla="*/ 9 w 9"/>
                  <a:gd name="T3" fmla="*/ 2 h 10"/>
                  <a:gd name="T4" fmla="*/ 9 w 9"/>
                  <a:gd name="T5" fmla="*/ 2 h 10"/>
                  <a:gd name="T6" fmla="*/ 9 w 9"/>
                  <a:gd name="T7" fmla="*/ 4 h 10"/>
                  <a:gd name="T8" fmla="*/ 7 w 9"/>
                  <a:gd name="T9" fmla="*/ 8 h 10"/>
                  <a:gd name="T10" fmla="*/ 5 w 9"/>
                  <a:gd name="T11" fmla="*/ 10 h 10"/>
                  <a:gd name="T12" fmla="*/ 0 w 9"/>
                  <a:gd name="T13" fmla="*/ 10 h 10"/>
                  <a:gd name="T14" fmla="*/ 0 w 9"/>
                  <a:gd name="T15" fmla="*/ 8 h 10"/>
                  <a:gd name="T16" fmla="*/ 3 w 9"/>
                  <a:gd name="T17" fmla="*/ 8 h 10"/>
                  <a:gd name="T18" fmla="*/ 3 w 9"/>
                  <a:gd name="T19" fmla="*/ 4 h 10"/>
                  <a:gd name="T20" fmla="*/ 6 w 9"/>
                  <a:gd name="T21" fmla="*/ 3 h 10"/>
                  <a:gd name="T22" fmla="*/ 6 w 9"/>
                  <a:gd name="T23" fmla="*/ 2 h 10"/>
                  <a:gd name="T24" fmla="*/ 7 w 9"/>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7" y="0"/>
                    </a:moveTo>
                    <a:lnTo>
                      <a:pt x="9" y="2"/>
                    </a:lnTo>
                    <a:lnTo>
                      <a:pt x="9" y="2"/>
                    </a:lnTo>
                    <a:lnTo>
                      <a:pt x="9" y="4"/>
                    </a:lnTo>
                    <a:lnTo>
                      <a:pt x="7" y="8"/>
                    </a:lnTo>
                    <a:lnTo>
                      <a:pt x="5" y="10"/>
                    </a:lnTo>
                    <a:lnTo>
                      <a:pt x="0" y="10"/>
                    </a:lnTo>
                    <a:lnTo>
                      <a:pt x="0" y="8"/>
                    </a:lnTo>
                    <a:lnTo>
                      <a:pt x="3" y="8"/>
                    </a:lnTo>
                    <a:lnTo>
                      <a:pt x="3" y="4"/>
                    </a:lnTo>
                    <a:lnTo>
                      <a:pt x="6" y="3"/>
                    </a:lnTo>
                    <a:lnTo>
                      <a:pt x="6" y="2"/>
                    </a:lnTo>
                    <a:lnTo>
                      <a:pt x="7"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3" name="Freeform 72">
                <a:extLst>
                  <a:ext uri="{FF2B5EF4-FFF2-40B4-BE49-F238E27FC236}">
                    <a16:creationId xmlns:a16="http://schemas.microsoft.com/office/drawing/2014/main" id="{794E14DC-ACE9-48FB-BBCD-EC5E0B38DABB}"/>
                  </a:ext>
                </a:extLst>
              </p:cNvPr>
              <p:cNvSpPr>
                <a:spLocks/>
              </p:cNvSpPr>
              <p:nvPr/>
            </p:nvSpPr>
            <p:spPr bwMode="auto">
              <a:xfrm>
                <a:off x="3041650" y="1878081"/>
                <a:ext cx="44450" cy="52388"/>
              </a:xfrm>
              <a:custGeom>
                <a:avLst/>
                <a:gdLst>
                  <a:gd name="T0" fmla="*/ 53 w 57"/>
                  <a:gd name="T1" fmla="*/ 12 h 67"/>
                  <a:gd name="T2" fmla="*/ 49 w 57"/>
                  <a:gd name="T3" fmla="*/ 14 h 67"/>
                  <a:gd name="T4" fmla="*/ 46 w 57"/>
                  <a:gd name="T5" fmla="*/ 19 h 67"/>
                  <a:gd name="T6" fmla="*/ 44 w 57"/>
                  <a:gd name="T7" fmla="*/ 22 h 67"/>
                  <a:gd name="T8" fmla="*/ 39 w 57"/>
                  <a:gd name="T9" fmla="*/ 27 h 67"/>
                  <a:gd name="T10" fmla="*/ 43 w 57"/>
                  <a:gd name="T11" fmla="*/ 31 h 67"/>
                  <a:gd name="T12" fmla="*/ 36 w 57"/>
                  <a:gd name="T13" fmla="*/ 42 h 67"/>
                  <a:gd name="T14" fmla="*/ 35 w 57"/>
                  <a:gd name="T15" fmla="*/ 44 h 67"/>
                  <a:gd name="T16" fmla="*/ 46 w 57"/>
                  <a:gd name="T17" fmla="*/ 52 h 67"/>
                  <a:gd name="T18" fmla="*/ 44 w 57"/>
                  <a:gd name="T19" fmla="*/ 53 h 67"/>
                  <a:gd name="T20" fmla="*/ 42 w 57"/>
                  <a:gd name="T21" fmla="*/ 61 h 67"/>
                  <a:gd name="T22" fmla="*/ 42 w 57"/>
                  <a:gd name="T23" fmla="*/ 63 h 67"/>
                  <a:gd name="T24" fmla="*/ 42 w 57"/>
                  <a:gd name="T25" fmla="*/ 65 h 67"/>
                  <a:gd name="T26" fmla="*/ 28 w 57"/>
                  <a:gd name="T27" fmla="*/ 67 h 67"/>
                  <a:gd name="T28" fmla="*/ 27 w 57"/>
                  <a:gd name="T29" fmla="*/ 61 h 67"/>
                  <a:gd name="T30" fmla="*/ 21 w 57"/>
                  <a:gd name="T31" fmla="*/ 60 h 67"/>
                  <a:gd name="T32" fmla="*/ 20 w 57"/>
                  <a:gd name="T33" fmla="*/ 56 h 67"/>
                  <a:gd name="T34" fmla="*/ 17 w 57"/>
                  <a:gd name="T35" fmla="*/ 49 h 67"/>
                  <a:gd name="T36" fmla="*/ 21 w 57"/>
                  <a:gd name="T37" fmla="*/ 48 h 67"/>
                  <a:gd name="T38" fmla="*/ 21 w 57"/>
                  <a:gd name="T39" fmla="*/ 42 h 67"/>
                  <a:gd name="T40" fmla="*/ 21 w 57"/>
                  <a:gd name="T41" fmla="*/ 37 h 67"/>
                  <a:gd name="T42" fmla="*/ 20 w 57"/>
                  <a:gd name="T43" fmla="*/ 31 h 67"/>
                  <a:gd name="T44" fmla="*/ 17 w 57"/>
                  <a:gd name="T45" fmla="*/ 33 h 67"/>
                  <a:gd name="T46" fmla="*/ 11 w 57"/>
                  <a:gd name="T47" fmla="*/ 25 h 67"/>
                  <a:gd name="T48" fmla="*/ 5 w 57"/>
                  <a:gd name="T49" fmla="*/ 21 h 67"/>
                  <a:gd name="T50" fmla="*/ 9 w 57"/>
                  <a:gd name="T51" fmla="*/ 15 h 67"/>
                  <a:gd name="T52" fmla="*/ 13 w 57"/>
                  <a:gd name="T53" fmla="*/ 19 h 67"/>
                  <a:gd name="T54" fmla="*/ 15 w 57"/>
                  <a:gd name="T55" fmla="*/ 23 h 67"/>
                  <a:gd name="T56" fmla="*/ 23 w 57"/>
                  <a:gd name="T57" fmla="*/ 14 h 67"/>
                  <a:gd name="T58" fmla="*/ 21 w 57"/>
                  <a:gd name="T59" fmla="*/ 12 h 67"/>
                  <a:gd name="T60" fmla="*/ 19 w 57"/>
                  <a:gd name="T61" fmla="*/ 15 h 67"/>
                  <a:gd name="T62" fmla="*/ 13 w 57"/>
                  <a:gd name="T63" fmla="*/ 8 h 67"/>
                  <a:gd name="T64" fmla="*/ 2 w 57"/>
                  <a:gd name="T65" fmla="*/ 14 h 67"/>
                  <a:gd name="T66" fmla="*/ 1 w 57"/>
                  <a:gd name="T67" fmla="*/ 8 h 67"/>
                  <a:gd name="T68" fmla="*/ 8 w 57"/>
                  <a:gd name="T69" fmla="*/ 3 h 67"/>
                  <a:gd name="T70" fmla="*/ 17 w 57"/>
                  <a:gd name="T71" fmla="*/ 6 h 67"/>
                  <a:gd name="T72" fmla="*/ 27 w 57"/>
                  <a:gd name="T73" fmla="*/ 2 h 67"/>
                  <a:gd name="T74" fmla="*/ 28 w 57"/>
                  <a:gd name="T75" fmla="*/ 7 h 67"/>
                  <a:gd name="T76" fmla="*/ 31 w 57"/>
                  <a:gd name="T77" fmla="*/ 3 h 67"/>
                  <a:gd name="T78" fmla="*/ 36 w 57"/>
                  <a:gd name="T79" fmla="*/ 3 h 67"/>
                  <a:gd name="T80" fmla="*/ 42 w 57"/>
                  <a:gd name="T81" fmla="*/ 0 h 67"/>
                  <a:gd name="T82" fmla="*/ 54 w 57"/>
                  <a:gd name="T83" fmla="*/ 3 h 67"/>
                  <a:gd name="T84" fmla="*/ 54 w 57"/>
                  <a:gd name="T85" fmla="*/ 8 h 67"/>
                  <a:gd name="T86" fmla="*/ 57 w 57"/>
                  <a:gd name="T87" fmla="*/ 10 h 67"/>
                  <a:gd name="T88" fmla="*/ 55 w 57"/>
                  <a:gd name="T89"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 h="67">
                    <a:moveTo>
                      <a:pt x="54" y="14"/>
                    </a:moveTo>
                    <a:lnTo>
                      <a:pt x="53" y="12"/>
                    </a:lnTo>
                    <a:lnTo>
                      <a:pt x="53" y="12"/>
                    </a:lnTo>
                    <a:lnTo>
                      <a:pt x="49" y="14"/>
                    </a:lnTo>
                    <a:lnTo>
                      <a:pt x="46" y="17"/>
                    </a:lnTo>
                    <a:lnTo>
                      <a:pt x="46" y="19"/>
                    </a:lnTo>
                    <a:lnTo>
                      <a:pt x="44" y="22"/>
                    </a:lnTo>
                    <a:lnTo>
                      <a:pt x="44" y="22"/>
                    </a:lnTo>
                    <a:lnTo>
                      <a:pt x="42" y="25"/>
                    </a:lnTo>
                    <a:lnTo>
                      <a:pt x="39" y="27"/>
                    </a:lnTo>
                    <a:lnTo>
                      <a:pt x="39" y="29"/>
                    </a:lnTo>
                    <a:lnTo>
                      <a:pt x="43" y="31"/>
                    </a:lnTo>
                    <a:lnTo>
                      <a:pt x="40" y="40"/>
                    </a:lnTo>
                    <a:lnTo>
                      <a:pt x="36" y="42"/>
                    </a:lnTo>
                    <a:lnTo>
                      <a:pt x="35" y="44"/>
                    </a:lnTo>
                    <a:lnTo>
                      <a:pt x="35" y="44"/>
                    </a:lnTo>
                    <a:lnTo>
                      <a:pt x="40" y="48"/>
                    </a:lnTo>
                    <a:lnTo>
                      <a:pt x="46" y="52"/>
                    </a:lnTo>
                    <a:lnTo>
                      <a:pt x="46" y="53"/>
                    </a:lnTo>
                    <a:lnTo>
                      <a:pt x="44" y="53"/>
                    </a:lnTo>
                    <a:lnTo>
                      <a:pt x="44" y="59"/>
                    </a:lnTo>
                    <a:lnTo>
                      <a:pt x="42" y="61"/>
                    </a:lnTo>
                    <a:lnTo>
                      <a:pt x="43" y="63"/>
                    </a:lnTo>
                    <a:lnTo>
                      <a:pt x="42" y="63"/>
                    </a:lnTo>
                    <a:lnTo>
                      <a:pt x="42" y="65"/>
                    </a:lnTo>
                    <a:lnTo>
                      <a:pt x="42" y="65"/>
                    </a:lnTo>
                    <a:lnTo>
                      <a:pt x="35" y="65"/>
                    </a:lnTo>
                    <a:lnTo>
                      <a:pt x="28" y="67"/>
                    </a:lnTo>
                    <a:lnTo>
                      <a:pt x="27" y="65"/>
                    </a:lnTo>
                    <a:lnTo>
                      <a:pt x="27" y="61"/>
                    </a:lnTo>
                    <a:lnTo>
                      <a:pt x="24" y="60"/>
                    </a:lnTo>
                    <a:lnTo>
                      <a:pt x="21" y="60"/>
                    </a:lnTo>
                    <a:lnTo>
                      <a:pt x="21" y="56"/>
                    </a:lnTo>
                    <a:lnTo>
                      <a:pt x="20" y="56"/>
                    </a:lnTo>
                    <a:lnTo>
                      <a:pt x="17" y="52"/>
                    </a:lnTo>
                    <a:lnTo>
                      <a:pt x="17" y="49"/>
                    </a:lnTo>
                    <a:lnTo>
                      <a:pt x="19" y="48"/>
                    </a:lnTo>
                    <a:lnTo>
                      <a:pt x="21" y="48"/>
                    </a:lnTo>
                    <a:lnTo>
                      <a:pt x="21" y="44"/>
                    </a:lnTo>
                    <a:lnTo>
                      <a:pt x="21" y="42"/>
                    </a:lnTo>
                    <a:lnTo>
                      <a:pt x="21" y="42"/>
                    </a:lnTo>
                    <a:lnTo>
                      <a:pt x="21" y="37"/>
                    </a:lnTo>
                    <a:lnTo>
                      <a:pt x="21" y="33"/>
                    </a:lnTo>
                    <a:lnTo>
                      <a:pt x="20" y="31"/>
                    </a:lnTo>
                    <a:lnTo>
                      <a:pt x="17" y="33"/>
                    </a:lnTo>
                    <a:lnTo>
                      <a:pt x="17" y="33"/>
                    </a:lnTo>
                    <a:lnTo>
                      <a:pt x="13" y="27"/>
                    </a:lnTo>
                    <a:lnTo>
                      <a:pt x="11" y="25"/>
                    </a:lnTo>
                    <a:lnTo>
                      <a:pt x="8" y="25"/>
                    </a:lnTo>
                    <a:lnTo>
                      <a:pt x="5" y="21"/>
                    </a:lnTo>
                    <a:lnTo>
                      <a:pt x="5" y="18"/>
                    </a:lnTo>
                    <a:lnTo>
                      <a:pt x="9" y="15"/>
                    </a:lnTo>
                    <a:lnTo>
                      <a:pt x="12" y="17"/>
                    </a:lnTo>
                    <a:lnTo>
                      <a:pt x="13" y="19"/>
                    </a:lnTo>
                    <a:lnTo>
                      <a:pt x="12" y="22"/>
                    </a:lnTo>
                    <a:lnTo>
                      <a:pt x="15" y="23"/>
                    </a:lnTo>
                    <a:lnTo>
                      <a:pt x="21" y="19"/>
                    </a:lnTo>
                    <a:lnTo>
                      <a:pt x="23" y="14"/>
                    </a:lnTo>
                    <a:lnTo>
                      <a:pt x="23" y="12"/>
                    </a:lnTo>
                    <a:lnTo>
                      <a:pt x="21" y="12"/>
                    </a:lnTo>
                    <a:lnTo>
                      <a:pt x="20" y="15"/>
                    </a:lnTo>
                    <a:lnTo>
                      <a:pt x="19" y="15"/>
                    </a:lnTo>
                    <a:lnTo>
                      <a:pt x="15" y="12"/>
                    </a:lnTo>
                    <a:lnTo>
                      <a:pt x="13" y="8"/>
                    </a:lnTo>
                    <a:lnTo>
                      <a:pt x="12" y="7"/>
                    </a:lnTo>
                    <a:lnTo>
                      <a:pt x="2" y="14"/>
                    </a:lnTo>
                    <a:lnTo>
                      <a:pt x="0" y="11"/>
                    </a:lnTo>
                    <a:lnTo>
                      <a:pt x="1" y="8"/>
                    </a:lnTo>
                    <a:lnTo>
                      <a:pt x="8" y="3"/>
                    </a:lnTo>
                    <a:lnTo>
                      <a:pt x="8" y="3"/>
                    </a:lnTo>
                    <a:lnTo>
                      <a:pt x="13" y="4"/>
                    </a:lnTo>
                    <a:lnTo>
                      <a:pt x="17" y="6"/>
                    </a:lnTo>
                    <a:lnTo>
                      <a:pt x="19" y="4"/>
                    </a:lnTo>
                    <a:lnTo>
                      <a:pt x="27" y="2"/>
                    </a:lnTo>
                    <a:lnTo>
                      <a:pt x="27" y="2"/>
                    </a:lnTo>
                    <a:lnTo>
                      <a:pt x="28" y="7"/>
                    </a:lnTo>
                    <a:lnTo>
                      <a:pt x="30" y="6"/>
                    </a:lnTo>
                    <a:lnTo>
                      <a:pt x="31" y="3"/>
                    </a:lnTo>
                    <a:lnTo>
                      <a:pt x="34" y="2"/>
                    </a:lnTo>
                    <a:lnTo>
                      <a:pt x="36" y="3"/>
                    </a:lnTo>
                    <a:lnTo>
                      <a:pt x="36" y="3"/>
                    </a:lnTo>
                    <a:lnTo>
                      <a:pt x="42" y="0"/>
                    </a:lnTo>
                    <a:lnTo>
                      <a:pt x="47" y="0"/>
                    </a:lnTo>
                    <a:lnTo>
                      <a:pt x="54" y="3"/>
                    </a:lnTo>
                    <a:lnTo>
                      <a:pt x="55" y="7"/>
                    </a:lnTo>
                    <a:lnTo>
                      <a:pt x="54" y="8"/>
                    </a:lnTo>
                    <a:lnTo>
                      <a:pt x="55" y="10"/>
                    </a:lnTo>
                    <a:lnTo>
                      <a:pt x="57" y="10"/>
                    </a:lnTo>
                    <a:lnTo>
                      <a:pt x="57" y="12"/>
                    </a:lnTo>
                    <a:lnTo>
                      <a:pt x="55" y="14"/>
                    </a:lnTo>
                    <a:lnTo>
                      <a:pt x="54" y="1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4" name="Freeform 73">
                <a:extLst>
                  <a:ext uri="{FF2B5EF4-FFF2-40B4-BE49-F238E27FC236}">
                    <a16:creationId xmlns:a16="http://schemas.microsoft.com/office/drawing/2014/main" id="{60806FB4-6F84-4F2D-8CF0-DC5F4EF7A2C6}"/>
                  </a:ext>
                </a:extLst>
              </p:cNvPr>
              <p:cNvSpPr>
                <a:spLocks/>
              </p:cNvSpPr>
              <p:nvPr/>
            </p:nvSpPr>
            <p:spPr bwMode="auto">
              <a:xfrm>
                <a:off x="3011488" y="1946344"/>
                <a:ext cx="11113" cy="14288"/>
              </a:xfrm>
              <a:custGeom>
                <a:avLst/>
                <a:gdLst>
                  <a:gd name="T0" fmla="*/ 9 w 15"/>
                  <a:gd name="T1" fmla="*/ 1 h 18"/>
                  <a:gd name="T2" fmla="*/ 11 w 15"/>
                  <a:gd name="T3" fmla="*/ 4 h 18"/>
                  <a:gd name="T4" fmla="*/ 15 w 15"/>
                  <a:gd name="T5" fmla="*/ 10 h 18"/>
                  <a:gd name="T6" fmla="*/ 15 w 15"/>
                  <a:gd name="T7" fmla="*/ 10 h 18"/>
                  <a:gd name="T8" fmla="*/ 13 w 15"/>
                  <a:gd name="T9" fmla="*/ 12 h 18"/>
                  <a:gd name="T10" fmla="*/ 12 w 15"/>
                  <a:gd name="T11" fmla="*/ 16 h 18"/>
                  <a:gd name="T12" fmla="*/ 8 w 15"/>
                  <a:gd name="T13" fmla="*/ 16 h 18"/>
                  <a:gd name="T14" fmla="*/ 6 w 15"/>
                  <a:gd name="T15" fmla="*/ 16 h 18"/>
                  <a:gd name="T16" fmla="*/ 2 w 15"/>
                  <a:gd name="T17" fmla="*/ 18 h 18"/>
                  <a:gd name="T18" fmla="*/ 1 w 15"/>
                  <a:gd name="T19" fmla="*/ 18 h 18"/>
                  <a:gd name="T20" fmla="*/ 0 w 15"/>
                  <a:gd name="T21" fmla="*/ 16 h 18"/>
                  <a:gd name="T22" fmla="*/ 2 w 15"/>
                  <a:gd name="T23" fmla="*/ 16 h 18"/>
                  <a:gd name="T24" fmla="*/ 5 w 15"/>
                  <a:gd name="T25" fmla="*/ 12 h 18"/>
                  <a:gd name="T26" fmla="*/ 2 w 15"/>
                  <a:gd name="T27" fmla="*/ 11 h 18"/>
                  <a:gd name="T28" fmla="*/ 6 w 15"/>
                  <a:gd name="T29" fmla="*/ 10 h 18"/>
                  <a:gd name="T30" fmla="*/ 5 w 15"/>
                  <a:gd name="T31" fmla="*/ 8 h 18"/>
                  <a:gd name="T32" fmla="*/ 5 w 15"/>
                  <a:gd name="T33" fmla="*/ 7 h 18"/>
                  <a:gd name="T34" fmla="*/ 6 w 15"/>
                  <a:gd name="T35" fmla="*/ 4 h 18"/>
                  <a:gd name="T36" fmla="*/ 6 w 15"/>
                  <a:gd name="T37" fmla="*/ 1 h 18"/>
                  <a:gd name="T38" fmla="*/ 8 w 15"/>
                  <a:gd name="T39" fmla="*/ 0 h 18"/>
                  <a:gd name="T40" fmla="*/ 9 w 15"/>
                  <a:gd name="T4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8">
                    <a:moveTo>
                      <a:pt x="9" y="1"/>
                    </a:moveTo>
                    <a:lnTo>
                      <a:pt x="11" y="4"/>
                    </a:lnTo>
                    <a:lnTo>
                      <a:pt x="15" y="10"/>
                    </a:lnTo>
                    <a:lnTo>
                      <a:pt x="15" y="10"/>
                    </a:lnTo>
                    <a:lnTo>
                      <a:pt x="13" y="12"/>
                    </a:lnTo>
                    <a:lnTo>
                      <a:pt x="12" y="16"/>
                    </a:lnTo>
                    <a:lnTo>
                      <a:pt x="8" y="16"/>
                    </a:lnTo>
                    <a:lnTo>
                      <a:pt x="6" y="16"/>
                    </a:lnTo>
                    <a:lnTo>
                      <a:pt x="2" y="18"/>
                    </a:lnTo>
                    <a:lnTo>
                      <a:pt x="1" y="18"/>
                    </a:lnTo>
                    <a:lnTo>
                      <a:pt x="0" y="16"/>
                    </a:lnTo>
                    <a:lnTo>
                      <a:pt x="2" y="16"/>
                    </a:lnTo>
                    <a:lnTo>
                      <a:pt x="5" y="12"/>
                    </a:lnTo>
                    <a:lnTo>
                      <a:pt x="2" y="11"/>
                    </a:lnTo>
                    <a:lnTo>
                      <a:pt x="6" y="10"/>
                    </a:lnTo>
                    <a:lnTo>
                      <a:pt x="5" y="8"/>
                    </a:lnTo>
                    <a:lnTo>
                      <a:pt x="5" y="7"/>
                    </a:lnTo>
                    <a:lnTo>
                      <a:pt x="6" y="4"/>
                    </a:lnTo>
                    <a:lnTo>
                      <a:pt x="6" y="1"/>
                    </a:lnTo>
                    <a:lnTo>
                      <a:pt x="8" y="0"/>
                    </a:lnTo>
                    <a:lnTo>
                      <a:pt x="9"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5" name="Freeform 74">
                <a:extLst>
                  <a:ext uri="{FF2B5EF4-FFF2-40B4-BE49-F238E27FC236}">
                    <a16:creationId xmlns:a16="http://schemas.microsoft.com/office/drawing/2014/main" id="{9139597C-772B-4F06-96F6-9CDB3AE4B7A2}"/>
                  </a:ext>
                </a:extLst>
              </p:cNvPr>
              <p:cNvSpPr>
                <a:spLocks/>
              </p:cNvSpPr>
              <p:nvPr/>
            </p:nvSpPr>
            <p:spPr bwMode="auto">
              <a:xfrm>
                <a:off x="2659063" y="2011431"/>
                <a:ext cx="7938" cy="6350"/>
              </a:xfrm>
              <a:custGeom>
                <a:avLst/>
                <a:gdLst>
                  <a:gd name="T0" fmla="*/ 3 w 11"/>
                  <a:gd name="T1" fmla="*/ 5 h 8"/>
                  <a:gd name="T2" fmla="*/ 4 w 11"/>
                  <a:gd name="T3" fmla="*/ 0 h 8"/>
                  <a:gd name="T4" fmla="*/ 7 w 11"/>
                  <a:gd name="T5" fmla="*/ 1 h 8"/>
                  <a:gd name="T6" fmla="*/ 8 w 11"/>
                  <a:gd name="T7" fmla="*/ 0 h 8"/>
                  <a:gd name="T8" fmla="*/ 10 w 11"/>
                  <a:gd name="T9" fmla="*/ 3 h 8"/>
                  <a:gd name="T10" fmla="*/ 11 w 11"/>
                  <a:gd name="T11" fmla="*/ 3 h 8"/>
                  <a:gd name="T12" fmla="*/ 11 w 11"/>
                  <a:gd name="T13" fmla="*/ 4 h 8"/>
                  <a:gd name="T14" fmla="*/ 8 w 11"/>
                  <a:gd name="T15" fmla="*/ 5 h 8"/>
                  <a:gd name="T16" fmla="*/ 8 w 11"/>
                  <a:gd name="T17" fmla="*/ 8 h 8"/>
                  <a:gd name="T18" fmla="*/ 8 w 11"/>
                  <a:gd name="T19" fmla="*/ 8 h 8"/>
                  <a:gd name="T20" fmla="*/ 4 w 11"/>
                  <a:gd name="T21" fmla="*/ 8 h 8"/>
                  <a:gd name="T22" fmla="*/ 0 w 11"/>
                  <a:gd name="T23" fmla="*/ 7 h 8"/>
                  <a:gd name="T24" fmla="*/ 3 w 11"/>
                  <a:gd name="T2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3" y="5"/>
                    </a:moveTo>
                    <a:lnTo>
                      <a:pt x="4" y="0"/>
                    </a:lnTo>
                    <a:lnTo>
                      <a:pt x="7" y="1"/>
                    </a:lnTo>
                    <a:lnTo>
                      <a:pt x="8" y="0"/>
                    </a:lnTo>
                    <a:lnTo>
                      <a:pt x="10" y="3"/>
                    </a:lnTo>
                    <a:lnTo>
                      <a:pt x="11" y="3"/>
                    </a:lnTo>
                    <a:lnTo>
                      <a:pt x="11" y="4"/>
                    </a:lnTo>
                    <a:lnTo>
                      <a:pt x="8" y="5"/>
                    </a:lnTo>
                    <a:lnTo>
                      <a:pt x="8" y="8"/>
                    </a:lnTo>
                    <a:lnTo>
                      <a:pt x="8" y="8"/>
                    </a:lnTo>
                    <a:lnTo>
                      <a:pt x="4" y="8"/>
                    </a:lnTo>
                    <a:lnTo>
                      <a:pt x="0" y="7"/>
                    </a:lnTo>
                    <a:lnTo>
                      <a:pt x="3"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6" name="Freeform 75">
                <a:extLst>
                  <a:ext uri="{FF2B5EF4-FFF2-40B4-BE49-F238E27FC236}">
                    <a16:creationId xmlns:a16="http://schemas.microsoft.com/office/drawing/2014/main" id="{ECB9FA75-871D-4E07-9FC8-3D8986CD0D05}"/>
                  </a:ext>
                </a:extLst>
              </p:cNvPr>
              <p:cNvSpPr>
                <a:spLocks/>
              </p:cNvSpPr>
              <p:nvPr/>
            </p:nvSpPr>
            <p:spPr bwMode="auto">
              <a:xfrm>
                <a:off x="2414588" y="2097156"/>
                <a:ext cx="11113" cy="7938"/>
              </a:xfrm>
              <a:custGeom>
                <a:avLst/>
                <a:gdLst>
                  <a:gd name="T0" fmla="*/ 15 w 15"/>
                  <a:gd name="T1" fmla="*/ 3 h 9"/>
                  <a:gd name="T2" fmla="*/ 15 w 15"/>
                  <a:gd name="T3" fmla="*/ 4 h 9"/>
                  <a:gd name="T4" fmla="*/ 14 w 15"/>
                  <a:gd name="T5" fmla="*/ 8 h 9"/>
                  <a:gd name="T6" fmla="*/ 14 w 15"/>
                  <a:gd name="T7" fmla="*/ 8 h 9"/>
                  <a:gd name="T8" fmla="*/ 10 w 15"/>
                  <a:gd name="T9" fmla="*/ 8 h 9"/>
                  <a:gd name="T10" fmla="*/ 5 w 15"/>
                  <a:gd name="T11" fmla="*/ 9 h 9"/>
                  <a:gd name="T12" fmla="*/ 5 w 15"/>
                  <a:gd name="T13" fmla="*/ 9 h 9"/>
                  <a:gd name="T14" fmla="*/ 3 w 15"/>
                  <a:gd name="T15" fmla="*/ 8 h 9"/>
                  <a:gd name="T16" fmla="*/ 0 w 15"/>
                  <a:gd name="T17" fmla="*/ 7 h 9"/>
                  <a:gd name="T18" fmla="*/ 0 w 15"/>
                  <a:gd name="T19" fmla="*/ 4 h 9"/>
                  <a:gd name="T20" fmla="*/ 4 w 15"/>
                  <a:gd name="T21" fmla="*/ 1 h 9"/>
                  <a:gd name="T22" fmla="*/ 5 w 15"/>
                  <a:gd name="T23" fmla="*/ 1 h 9"/>
                  <a:gd name="T24" fmla="*/ 10 w 15"/>
                  <a:gd name="T25" fmla="*/ 0 h 9"/>
                  <a:gd name="T26" fmla="*/ 10 w 15"/>
                  <a:gd name="T27" fmla="*/ 0 h 9"/>
                  <a:gd name="T28" fmla="*/ 15 w 15"/>
                  <a:gd name="T29" fmla="*/ 3 h 9"/>
                  <a:gd name="T30" fmla="*/ 15 w 15"/>
                  <a:gd name="T3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9">
                    <a:moveTo>
                      <a:pt x="15" y="3"/>
                    </a:moveTo>
                    <a:lnTo>
                      <a:pt x="15" y="4"/>
                    </a:lnTo>
                    <a:lnTo>
                      <a:pt x="14" y="8"/>
                    </a:lnTo>
                    <a:lnTo>
                      <a:pt x="14" y="8"/>
                    </a:lnTo>
                    <a:lnTo>
                      <a:pt x="10" y="8"/>
                    </a:lnTo>
                    <a:lnTo>
                      <a:pt x="5" y="9"/>
                    </a:lnTo>
                    <a:lnTo>
                      <a:pt x="5" y="9"/>
                    </a:lnTo>
                    <a:lnTo>
                      <a:pt x="3" y="8"/>
                    </a:lnTo>
                    <a:lnTo>
                      <a:pt x="0" y="7"/>
                    </a:lnTo>
                    <a:lnTo>
                      <a:pt x="0" y="4"/>
                    </a:lnTo>
                    <a:lnTo>
                      <a:pt x="4" y="1"/>
                    </a:lnTo>
                    <a:lnTo>
                      <a:pt x="5" y="1"/>
                    </a:lnTo>
                    <a:lnTo>
                      <a:pt x="10" y="0"/>
                    </a:lnTo>
                    <a:lnTo>
                      <a:pt x="10" y="0"/>
                    </a:lnTo>
                    <a:lnTo>
                      <a:pt x="15" y="3"/>
                    </a:lnTo>
                    <a:lnTo>
                      <a:pt x="15"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7" name="Freeform 76">
                <a:extLst>
                  <a:ext uri="{FF2B5EF4-FFF2-40B4-BE49-F238E27FC236}">
                    <a16:creationId xmlns:a16="http://schemas.microsoft.com/office/drawing/2014/main" id="{3B14FE42-25AB-4F74-82D8-B1FE77F149CA}"/>
                  </a:ext>
                </a:extLst>
              </p:cNvPr>
              <p:cNvSpPr>
                <a:spLocks/>
              </p:cNvSpPr>
              <p:nvPr/>
            </p:nvSpPr>
            <p:spPr bwMode="auto">
              <a:xfrm>
                <a:off x="1725613" y="2146369"/>
                <a:ext cx="4763" cy="3175"/>
              </a:xfrm>
              <a:custGeom>
                <a:avLst/>
                <a:gdLst>
                  <a:gd name="T0" fmla="*/ 6 w 6"/>
                  <a:gd name="T1" fmla="*/ 4 h 5"/>
                  <a:gd name="T2" fmla="*/ 5 w 6"/>
                  <a:gd name="T3" fmla="*/ 5 h 5"/>
                  <a:gd name="T4" fmla="*/ 2 w 6"/>
                  <a:gd name="T5" fmla="*/ 5 h 5"/>
                  <a:gd name="T6" fmla="*/ 0 w 6"/>
                  <a:gd name="T7" fmla="*/ 3 h 5"/>
                  <a:gd name="T8" fmla="*/ 0 w 6"/>
                  <a:gd name="T9" fmla="*/ 0 h 5"/>
                  <a:gd name="T10" fmla="*/ 2 w 6"/>
                  <a:gd name="T11" fmla="*/ 1 h 5"/>
                  <a:gd name="T12" fmla="*/ 4 w 6"/>
                  <a:gd name="T13" fmla="*/ 3 h 5"/>
                  <a:gd name="T14" fmla="*/ 6 w 6"/>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6" y="4"/>
                    </a:moveTo>
                    <a:lnTo>
                      <a:pt x="5" y="5"/>
                    </a:lnTo>
                    <a:lnTo>
                      <a:pt x="2" y="5"/>
                    </a:lnTo>
                    <a:lnTo>
                      <a:pt x="0" y="3"/>
                    </a:lnTo>
                    <a:lnTo>
                      <a:pt x="0" y="0"/>
                    </a:lnTo>
                    <a:lnTo>
                      <a:pt x="2" y="1"/>
                    </a:lnTo>
                    <a:lnTo>
                      <a:pt x="4" y="3"/>
                    </a:lnTo>
                    <a:lnTo>
                      <a:pt x="6"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8" name="Freeform 77">
                <a:extLst>
                  <a:ext uri="{FF2B5EF4-FFF2-40B4-BE49-F238E27FC236}">
                    <a16:creationId xmlns:a16="http://schemas.microsoft.com/office/drawing/2014/main" id="{D0FD288A-60B0-4010-ADE2-A0D5654A79B7}"/>
                  </a:ext>
                </a:extLst>
              </p:cNvPr>
              <p:cNvSpPr>
                <a:spLocks/>
              </p:cNvSpPr>
              <p:nvPr/>
            </p:nvSpPr>
            <p:spPr bwMode="auto">
              <a:xfrm>
                <a:off x="1928813" y="2155894"/>
                <a:ext cx="7938" cy="4763"/>
              </a:xfrm>
              <a:custGeom>
                <a:avLst/>
                <a:gdLst>
                  <a:gd name="T0" fmla="*/ 10 w 11"/>
                  <a:gd name="T1" fmla="*/ 2 h 5"/>
                  <a:gd name="T2" fmla="*/ 11 w 11"/>
                  <a:gd name="T3" fmla="*/ 4 h 5"/>
                  <a:gd name="T4" fmla="*/ 10 w 11"/>
                  <a:gd name="T5" fmla="*/ 5 h 5"/>
                  <a:gd name="T6" fmla="*/ 3 w 11"/>
                  <a:gd name="T7" fmla="*/ 5 h 5"/>
                  <a:gd name="T8" fmla="*/ 0 w 11"/>
                  <a:gd name="T9" fmla="*/ 1 h 5"/>
                  <a:gd name="T10" fmla="*/ 1 w 11"/>
                  <a:gd name="T11" fmla="*/ 0 h 5"/>
                  <a:gd name="T12" fmla="*/ 1 w 11"/>
                  <a:gd name="T13" fmla="*/ 0 h 5"/>
                  <a:gd name="T14" fmla="*/ 6 w 11"/>
                  <a:gd name="T15" fmla="*/ 1 h 5"/>
                  <a:gd name="T16" fmla="*/ 10 w 11"/>
                  <a:gd name="T17" fmla="*/ 2 h 5"/>
                  <a:gd name="T18" fmla="*/ 10 w 11"/>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10" y="2"/>
                    </a:moveTo>
                    <a:lnTo>
                      <a:pt x="11" y="4"/>
                    </a:lnTo>
                    <a:lnTo>
                      <a:pt x="10" y="5"/>
                    </a:lnTo>
                    <a:lnTo>
                      <a:pt x="3" y="5"/>
                    </a:lnTo>
                    <a:lnTo>
                      <a:pt x="0" y="1"/>
                    </a:lnTo>
                    <a:lnTo>
                      <a:pt x="1" y="0"/>
                    </a:lnTo>
                    <a:lnTo>
                      <a:pt x="1" y="0"/>
                    </a:lnTo>
                    <a:lnTo>
                      <a:pt x="6" y="1"/>
                    </a:lnTo>
                    <a:lnTo>
                      <a:pt x="10" y="2"/>
                    </a:lnTo>
                    <a:lnTo>
                      <a:pt x="10"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49" name="Freeform 78">
                <a:extLst>
                  <a:ext uri="{FF2B5EF4-FFF2-40B4-BE49-F238E27FC236}">
                    <a16:creationId xmlns:a16="http://schemas.microsoft.com/office/drawing/2014/main" id="{65A2EFBF-9D0D-4DFC-846F-36930A16E1F9}"/>
                  </a:ext>
                </a:extLst>
              </p:cNvPr>
              <p:cNvSpPr>
                <a:spLocks/>
              </p:cNvSpPr>
              <p:nvPr/>
            </p:nvSpPr>
            <p:spPr bwMode="auto">
              <a:xfrm>
                <a:off x="2392363" y="2157481"/>
                <a:ext cx="12700" cy="7938"/>
              </a:xfrm>
              <a:custGeom>
                <a:avLst/>
                <a:gdLst>
                  <a:gd name="T0" fmla="*/ 12 w 15"/>
                  <a:gd name="T1" fmla="*/ 8 h 9"/>
                  <a:gd name="T2" fmla="*/ 11 w 15"/>
                  <a:gd name="T3" fmla="*/ 8 h 9"/>
                  <a:gd name="T4" fmla="*/ 9 w 15"/>
                  <a:gd name="T5" fmla="*/ 9 h 9"/>
                  <a:gd name="T6" fmla="*/ 9 w 15"/>
                  <a:gd name="T7" fmla="*/ 9 h 9"/>
                  <a:gd name="T8" fmla="*/ 7 w 15"/>
                  <a:gd name="T9" fmla="*/ 9 h 9"/>
                  <a:gd name="T10" fmla="*/ 3 w 15"/>
                  <a:gd name="T11" fmla="*/ 8 h 9"/>
                  <a:gd name="T12" fmla="*/ 4 w 15"/>
                  <a:gd name="T13" fmla="*/ 7 h 9"/>
                  <a:gd name="T14" fmla="*/ 3 w 15"/>
                  <a:gd name="T15" fmla="*/ 5 h 9"/>
                  <a:gd name="T16" fmla="*/ 1 w 15"/>
                  <a:gd name="T17" fmla="*/ 5 h 9"/>
                  <a:gd name="T18" fmla="*/ 0 w 15"/>
                  <a:gd name="T19" fmla="*/ 4 h 9"/>
                  <a:gd name="T20" fmla="*/ 0 w 15"/>
                  <a:gd name="T21" fmla="*/ 4 h 9"/>
                  <a:gd name="T22" fmla="*/ 4 w 15"/>
                  <a:gd name="T23" fmla="*/ 3 h 9"/>
                  <a:gd name="T24" fmla="*/ 7 w 15"/>
                  <a:gd name="T25" fmla="*/ 0 h 9"/>
                  <a:gd name="T26" fmla="*/ 8 w 15"/>
                  <a:gd name="T27" fmla="*/ 0 h 9"/>
                  <a:gd name="T28" fmla="*/ 8 w 15"/>
                  <a:gd name="T29" fmla="*/ 3 h 9"/>
                  <a:gd name="T30" fmla="*/ 12 w 15"/>
                  <a:gd name="T31" fmla="*/ 4 h 9"/>
                  <a:gd name="T32" fmla="*/ 13 w 15"/>
                  <a:gd name="T33" fmla="*/ 4 h 9"/>
                  <a:gd name="T34" fmla="*/ 15 w 15"/>
                  <a:gd name="T35" fmla="*/ 4 h 9"/>
                  <a:gd name="T36" fmla="*/ 13 w 15"/>
                  <a:gd name="T37" fmla="*/ 7 h 9"/>
                  <a:gd name="T38" fmla="*/ 13 w 15"/>
                  <a:gd name="T39" fmla="*/ 8 h 9"/>
                  <a:gd name="T40" fmla="*/ 12 w 15"/>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9">
                    <a:moveTo>
                      <a:pt x="12" y="8"/>
                    </a:moveTo>
                    <a:lnTo>
                      <a:pt x="11" y="8"/>
                    </a:lnTo>
                    <a:lnTo>
                      <a:pt x="9" y="9"/>
                    </a:lnTo>
                    <a:lnTo>
                      <a:pt x="9" y="9"/>
                    </a:lnTo>
                    <a:lnTo>
                      <a:pt x="7" y="9"/>
                    </a:lnTo>
                    <a:lnTo>
                      <a:pt x="3" y="8"/>
                    </a:lnTo>
                    <a:lnTo>
                      <a:pt x="4" y="7"/>
                    </a:lnTo>
                    <a:lnTo>
                      <a:pt x="3" y="5"/>
                    </a:lnTo>
                    <a:lnTo>
                      <a:pt x="1" y="5"/>
                    </a:lnTo>
                    <a:lnTo>
                      <a:pt x="0" y="4"/>
                    </a:lnTo>
                    <a:lnTo>
                      <a:pt x="0" y="4"/>
                    </a:lnTo>
                    <a:lnTo>
                      <a:pt x="4" y="3"/>
                    </a:lnTo>
                    <a:lnTo>
                      <a:pt x="7" y="0"/>
                    </a:lnTo>
                    <a:lnTo>
                      <a:pt x="8" y="0"/>
                    </a:lnTo>
                    <a:lnTo>
                      <a:pt x="8" y="3"/>
                    </a:lnTo>
                    <a:lnTo>
                      <a:pt x="12" y="4"/>
                    </a:lnTo>
                    <a:lnTo>
                      <a:pt x="13" y="4"/>
                    </a:lnTo>
                    <a:lnTo>
                      <a:pt x="15" y="4"/>
                    </a:lnTo>
                    <a:lnTo>
                      <a:pt x="13" y="7"/>
                    </a:lnTo>
                    <a:lnTo>
                      <a:pt x="13" y="8"/>
                    </a:lnTo>
                    <a:lnTo>
                      <a:pt x="12" y="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0" name="Freeform 79">
                <a:extLst>
                  <a:ext uri="{FF2B5EF4-FFF2-40B4-BE49-F238E27FC236}">
                    <a16:creationId xmlns:a16="http://schemas.microsoft.com/office/drawing/2014/main" id="{94ED4141-FF42-436A-B473-02FA7110D876}"/>
                  </a:ext>
                </a:extLst>
              </p:cNvPr>
              <p:cNvSpPr>
                <a:spLocks/>
              </p:cNvSpPr>
              <p:nvPr/>
            </p:nvSpPr>
            <p:spPr bwMode="auto">
              <a:xfrm>
                <a:off x="1911350" y="2171769"/>
                <a:ext cx="4763" cy="4763"/>
              </a:xfrm>
              <a:custGeom>
                <a:avLst/>
                <a:gdLst>
                  <a:gd name="T0" fmla="*/ 4 w 6"/>
                  <a:gd name="T1" fmla="*/ 1 h 6"/>
                  <a:gd name="T2" fmla="*/ 6 w 6"/>
                  <a:gd name="T3" fmla="*/ 5 h 6"/>
                  <a:gd name="T4" fmla="*/ 4 w 6"/>
                  <a:gd name="T5" fmla="*/ 6 h 6"/>
                  <a:gd name="T6" fmla="*/ 3 w 6"/>
                  <a:gd name="T7" fmla="*/ 6 h 6"/>
                  <a:gd name="T8" fmla="*/ 0 w 6"/>
                  <a:gd name="T9" fmla="*/ 2 h 6"/>
                  <a:gd name="T10" fmla="*/ 0 w 6"/>
                  <a:gd name="T11" fmla="*/ 0 h 6"/>
                  <a:gd name="T12" fmla="*/ 3 w 6"/>
                  <a:gd name="T13" fmla="*/ 0 h 6"/>
                  <a:gd name="T14" fmla="*/ 3 w 6"/>
                  <a:gd name="T15" fmla="*/ 0 h 6"/>
                  <a:gd name="T16" fmla="*/ 4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1"/>
                    </a:moveTo>
                    <a:lnTo>
                      <a:pt x="6" y="5"/>
                    </a:lnTo>
                    <a:lnTo>
                      <a:pt x="4" y="6"/>
                    </a:lnTo>
                    <a:lnTo>
                      <a:pt x="3" y="6"/>
                    </a:lnTo>
                    <a:lnTo>
                      <a:pt x="0" y="2"/>
                    </a:lnTo>
                    <a:lnTo>
                      <a:pt x="0" y="0"/>
                    </a:lnTo>
                    <a:lnTo>
                      <a:pt x="3" y="0"/>
                    </a:lnTo>
                    <a:lnTo>
                      <a:pt x="3" y="0"/>
                    </a:lnTo>
                    <a:lnTo>
                      <a:pt x="4"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1" name="Freeform 80">
                <a:extLst>
                  <a:ext uri="{FF2B5EF4-FFF2-40B4-BE49-F238E27FC236}">
                    <a16:creationId xmlns:a16="http://schemas.microsoft.com/office/drawing/2014/main" id="{DF1C6A70-4E04-4A4C-8221-48618269F696}"/>
                  </a:ext>
                </a:extLst>
              </p:cNvPr>
              <p:cNvSpPr>
                <a:spLocks/>
              </p:cNvSpPr>
              <p:nvPr/>
            </p:nvSpPr>
            <p:spPr bwMode="auto">
              <a:xfrm>
                <a:off x="1919288" y="2176531"/>
                <a:ext cx="1588" cy="3175"/>
              </a:xfrm>
              <a:custGeom>
                <a:avLst/>
                <a:gdLst>
                  <a:gd name="T0" fmla="*/ 3 w 3"/>
                  <a:gd name="T1" fmla="*/ 0 h 4"/>
                  <a:gd name="T2" fmla="*/ 3 w 3"/>
                  <a:gd name="T3" fmla="*/ 4 h 4"/>
                  <a:gd name="T4" fmla="*/ 1 w 3"/>
                  <a:gd name="T5" fmla="*/ 3 h 4"/>
                  <a:gd name="T6" fmla="*/ 0 w 3"/>
                  <a:gd name="T7" fmla="*/ 4 h 4"/>
                  <a:gd name="T8" fmla="*/ 0 w 3"/>
                  <a:gd name="T9" fmla="*/ 0 h 4"/>
                  <a:gd name="T10" fmla="*/ 3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3" y="0"/>
                    </a:moveTo>
                    <a:lnTo>
                      <a:pt x="3" y="4"/>
                    </a:lnTo>
                    <a:lnTo>
                      <a:pt x="1" y="3"/>
                    </a:lnTo>
                    <a:lnTo>
                      <a:pt x="0" y="4"/>
                    </a:lnTo>
                    <a:lnTo>
                      <a:pt x="0" y="0"/>
                    </a:lnTo>
                    <a:lnTo>
                      <a:pt x="3"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2" name="Freeform 81">
                <a:extLst>
                  <a:ext uri="{FF2B5EF4-FFF2-40B4-BE49-F238E27FC236}">
                    <a16:creationId xmlns:a16="http://schemas.microsoft.com/office/drawing/2014/main" id="{A692496C-6B9E-4F75-9CFD-46D004B0C075}"/>
                  </a:ext>
                </a:extLst>
              </p:cNvPr>
              <p:cNvSpPr>
                <a:spLocks/>
              </p:cNvSpPr>
              <p:nvPr/>
            </p:nvSpPr>
            <p:spPr bwMode="auto">
              <a:xfrm>
                <a:off x="1927225" y="2182881"/>
                <a:ext cx="3175" cy="6350"/>
              </a:xfrm>
              <a:custGeom>
                <a:avLst/>
                <a:gdLst>
                  <a:gd name="T0" fmla="*/ 3 w 6"/>
                  <a:gd name="T1" fmla="*/ 3 h 8"/>
                  <a:gd name="T2" fmla="*/ 6 w 6"/>
                  <a:gd name="T3" fmla="*/ 4 h 8"/>
                  <a:gd name="T4" fmla="*/ 4 w 6"/>
                  <a:gd name="T5" fmla="*/ 7 h 8"/>
                  <a:gd name="T6" fmla="*/ 2 w 6"/>
                  <a:gd name="T7" fmla="*/ 8 h 8"/>
                  <a:gd name="T8" fmla="*/ 0 w 6"/>
                  <a:gd name="T9" fmla="*/ 2 h 8"/>
                  <a:gd name="T10" fmla="*/ 0 w 6"/>
                  <a:gd name="T11" fmla="*/ 0 h 8"/>
                  <a:gd name="T12" fmla="*/ 0 w 6"/>
                  <a:gd name="T13" fmla="*/ 0 h 8"/>
                  <a:gd name="T14" fmla="*/ 3 w 6"/>
                  <a:gd name="T15" fmla="*/ 3 h 8"/>
                  <a:gd name="T16" fmla="*/ 3 w 6"/>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3"/>
                    </a:moveTo>
                    <a:lnTo>
                      <a:pt x="6" y="4"/>
                    </a:lnTo>
                    <a:lnTo>
                      <a:pt x="4" y="7"/>
                    </a:lnTo>
                    <a:lnTo>
                      <a:pt x="2" y="8"/>
                    </a:lnTo>
                    <a:lnTo>
                      <a:pt x="0" y="2"/>
                    </a:lnTo>
                    <a:lnTo>
                      <a:pt x="0" y="0"/>
                    </a:lnTo>
                    <a:lnTo>
                      <a:pt x="0" y="0"/>
                    </a:lnTo>
                    <a:lnTo>
                      <a:pt x="3" y="3"/>
                    </a:lnTo>
                    <a:lnTo>
                      <a:pt x="3"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3" name="Freeform 82">
                <a:extLst>
                  <a:ext uri="{FF2B5EF4-FFF2-40B4-BE49-F238E27FC236}">
                    <a16:creationId xmlns:a16="http://schemas.microsoft.com/office/drawing/2014/main" id="{DCA622B6-1426-4A8F-B776-F8283248D7B3}"/>
                  </a:ext>
                </a:extLst>
              </p:cNvPr>
              <p:cNvSpPr>
                <a:spLocks/>
              </p:cNvSpPr>
              <p:nvPr/>
            </p:nvSpPr>
            <p:spPr bwMode="auto">
              <a:xfrm>
                <a:off x="1857375" y="2246381"/>
                <a:ext cx="6350" cy="6350"/>
              </a:xfrm>
              <a:custGeom>
                <a:avLst/>
                <a:gdLst>
                  <a:gd name="T0" fmla="*/ 5 w 6"/>
                  <a:gd name="T1" fmla="*/ 1 h 8"/>
                  <a:gd name="T2" fmla="*/ 6 w 6"/>
                  <a:gd name="T3" fmla="*/ 6 h 8"/>
                  <a:gd name="T4" fmla="*/ 4 w 6"/>
                  <a:gd name="T5" fmla="*/ 8 h 8"/>
                  <a:gd name="T6" fmla="*/ 1 w 6"/>
                  <a:gd name="T7" fmla="*/ 6 h 8"/>
                  <a:gd name="T8" fmla="*/ 1 w 6"/>
                  <a:gd name="T9" fmla="*/ 5 h 8"/>
                  <a:gd name="T10" fmla="*/ 2 w 6"/>
                  <a:gd name="T11" fmla="*/ 5 h 8"/>
                  <a:gd name="T12" fmla="*/ 2 w 6"/>
                  <a:gd name="T13" fmla="*/ 4 h 8"/>
                  <a:gd name="T14" fmla="*/ 0 w 6"/>
                  <a:gd name="T15" fmla="*/ 1 h 8"/>
                  <a:gd name="T16" fmla="*/ 0 w 6"/>
                  <a:gd name="T17" fmla="*/ 0 h 8"/>
                  <a:gd name="T18" fmla="*/ 2 w 6"/>
                  <a:gd name="T19" fmla="*/ 0 h 8"/>
                  <a:gd name="T20" fmla="*/ 2 w 6"/>
                  <a:gd name="T21" fmla="*/ 0 h 8"/>
                  <a:gd name="T22" fmla="*/ 5 w 6"/>
                  <a:gd name="T23" fmla="*/ 1 h 8"/>
                  <a:gd name="T24" fmla="*/ 5 w 6"/>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5" y="1"/>
                    </a:moveTo>
                    <a:lnTo>
                      <a:pt x="6" y="6"/>
                    </a:lnTo>
                    <a:lnTo>
                      <a:pt x="4" y="8"/>
                    </a:lnTo>
                    <a:lnTo>
                      <a:pt x="1" y="6"/>
                    </a:lnTo>
                    <a:lnTo>
                      <a:pt x="1" y="5"/>
                    </a:lnTo>
                    <a:lnTo>
                      <a:pt x="2" y="5"/>
                    </a:lnTo>
                    <a:lnTo>
                      <a:pt x="2" y="4"/>
                    </a:lnTo>
                    <a:lnTo>
                      <a:pt x="0" y="1"/>
                    </a:lnTo>
                    <a:lnTo>
                      <a:pt x="0" y="0"/>
                    </a:lnTo>
                    <a:lnTo>
                      <a:pt x="2" y="0"/>
                    </a:lnTo>
                    <a:lnTo>
                      <a:pt x="2" y="0"/>
                    </a:lnTo>
                    <a:lnTo>
                      <a:pt x="5" y="1"/>
                    </a:lnTo>
                    <a:lnTo>
                      <a:pt x="5"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4" name="Freeform 83">
                <a:extLst>
                  <a:ext uri="{FF2B5EF4-FFF2-40B4-BE49-F238E27FC236}">
                    <a16:creationId xmlns:a16="http://schemas.microsoft.com/office/drawing/2014/main" id="{59A5C19B-9E97-486B-AC53-153F3434EA5A}"/>
                  </a:ext>
                </a:extLst>
              </p:cNvPr>
              <p:cNvSpPr>
                <a:spLocks/>
              </p:cNvSpPr>
              <p:nvPr/>
            </p:nvSpPr>
            <p:spPr bwMode="auto">
              <a:xfrm>
                <a:off x="2344738" y="2263844"/>
                <a:ext cx="7938" cy="6350"/>
              </a:xfrm>
              <a:custGeom>
                <a:avLst/>
                <a:gdLst>
                  <a:gd name="T0" fmla="*/ 5 w 9"/>
                  <a:gd name="T1" fmla="*/ 2 h 8"/>
                  <a:gd name="T2" fmla="*/ 9 w 9"/>
                  <a:gd name="T3" fmla="*/ 2 h 8"/>
                  <a:gd name="T4" fmla="*/ 7 w 9"/>
                  <a:gd name="T5" fmla="*/ 8 h 8"/>
                  <a:gd name="T6" fmla="*/ 1 w 9"/>
                  <a:gd name="T7" fmla="*/ 7 h 8"/>
                  <a:gd name="T8" fmla="*/ 0 w 9"/>
                  <a:gd name="T9" fmla="*/ 4 h 8"/>
                  <a:gd name="T10" fmla="*/ 0 w 9"/>
                  <a:gd name="T11" fmla="*/ 4 h 8"/>
                  <a:gd name="T12" fmla="*/ 1 w 9"/>
                  <a:gd name="T13" fmla="*/ 2 h 8"/>
                  <a:gd name="T14" fmla="*/ 4 w 9"/>
                  <a:gd name="T15" fmla="*/ 0 h 8"/>
                  <a:gd name="T16" fmla="*/ 4 w 9"/>
                  <a:gd name="T17" fmla="*/ 0 h 8"/>
                  <a:gd name="T18" fmla="*/ 5 w 9"/>
                  <a:gd name="T19" fmla="*/ 2 h 8"/>
                  <a:gd name="T20" fmla="*/ 5 w 9"/>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8">
                    <a:moveTo>
                      <a:pt x="5" y="2"/>
                    </a:moveTo>
                    <a:lnTo>
                      <a:pt x="9" y="2"/>
                    </a:lnTo>
                    <a:lnTo>
                      <a:pt x="7" y="8"/>
                    </a:lnTo>
                    <a:lnTo>
                      <a:pt x="1" y="7"/>
                    </a:lnTo>
                    <a:lnTo>
                      <a:pt x="0" y="4"/>
                    </a:lnTo>
                    <a:lnTo>
                      <a:pt x="0" y="4"/>
                    </a:lnTo>
                    <a:lnTo>
                      <a:pt x="1" y="2"/>
                    </a:lnTo>
                    <a:lnTo>
                      <a:pt x="4" y="0"/>
                    </a:lnTo>
                    <a:lnTo>
                      <a:pt x="4" y="0"/>
                    </a:lnTo>
                    <a:lnTo>
                      <a:pt x="5" y="2"/>
                    </a:lnTo>
                    <a:lnTo>
                      <a:pt x="5"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5" name="Freeform 84">
                <a:extLst>
                  <a:ext uri="{FF2B5EF4-FFF2-40B4-BE49-F238E27FC236}">
                    <a16:creationId xmlns:a16="http://schemas.microsoft.com/office/drawing/2014/main" id="{FD1DC649-1A9C-4F8F-8183-386969005D5F}"/>
                  </a:ext>
                </a:extLst>
              </p:cNvPr>
              <p:cNvSpPr>
                <a:spLocks/>
              </p:cNvSpPr>
              <p:nvPr/>
            </p:nvSpPr>
            <p:spPr bwMode="auto">
              <a:xfrm>
                <a:off x="2343150" y="2279719"/>
                <a:ext cx="9525" cy="6350"/>
              </a:xfrm>
              <a:custGeom>
                <a:avLst/>
                <a:gdLst>
                  <a:gd name="T0" fmla="*/ 12 w 12"/>
                  <a:gd name="T1" fmla="*/ 5 h 8"/>
                  <a:gd name="T2" fmla="*/ 10 w 12"/>
                  <a:gd name="T3" fmla="*/ 4 h 8"/>
                  <a:gd name="T4" fmla="*/ 8 w 12"/>
                  <a:gd name="T5" fmla="*/ 6 h 8"/>
                  <a:gd name="T6" fmla="*/ 4 w 12"/>
                  <a:gd name="T7" fmla="*/ 8 h 8"/>
                  <a:gd name="T8" fmla="*/ 3 w 12"/>
                  <a:gd name="T9" fmla="*/ 8 h 8"/>
                  <a:gd name="T10" fmla="*/ 3 w 12"/>
                  <a:gd name="T11" fmla="*/ 5 h 8"/>
                  <a:gd name="T12" fmla="*/ 0 w 12"/>
                  <a:gd name="T13" fmla="*/ 2 h 8"/>
                  <a:gd name="T14" fmla="*/ 4 w 12"/>
                  <a:gd name="T15" fmla="*/ 0 h 8"/>
                  <a:gd name="T16" fmla="*/ 6 w 12"/>
                  <a:gd name="T17" fmla="*/ 4 h 8"/>
                  <a:gd name="T18" fmla="*/ 7 w 12"/>
                  <a:gd name="T19" fmla="*/ 4 h 8"/>
                  <a:gd name="T20" fmla="*/ 10 w 12"/>
                  <a:gd name="T21" fmla="*/ 0 h 8"/>
                  <a:gd name="T22" fmla="*/ 10 w 12"/>
                  <a:gd name="T23" fmla="*/ 0 h 8"/>
                  <a:gd name="T24" fmla="*/ 10 w 12"/>
                  <a:gd name="T25" fmla="*/ 2 h 8"/>
                  <a:gd name="T26" fmla="*/ 12 w 12"/>
                  <a:gd name="T2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8">
                    <a:moveTo>
                      <a:pt x="12" y="5"/>
                    </a:moveTo>
                    <a:lnTo>
                      <a:pt x="10" y="4"/>
                    </a:lnTo>
                    <a:lnTo>
                      <a:pt x="8" y="6"/>
                    </a:lnTo>
                    <a:lnTo>
                      <a:pt x="4" y="8"/>
                    </a:lnTo>
                    <a:lnTo>
                      <a:pt x="3" y="8"/>
                    </a:lnTo>
                    <a:lnTo>
                      <a:pt x="3" y="5"/>
                    </a:lnTo>
                    <a:lnTo>
                      <a:pt x="0" y="2"/>
                    </a:lnTo>
                    <a:lnTo>
                      <a:pt x="4" y="0"/>
                    </a:lnTo>
                    <a:lnTo>
                      <a:pt x="6" y="4"/>
                    </a:lnTo>
                    <a:lnTo>
                      <a:pt x="7" y="4"/>
                    </a:lnTo>
                    <a:lnTo>
                      <a:pt x="10" y="0"/>
                    </a:lnTo>
                    <a:lnTo>
                      <a:pt x="10" y="0"/>
                    </a:lnTo>
                    <a:lnTo>
                      <a:pt x="10" y="2"/>
                    </a:lnTo>
                    <a:lnTo>
                      <a:pt x="12"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6" name="Freeform 85">
                <a:extLst>
                  <a:ext uri="{FF2B5EF4-FFF2-40B4-BE49-F238E27FC236}">
                    <a16:creationId xmlns:a16="http://schemas.microsoft.com/office/drawing/2014/main" id="{1EEB63B7-6C6A-4002-AF50-1483225C057F}"/>
                  </a:ext>
                </a:extLst>
              </p:cNvPr>
              <p:cNvSpPr>
                <a:spLocks/>
              </p:cNvSpPr>
              <p:nvPr/>
            </p:nvSpPr>
            <p:spPr bwMode="auto">
              <a:xfrm>
                <a:off x="1849438" y="2270194"/>
                <a:ext cx="19050" cy="17463"/>
              </a:xfrm>
              <a:custGeom>
                <a:avLst/>
                <a:gdLst>
                  <a:gd name="T0" fmla="*/ 7 w 24"/>
                  <a:gd name="T1" fmla="*/ 17 h 22"/>
                  <a:gd name="T2" fmla="*/ 5 w 24"/>
                  <a:gd name="T3" fmla="*/ 18 h 22"/>
                  <a:gd name="T4" fmla="*/ 4 w 24"/>
                  <a:gd name="T5" fmla="*/ 17 h 22"/>
                  <a:gd name="T6" fmla="*/ 2 w 24"/>
                  <a:gd name="T7" fmla="*/ 13 h 22"/>
                  <a:gd name="T8" fmla="*/ 1 w 24"/>
                  <a:gd name="T9" fmla="*/ 13 h 22"/>
                  <a:gd name="T10" fmla="*/ 0 w 24"/>
                  <a:gd name="T11" fmla="*/ 6 h 22"/>
                  <a:gd name="T12" fmla="*/ 7 w 24"/>
                  <a:gd name="T13" fmla="*/ 0 h 22"/>
                  <a:gd name="T14" fmla="*/ 8 w 24"/>
                  <a:gd name="T15" fmla="*/ 2 h 22"/>
                  <a:gd name="T16" fmla="*/ 12 w 24"/>
                  <a:gd name="T17" fmla="*/ 0 h 22"/>
                  <a:gd name="T18" fmla="*/ 13 w 24"/>
                  <a:gd name="T19" fmla="*/ 0 h 22"/>
                  <a:gd name="T20" fmla="*/ 15 w 24"/>
                  <a:gd name="T21" fmla="*/ 3 h 22"/>
                  <a:gd name="T22" fmla="*/ 15 w 24"/>
                  <a:gd name="T23" fmla="*/ 3 h 22"/>
                  <a:gd name="T24" fmla="*/ 17 w 24"/>
                  <a:gd name="T25" fmla="*/ 3 h 22"/>
                  <a:gd name="T26" fmla="*/ 21 w 24"/>
                  <a:gd name="T27" fmla="*/ 6 h 22"/>
                  <a:gd name="T28" fmla="*/ 24 w 24"/>
                  <a:gd name="T29" fmla="*/ 17 h 22"/>
                  <a:gd name="T30" fmla="*/ 23 w 24"/>
                  <a:gd name="T31" fmla="*/ 19 h 22"/>
                  <a:gd name="T32" fmla="*/ 20 w 24"/>
                  <a:gd name="T33" fmla="*/ 22 h 22"/>
                  <a:gd name="T34" fmla="*/ 17 w 24"/>
                  <a:gd name="T35" fmla="*/ 21 h 22"/>
                  <a:gd name="T36" fmla="*/ 17 w 24"/>
                  <a:gd name="T37" fmla="*/ 21 h 22"/>
                  <a:gd name="T38" fmla="*/ 15 w 24"/>
                  <a:gd name="T39" fmla="*/ 18 h 22"/>
                  <a:gd name="T40" fmla="*/ 13 w 24"/>
                  <a:gd name="T41" fmla="*/ 17 h 22"/>
                  <a:gd name="T42" fmla="*/ 7 w 24"/>
                  <a:gd name="T43" fmla="*/ 17 h 22"/>
                  <a:gd name="T44" fmla="*/ 7 w 24"/>
                  <a:gd name="T45"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2">
                    <a:moveTo>
                      <a:pt x="7" y="17"/>
                    </a:moveTo>
                    <a:lnTo>
                      <a:pt x="5" y="18"/>
                    </a:lnTo>
                    <a:lnTo>
                      <a:pt x="4" y="17"/>
                    </a:lnTo>
                    <a:lnTo>
                      <a:pt x="2" y="13"/>
                    </a:lnTo>
                    <a:lnTo>
                      <a:pt x="1" y="13"/>
                    </a:lnTo>
                    <a:lnTo>
                      <a:pt x="0" y="6"/>
                    </a:lnTo>
                    <a:lnTo>
                      <a:pt x="7" y="0"/>
                    </a:lnTo>
                    <a:lnTo>
                      <a:pt x="8" y="2"/>
                    </a:lnTo>
                    <a:lnTo>
                      <a:pt x="12" y="0"/>
                    </a:lnTo>
                    <a:lnTo>
                      <a:pt x="13" y="0"/>
                    </a:lnTo>
                    <a:lnTo>
                      <a:pt x="15" y="3"/>
                    </a:lnTo>
                    <a:lnTo>
                      <a:pt x="15" y="3"/>
                    </a:lnTo>
                    <a:lnTo>
                      <a:pt x="17" y="3"/>
                    </a:lnTo>
                    <a:lnTo>
                      <a:pt x="21" y="6"/>
                    </a:lnTo>
                    <a:lnTo>
                      <a:pt x="24" y="17"/>
                    </a:lnTo>
                    <a:lnTo>
                      <a:pt x="23" y="19"/>
                    </a:lnTo>
                    <a:lnTo>
                      <a:pt x="20" y="22"/>
                    </a:lnTo>
                    <a:lnTo>
                      <a:pt x="17" y="21"/>
                    </a:lnTo>
                    <a:lnTo>
                      <a:pt x="17" y="21"/>
                    </a:lnTo>
                    <a:lnTo>
                      <a:pt x="15" y="18"/>
                    </a:lnTo>
                    <a:lnTo>
                      <a:pt x="13" y="17"/>
                    </a:lnTo>
                    <a:lnTo>
                      <a:pt x="7" y="17"/>
                    </a:lnTo>
                    <a:lnTo>
                      <a:pt x="7" y="1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7" name="Freeform 86">
                <a:extLst>
                  <a:ext uri="{FF2B5EF4-FFF2-40B4-BE49-F238E27FC236}">
                    <a16:creationId xmlns:a16="http://schemas.microsoft.com/office/drawing/2014/main" id="{2EE0A06A-FBDC-41F5-B3FA-FA5E58CDE474}"/>
                  </a:ext>
                </a:extLst>
              </p:cNvPr>
              <p:cNvSpPr>
                <a:spLocks/>
              </p:cNvSpPr>
              <p:nvPr/>
            </p:nvSpPr>
            <p:spPr bwMode="auto">
              <a:xfrm>
                <a:off x="2352675" y="2276544"/>
                <a:ext cx="12700" cy="12700"/>
              </a:xfrm>
              <a:custGeom>
                <a:avLst/>
                <a:gdLst>
                  <a:gd name="T0" fmla="*/ 5 w 15"/>
                  <a:gd name="T1" fmla="*/ 0 h 16"/>
                  <a:gd name="T2" fmla="*/ 9 w 15"/>
                  <a:gd name="T3" fmla="*/ 6 h 16"/>
                  <a:gd name="T4" fmla="*/ 8 w 15"/>
                  <a:gd name="T5" fmla="*/ 6 h 16"/>
                  <a:gd name="T6" fmla="*/ 6 w 15"/>
                  <a:gd name="T7" fmla="*/ 10 h 16"/>
                  <a:gd name="T8" fmla="*/ 9 w 15"/>
                  <a:gd name="T9" fmla="*/ 11 h 16"/>
                  <a:gd name="T10" fmla="*/ 13 w 15"/>
                  <a:gd name="T11" fmla="*/ 11 h 16"/>
                  <a:gd name="T12" fmla="*/ 15 w 15"/>
                  <a:gd name="T13" fmla="*/ 12 h 16"/>
                  <a:gd name="T14" fmla="*/ 8 w 15"/>
                  <a:gd name="T15" fmla="*/ 16 h 16"/>
                  <a:gd name="T16" fmla="*/ 4 w 15"/>
                  <a:gd name="T17" fmla="*/ 15 h 16"/>
                  <a:gd name="T18" fmla="*/ 2 w 15"/>
                  <a:gd name="T19" fmla="*/ 14 h 16"/>
                  <a:gd name="T20" fmla="*/ 0 w 15"/>
                  <a:gd name="T21" fmla="*/ 12 h 16"/>
                  <a:gd name="T22" fmla="*/ 0 w 15"/>
                  <a:gd name="T23" fmla="*/ 7 h 16"/>
                  <a:gd name="T24" fmla="*/ 2 w 15"/>
                  <a:gd name="T25" fmla="*/ 6 h 16"/>
                  <a:gd name="T26" fmla="*/ 2 w 15"/>
                  <a:gd name="T27" fmla="*/ 4 h 16"/>
                  <a:gd name="T28" fmla="*/ 2 w 15"/>
                  <a:gd name="T29" fmla="*/ 3 h 16"/>
                  <a:gd name="T30" fmla="*/ 5 w 15"/>
                  <a:gd name="T3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6">
                    <a:moveTo>
                      <a:pt x="5" y="0"/>
                    </a:moveTo>
                    <a:lnTo>
                      <a:pt x="9" y="6"/>
                    </a:lnTo>
                    <a:lnTo>
                      <a:pt x="8" y="6"/>
                    </a:lnTo>
                    <a:lnTo>
                      <a:pt x="6" y="10"/>
                    </a:lnTo>
                    <a:lnTo>
                      <a:pt x="9" y="11"/>
                    </a:lnTo>
                    <a:lnTo>
                      <a:pt x="13" y="11"/>
                    </a:lnTo>
                    <a:lnTo>
                      <a:pt x="15" y="12"/>
                    </a:lnTo>
                    <a:lnTo>
                      <a:pt x="8" y="16"/>
                    </a:lnTo>
                    <a:lnTo>
                      <a:pt x="4" y="15"/>
                    </a:lnTo>
                    <a:lnTo>
                      <a:pt x="2" y="14"/>
                    </a:lnTo>
                    <a:lnTo>
                      <a:pt x="0" y="12"/>
                    </a:lnTo>
                    <a:lnTo>
                      <a:pt x="0" y="7"/>
                    </a:lnTo>
                    <a:lnTo>
                      <a:pt x="2" y="6"/>
                    </a:lnTo>
                    <a:lnTo>
                      <a:pt x="2" y="4"/>
                    </a:lnTo>
                    <a:lnTo>
                      <a:pt x="2" y="3"/>
                    </a:lnTo>
                    <a:lnTo>
                      <a:pt x="5"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8" name="Freeform 87">
                <a:extLst>
                  <a:ext uri="{FF2B5EF4-FFF2-40B4-BE49-F238E27FC236}">
                    <a16:creationId xmlns:a16="http://schemas.microsoft.com/office/drawing/2014/main" id="{9498FD30-7433-4482-BF52-73CEB431DC43}"/>
                  </a:ext>
                </a:extLst>
              </p:cNvPr>
              <p:cNvSpPr>
                <a:spLocks/>
              </p:cNvSpPr>
              <p:nvPr/>
            </p:nvSpPr>
            <p:spPr bwMode="auto">
              <a:xfrm>
                <a:off x="2054225" y="2286069"/>
                <a:ext cx="11113" cy="4763"/>
              </a:xfrm>
              <a:custGeom>
                <a:avLst/>
                <a:gdLst>
                  <a:gd name="T0" fmla="*/ 11 w 12"/>
                  <a:gd name="T1" fmla="*/ 0 h 7"/>
                  <a:gd name="T2" fmla="*/ 12 w 12"/>
                  <a:gd name="T3" fmla="*/ 6 h 7"/>
                  <a:gd name="T4" fmla="*/ 11 w 12"/>
                  <a:gd name="T5" fmla="*/ 7 h 7"/>
                  <a:gd name="T6" fmla="*/ 8 w 12"/>
                  <a:gd name="T7" fmla="*/ 6 h 7"/>
                  <a:gd name="T8" fmla="*/ 7 w 12"/>
                  <a:gd name="T9" fmla="*/ 6 h 7"/>
                  <a:gd name="T10" fmla="*/ 1 w 12"/>
                  <a:gd name="T11" fmla="*/ 6 h 7"/>
                  <a:gd name="T12" fmla="*/ 0 w 12"/>
                  <a:gd name="T13" fmla="*/ 3 h 7"/>
                  <a:gd name="T14" fmla="*/ 3 w 12"/>
                  <a:gd name="T15" fmla="*/ 2 h 7"/>
                  <a:gd name="T16" fmla="*/ 7 w 12"/>
                  <a:gd name="T17" fmla="*/ 2 h 7"/>
                  <a:gd name="T18" fmla="*/ 9 w 12"/>
                  <a:gd name="T19" fmla="*/ 0 h 7"/>
                  <a:gd name="T20" fmla="*/ 11 w 12"/>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7">
                    <a:moveTo>
                      <a:pt x="11" y="0"/>
                    </a:moveTo>
                    <a:lnTo>
                      <a:pt x="12" y="6"/>
                    </a:lnTo>
                    <a:lnTo>
                      <a:pt x="11" y="7"/>
                    </a:lnTo>
                    <a:lnTo>
                      <a:pt x="8" y="6"/>
                    </a:lnTo>
                    <a:lnTo>
                      <a:pt x="7" y="6"/>
                    </a:lnTo>
                    <a:lnTo>
                      <a:pt x="1" y="6"/>
                    </a:lnTo>
                    <a:lnTo>
                      <a:pt x="0" y="3"/>
                    </a:lnTo>
                    <a:lnTo>
                      <a:pt x="3" y="2"/>
                    </a:lnTo>
                    <a:lnTo>
                      <a:pt x="7" y="2"/>
                    </a:lnTo>
                    <a:lnTo>
                      <a:pt x="9" y="0"/>
                    </a:lnTo>
                    <a:lnTo>
                      <a:pt x="11"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59" name="Freeform 88">
                <a:extLst>
                  <a:ext uri="{FF2B5EF4-FFF2-40B4-BE49-F238E27FC236}">
                    <a16:creationId xmlns:a16="http://schemas.microsoft.com/office/drawing/2014/main" id="{356B8E5B-6ACA-497A-94AD-F73DD7BF59FD}"/>
                  </a:ext>
                </a:extLst>
              </p:cNvPr>
              <p:cNvSpPr>
                <a:spLocks/>
              </p:cNvSpPr>
              <p:nvPr/>
            </p:nvSpPr>
            <p:spPr bwMode="auto">
              <a:xfrm>
                <a:off x="1971675" y="2284481"/>
                <a:ext cx="7938" cy="11113"/>
              </a:xfrm>
              <a:custGeom>
                <a:avLst/>
                <a:gdLst>
                  <a:gd name="T0" fmla="*/ 7 w 11"/>
                  <a:gd name="T1" fmla="*/ 1 h 15"/>
                  <a:gd name="T2" fmla="*/ 11 w 11"/>
                  <a:gd name="T3" fmla="*/ 10 h 15"/>
                  <a:gd name="T4" fmla="*/ 7 w 11"/>
                  <a:gd name="T5" fmla="*/ 15 h 15"/>
                  <a:gd name="T6" fmla="*/ 5 w 11"/>
                  <a:gd name="T7" fmla="*/ 14 h 15"/>
                  <a:gd name="T8" fmla="*/ 0 w 11"/>
                  <a:gd name="T9" fmla="*/ 5 h 15"/>
                  <a:gd name="T10" fmla="*/ 1 w 11"/>
                  <a:gd name="T11" fmla="*/ 1 h 15"/>
                  <a:gd name="T12" fmla="*/ 4 w 11"/>
                  <a:gd name="T13" fmla="*/ 0 h 15"/>
                  <a:gd name="T14" fmla="*/ 7 w 11"/>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5">
                    <a:moveTo>
                      <a:pt x="7" y="1"/>
                    </a:moveTo>
                    <a:lnTo>
                      <a:pt x="11" y="10"/>
                    </a:lnTo>
                    <a:lnTo>
                      <a:pt x="7" y="15"/>
                    </a:lnTo>
                    <a:lnTo>
                      <a:pt x="5" y="14"/>
                    </a:lnTo>
                    <a:lnTo>
                      <a:pt x="0" y="5"/>
                    </a:lnTo>
                    <a:lnTo>
                      <a:pt x="1" y="1"/>
                    </a:lnTo>
                    <a:lnTo>
                      <a:pt x="4" y="0"/>
                    </a:lnTo>
                    <a:lnTo>
                      <a:pt x="7"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0" name="Freeform 89">
                <a:extLst>
                  <a:ext uri="{FF2B5EF4-FFF2-40B4-BE49-F238E27FC236}">
                    <a16:creationId xmlns:a16="http://schemas.microsoft.com/office/drawing/2014/main" id="{650953EF-511C-40FB-B73F-60ACDA6FAE60}"/>
                  </a:ext>
                </a:extLst>
              </p:cNvPr>
              <p:cNvSpPr>
                <a:spLocks/>
              </p:cNvSpPr>
              <p:nvPr/>
            </p:nvSpPr>
            <p:spPr bwMode="auto">
              <a:xfrm>
                <a:off x="2373313" y="2290831"/>
                <a:ext cx="3175" cy="7938"/>
              </a:xfrm>
              <a:custGeom>
                <a:avLst/>
                <a:gdLst>
                  <a:gd name="T0" fmla="*/ 6 w 6"/>
                  <a:gd name="T1" fmla="*/ 3 h 10"/>
                  <a:gd name="T2" fmla="*/ 6 w 6"/>
                  <a:gd name="T3" fmla="*/ 7 h 10"/>
                  <a:gd name="T4" fmla="*/ 3 w 6"/>
                  <a:gd name="T5" fmla="*/ 10 h 10"/>
                  <a:gd name="T6" fmla="*/ 0 w 6"/>
                  <a:gd name="T7" fmla="*/ 10 h 10"/>
                  <a:gd name="T8" fmla="*/ 1 w 6"/>
                  <a:gd name="T9" fmla="*/ 6 h 10"/>
                  <a:gd name="T10" fmla="*/ 1 w 6"/>
                  <a:gd name="T11" fmla="*/ 0 h 10"/>
                  <a:gd name="T12" fmla="*/ 3 w 6"/>
                  <a:gd name="T13" fmla="*/ 0 h 10"/>
                  <a:gd name="T14" fmla="*/ 3 w 6"/>
                  <a:gd name="T15" fmla="*/ 3 h 10"/>
                  <a:gd name="T16" fmla="*/ 6 w 6"/>
                  <a:gd name="T1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6" y="3"/>
                    </a:moveTo>
                    <a:lnTo>
                      <a:pt x="6" y="7"/>
                    </a:lnTo>
                    <a:lnTo>
                      <a:pt x="3" y="10"/>
                    </a:lnTo>
                    <a:lnTo>
                      <a:pt x="0" y="10"/>
                    </a:lnTo>
                    <a:lnTo>
                      <a:pt x="1" y="6"/>
                    </a:lnTo>
                    <a:lnTo>
                      <a:pt x="1" y="0"/>
                    </a:lnTo>
                    <a:lnTo>
                      <a:pt x="3" y="0"/>
                    </a:lnTo>
                    <a:lnTo>
                      <a:pt x="3" y="3"/>
                    </a:lnTo>
                    <a:lnTo>
                      <a:pt x="6"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1" name="Freeform 90">
                <a:extLst>
                  <a:ext uri="{FF2B5EF4-FFF2-40B4-BE49-F238E27FC236}">
                    <a16:creationId xmlns:a16="http://schemas.microsoft.com/office/drawing/2014/main" id="{AF8DC6E2-8137-4292-A34B-D19CC58EAC11}"/>
                  </a:ext>
                </a:extLst>
              </p:cNvPr>
              <p:cNvSpPr>
                <a:spLocks/>
              </p:cNvSpPr>
              <p:nvPr/>
            </p:nvSpPr>
            <p:spPr bwMode="auto">
              <a:xfrm>
                <a:off x="2341563" y="2305119"/>
                <a:ext cx="7938" cy="4763"/>
              </a:xfrm>
              <a:custGeom>
                <a:avLst/>
                <a:gdLst>
                  <a:gd name="T0" fmla="*/ 11 w 11"/>
                  <a:gd name="T1" fmla="*/ 0 h 5"/>
                  <a:gd name="T2" fmla="*/ 9 w 11"/>
                  <a:gd name="T3" fmla="*/ 4 h 5"/>
                  <a:gd name="T4" fmla="*/ 8 w 11"/>
                  <a:gd name="T5" fmla="*/ 4 h 5"/>
                  <a:gd name="T6" fmla="*/ 7 w 11"/>
                  <a:gd name="T7" fmla="*/ 3 h 5"/>
                  <a:gd name="T8" fmla="*/ 2 w 11"/>
                  <a:gd name="T9" fmla="*/ 3 h 5"/>
                  <a:gd name="T10" fmla="*/ 2 w 11"/>
                  <a:gd name="T11" fmla="*/ 4 h 5"/>
                  <a:gd name="T12" fmla="*/ 1 w 11"/>
                  <a:gd name="T13" fmla="*/ 5 h 5"/>
                  <a:gd name="T14" fmla="*/ 0 w 11"/>
                  <a:gd name="T15" fmla="*/ 5 h 5"/>
                  <a:gd name="T16" fmla="*/ 4 w 11"/>
                  <a:gd name="T17" fmla="*/ 1 h 5"/>
                  <a:gd name="T18" fmla="*/ 4 w 11"/>
                  <a:gd name="T19" fmla="*/ 1 h 5"/>
                  <a:gd name="T20" fmla="*/ 8 w 11"/>
                  <a:gd name="T21" fmla="*/ 1 h 5"/>
                  <a:gd name="T22" fmla="*/ 11 w 11"/>
                  <a:gd name="T23" fmla="*/ 0 h 5"/>
                  <a:gd name="T24" fmla="*/ 11 w 11"/>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5">
                    <a:moveTo>
                      <a:pt x="11" y="0"/>
                    </a:moveTo>
                    <a:lnTo>
                      <a:pt x="9" y="4"/>
                    </a:lnTo>
                    <a:lnTo>
                      <a:pt x="8" y="4"/>
                    </a:lnTo>
                    <a:lnTo>
                      <a:pt x="7" y="3"/>
                    </a:lnTo>
                    <a:lnTo>
                      <a:pt x="2" y="3"/>
                    </a:lnTo>
                    <a:lnTo>
                      <a:pt x="2" y="4"/>
                    </a:lnTo>
                    <a:lnTo>
                      <a:pt x="1" y="5"/>
                    </a:lnTo>
                    <a:lnTo>
                      <a:pt x="0" y="5"/>
                    </a:lnTo>
                    <a:lnTo>
                      <a:pt x="4" y="1"/>
                    </a:lnTo>
                    <a:lnTo>
                      <a:pt x="4" y="1"/>
                    </a:lnTo>
                    <a:lnTo>
                      <a:pt x="8" y="1"/>
                    </a:lnTo>
                    <a:lnTo>
                      <a:pt x="11" y="0"/>
                    </a:lnTo>
                    <a:lnTo>
                      <a:pt x="11"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2" name="Freeform 91">
                <a:extLst>
                  <a:ext uri="{FF2B5EF4-FFF2-40B4-BE49-F238E27FC236}">
                    <a16:creationId xmlns:a16="http://schemas.microsoft.com/office/drawing/2014/main" id="{21712286-46BE-40F9-8E45-A499BB8A4347}"/>
                  </a:ext>
                </a:extLst>
              </p:cNvPr>
              <p:cNvSpPr>
                <a:spLocks/>
              </p:cNvSpPr>
              <p:nvPr/>
            </p:nvSpPr>
            <p:spPr bwMode="auto">
              <a:xfrm>
                <a:off x="2324100" y="2305119"/>
                <a:ext cx="7938" cy="6350"/>
              </a:xfrm>
              <a:custGeom>
                <a:avLst/>
                <a:gdLst>
                  <a:gd name="T0" fmla="*/ 5 w 10"/>
                  <a:gd name="T1" fmla="*/ 0 h 8"/>
                  <a:gd name="T2" fmla="*/ 5 w 10"/>
                  <a:gd name="T3" fmla="*/ 4 h 8"/>
                  <a:gd name="T4" fmla="*/ 10 w 10"/>
                  <a:gd name="T5" fmla="*/ 4 h 8"/>
                  <a:gd name="T6" fmla="*/ 10 w 10"/>
                  <a:gd name="T7" fmla="*/ 7 h 8"/>
                  <a:gd name="T8" fmla="*/ 1 w 10"/>
                  <a:gd name="T9" fmla="*/ 8 h 8"/>
                  <a:gd name="T10" fmla="*/ 3 w 10"/>
                  <a:gd name="T11" fmla="*/ 7 h 8"/>
                  <a:gd name="T12" fmla="*/ 0 w 10"/>
                  <a:gd name="T13" fmla="*/ 4 h 8"/>
                  <a:gd name="T14" fmla="*/ 3 w 10"/>
                  <a:gd name="T15" fmla="*/ 3 h 8"/>
                  <a:gd name="T16" fmla="*/ 5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5" y="0"/>
                    </a:moveTo>
                    <a:lnTo>
                      <a:pt x="5" y="4"/>
                    </a:lnTo>
                    <a:lnTo>
                      <a:pt x="10" y="4"/>
                    </a:lnTo>
                    <a:lnTo>
                      <a:pt x="10" y="7"/>
                    </a:lnTo>
                    <a:lnTo>
                      <a:pt x="1" y="8"/>
                    </a:lnTo>
                    <a:lnTo>
                      <a:pt x="3" y="7"/>
                    </a:lnTo>
                    <a:lnTo>
                      <a:pt x="0" y="4"/>
                    </a:lnTo>
                    <a:lnTo>
                      <a:pt x="3" y="3"/>
                    </a:lnTo>
                    <a:lnTo>
                      <a:pt x="5"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3" name="Freeform 92">
                <a:extLst>
                  <a:ext uri="{FF2B5EF4-FFF2-40B4-BE49-F238E27FC236}">
                    <a16:creationId xmlns:a16="http://schemas.microsoft.com/office/drawing/2014/main" id="{F450539B-77DD-4B2F-9FF5-AE43A1FFF6C2}"/>
                  </a:ext>
                </a:extLst>
              </p:cNvPr>
              <p:cNvSpPr>
                <a:spLocks/>
              </p:cNvSpPr>
              <p:nvPr/>
            </p:nvSpPr>
            <p:spPr bwMode="auto">
              <a:xfrm>
                <a:off x="2406650" y="2314644"/>
                <a:ext cx="9525" cy="4763"/>
              </a:xfrm>
              <a:custGeom>
                <a:avLst/>
                <a:gdLst>
                  <a:gd name="T0" fmla="*/ 9 w 10"/>
                  <a:gd name="T1" fmla="*/ 0 h 7"/>
                  <a:gd name="T2" fmla="*/ 10 w 10"/>
                  <a:gd name="T3" fmla="*/ 1 h 7"/>
                  <a:gd name="T4" fmla="*/ 6 w 10"/>
                  <a:gd name="T5" fmla="*/ 4 h 7"/>
                  <a:gd name="T6" fmla="*/ 9 w 10"/>
                  <a:gd name="T7" fmla="*/ 7 h 7"/>
                  <a:gd name="T8" fmla="*/ 5 w 10"/>
                  <a:gd name="T9" fmla="*/ 7 h 7"/>
                  <a:gd name="T10" fmla="*/ 5 w 10"/>
                  <a:gd name="T11" fmla="*/ 7 h 7"/>
                  <a:gd name="T12" fmla="*/ 1 w 10"/>
                  <a:gd name="T13" fmla="*/ 4 h 7"/>
                  <a:gd name="T14" fmla="*/ 0 w 10"/>
                  <a:gd name="T15" fmla="*/ 0 h 7"/>
                  <a:gd name="T16" fmla="*/ 9 w 10"/>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9" y="0"/>
                    </a:moveTo>
                    <a:lnTo>
                      <a:pt x="10" y="1"/>
                    </a:lnTo>
                    <a:lnTo>
                      <a:pt x="6" y="4"/>
                    </a:lnTo>
                    <a:lnTo>
                      <a:pt x="9" y="7"/>
                    </a:lnTo>
                    <a:lnTo>
                      <a:pt x="5" y="7"/>
                    </a:lnTo>
                    <a:lnTo>
                      <a:pt x="5" y="7"/>
                    </a:lnTo>
                    <a:lnTo>
                      <a:pt x="1" y="4"/>
                    </a:lnTo>
                    <a:lnTo>
                      <a:pt x="0" y="0"/>
                    </a:lnTo>
                    <a:lnTo>
                      <a:pt x="9"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4" name="Freeform 93">
                <a:extLst>
                  <a:ext uri="{FF2B5EF4-FFF2-40B4-BE49-F238E27FC236}">
                    <a16:creationId xmlns:a16="http://schemas.microsoft.com/office/drawing/2014/main" id="{27F74D85-BE0E-407A-8280-0FCFFB03E708}"/>
                  </a:ext>
                </a:extLst>
              </p:cNvPr>
              <p:cNvSpPr>
                <a:spLocks/>
              </p:cNvSpPr>
              <p:nvPr/>
            </p:nvSpPr>
            <p:spPr bwMode="auto">
              <a:xfrm>
                <a:off x="2085975" y="2333694"/>
                <a:ext cx="4763" cy="4763"/>
              </a:xfrm>
              <a:custGeom>
                <a:avLst/>
                <a:gdLst>
                  <a:gd name="T0" fmla="*/ 2 w 6"/>
                  <a:gd name="T1" fmla="*/ 0 h 6"/>
                  <a:gd name="T2" fmla="*/ 2 w 6"/>
                  <a:gd name="T3" fmla="*/ 0 h 6"/>
                  <a:gd name="T4" fmla="*/ 3 w 6"/>
                  <a:gd name="T5" fmla="*/ 5 h 6"/>
                  <a:gd name="T6" fmla="*/ 6 w 6"/>
                  <a:gd name="T7" fmla="*/ 6 h 6"/>
                  <a:gd name="T8" fmla="*/ 4 w 6"/>
                  <a:gd name="T9" fmla="*/ 6 h 6"/>
                  <a:gd name="T10" fmla="*/ 0 w 6"/>
                  <a:gd name="T11" fmla="*/ 5 h 6"/>
                  <a:gd name="T12" fmla="*/ 0 w 6"/>
                  <a:gd name="T13" fmla="*/ 0 h 6"/>
                  <a:gd name="T14" fmla="*/ 2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2" y="0"/>
                    </a:moveTo>
                    <a:lnTo>
                      <a:pt x="2" y="0"/>
                    </a:lnTo>
                    <a:lnTo>
                      <a:pt x="3" y="5"/>
                    </a:lnTo>
                    <a:lnTo>
                      <a:pt x="6" y="6"/>
                    </a:lnTo>
                    <a:lnTo>
                      <a:pt x="4" y="6"/>
                    </a:lnTo>
                    <a:lnTo>
                      <a:pt x="0" y="5"/>
                    </a:lnTo>
                    <a:lnTo>
                      <a:pt x="0" y="0"/>
                    </a:lnTo>
                    <a:lnTo>
                      <a:pt x="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5" name="Freeform 94">
                <a:extLst>
                  <a:ext uri="{FF2B5EF4-FFF2-40B4-BE49-F238E27FC236}">
                    <a16:creationId xmlns:a16="http://schemas.microsoft.com/office/drawing/2014/main" id="{64AD23EA-2468-4710-A4D0-C14CD50F442D}"/>
                  </a:ext>
                </a:extLst>
              </p:cNvPr>
              <p:cNvSpPr>
                <a:spLocks/>
              </p:cNvSpPr>
              <p:nvPr/>
            </p:nvSpPr>
            <p:spPr bwMode="auto">
              <a:xfrm>
                <a:off x="2074863" y="2336869"/>
                <a:ext cx="9525" cy="9525"/>
              </a:xfrm>
              <a:custGeom>
                <a:avLst/>
                <a:gdLst>
                  <a:gd name="T0" fmla="*/ 0 w 13"/>
                  <a:gd name="T1" fmla="*/ 2 h 12"/>
                  <a:gd name="T2" fmla="*/ 0 w 13"/>
                  <a:gd name="T3" fmla="*/ 0 h 12"/>
                  <a:gd name="T4" fmla="*/ 0 w 13"/>
                  <a:gd name="T5" fmla="*/ 0 h 12"/>
                  <a:gd name="T6" fmla="*/ 6 w 13"/>
                  <a:gd name="T7" fmla="*/ 0 h 12"/>
                  <a:gd name="T8" fmla="*/ 8 w 13"/>
                  <a:gd name="T9" fmla="*/ 0 h 12"/>
                  <a:gd name="T10" fmla="*/ 11 w 13"/>
                  <a:gd name="T11" fmla="*/ 0 h 12"/>
                  <a:gd name="T12" fmla="*/ 8 w 13"/>
                  <a:gd name="T13" fmla="*/ 2 h 12"/>
                  <a:gd name="T14" fmla="*/ 8 w 13"/>
                  <a:gd name="T15" fmla="*/ 4 h 12"/>
                  <a:gd name="T16" fmla="*/ 13 w 13"/>
                  <a:gd name="T17" fmla="*/ 7 h 12"/>
                  <a:gd name="T18" fmla="*/ 13 w 13"/>
                  <a:gd name="T19" fmla="*/ 10 h 12"/>
                  <a:gd name="T20" fmla="*/ 11 w 13"/>
                  <a:gd name="T21" fmla="*/ 12 h 12"/>
                  <a:gd name="T22" fmla="*/ 10 w 13"/>
                  <a:gd name="T23" fmla="*/ 12 h 12"/>
                  <a:gd name="T24" fmla="*/ 7 w 13"/>
                  <a:gd name="T25" fmla="*/ 4 h 12"/>
                  <a:gd name="T26" fmla="*/ 7 w 13"/>
                  <a:gd name="T27" fmla="*/ 4 h 12"/>
                  <a:gd name="T28" fmla="*/ 0 w 13"/>
                  <a:gd name="T29" fmla="*/ 2 h 12"/>
                  <a:gd name="T30" fmla="*/ 0 w 13"/>
                  <a:gd name="T3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2">
                    <a:moveTo>
                      <a:pt x="0" y="2"/>
                    </a:moveTo>
                    <a:lnTo>
                      <a:pt x="0" y="0"/>
                    </a:lnTo>
                    <a:lnTo>
                      <a:pt x="0" y="0"/>
                    </a:lnTo>
                    <a:lnTo>
                      <a:pt x="6" y="0"/>
                    </a:lnTo>
                    <a:lnTo>
                      <a:pt x="8" y="0"/>
                    </a:lnTo>
                    <a:lnTo>
                      <a:pt x="11" y="0"/>
                    </a:lnTo>
                    <a:lnTo>
                      <a:pt x="8" y="2"/>
                    </a:lnTo>
                    <a:lnTo>
                      <a:pt x="8" y="4"/>
                    </a:lnTo>
                    <a:lnTo>
                      <a:pt x="13" y="7"/>
                    </a:lnTo>
                    <a:lnTo>
                      <a:pt x="13" y="10"/>
                    </a:lnTo>
                    <a:lnTo>
                      <a:pt x="11" y="12"/>
                    </a:lnTo>
                    <a:lnTo>
                      <a:pt x="10" y="12"/>
                    </a:lnTo>
                    <a:lnTo>
                      <a:pt x="7" y="4"/>
                    </a:lnTo>
                    <a:lnTo>
                      <a:pt x="7" y="4"/>
                    </a:lnTo>
                    <a:lnTo>
                      <a:pt x="0" y="2"/>
                    </a:lnTo>
                    <a:lnTo>
                      <a:pt x="0"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6" name="Freeform 95">
                <a:extLst>
                  <a:ext uri="{FF2B5EF4-FFF2-40B4-BE49-F238E27FC236}">
                    <a16:creationId xmlns:a16="http://schemas.microsoft.com/office/drawing/2014/main" id="{A3D9D2B9-1FCB-4F0A-8C89-34DBDC5F2A1D}"/>
                  </a:ext>
                </a:extLst>
              </p:cNvPr>
              <p:cNvSpPr>
                <a:spLocks/>
              </p:cNvSpPr>
              <p:nvPr/>
            </p:nvSpPr>
            <p:spPr bwMode="auto">
              <a:xfrm>
                <a:off x="2335213" y="2340044"/>
                <a:ext cx="6350" cy="9525"/>
              </a:xfrm>
              <a:custGeom>
                <a:avLst/>
                <a:gdLst>
                  <a:gd name="T0" fmla="*/ 5 w 7"/>
                  <a:gd name="T1" fmla="*/ 2 h 12"/>
                  <a:gd name="T2" fmla="*/ 5 w 7"/>
                  <a:gd name="T3" fmla="*/ 2 h 12"/>
                  <a:gd name="T4" fmla="*/ 7 w 7"/>
                  <a:gd name="T5" fmla="*/ 7 h 12"/>
                  <a:gd name="T6" fmla="*/ 7 w 7"/>
                  <a:gd name="T7" fmla="*/ 11 h 12"/>
                  <a:gd name="T8" fmla="*/ 4 w 7"/>
                  <a:gd name="T9" fmla="*/ 12 h 12"/>
                  <a:gd name="T10" fmla="*/ 4 w 7"/>
                  <a:gd name="T11" fmla="*/ 12 h 12"/>
                  <a:gd name="T12" fmla="*/ 1 w 7"/>
                  <a:gd name="T13" fmla="*/ 7 h 12"/>
                  <a:gd name="T14" fmla="*/ 0 w 7"/>
                  <a:gd name="T15" fmla="*/ 2 h 12"/>
                  <a:gd name="T16" fmla="*/ 4 w 7"/>
                  <a:gd name="T17" fmla="*/ 0 h 12"/>
                  <a:gd name="T18" fmla="*/ 5 w 7"/>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2">
                    <a:moveTo>
                      <a:pt x="5" y="2"/>
                    </a:moveTo>
                    <a:lnTo>
                      <a:pt x="5" y="2"/>
                    </a:lnTo>
                    <a:lnTo>
                      <a:pt x="7" y="7"/>
                    </a:lnTo>
                    <a:lnTo>
                      <a:pt x="7" y="11"/>
                    </a:lnTo>
                    <a:lnTo>
                      <a:pt x="4" y="12"/>
                    </a:lnTo>
                    <a:lnTo>
                      <a:pt x="4" y="12"/>
                    </a:lnTo>
                    <a:lnTo>
                      <a:pt x="1" y="7"/>
                    </a:lnTo>
                    <a:lnTo>
                      <a:pt x="0" y="2"/>
                    </a:lnTo>
                    <a:lnTo>
                      <a:pt x="4" y="0"/>
                    </a:lnTo>
                    <a:lnTo>
                      <a:pt x="5"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7" name="Freeform 96">
                <a:extLst>
                  <a:ext uri="{FF2B5EF4-FFF2-40B4-BE49-F238E27FC236}">
                    <a16:creationId xmlns:a16="http://schemas.microsoft.com/office/drawing/2014/main" id="{25B9A6EE-AB4B-44C6-9BB7-A5ADE536D725}"/>
                  </a:ext>
                </a:extLst>
              </p:cNvPr>
              <p:cNvSpPr>
                <a:spLocks/>
              </p:cNvSpPr>
              <p:nvPr/>
            </p:nvSpPr>
            <p:spPr bwMode="auto">
              <a:xfrm>
                <a:off x="1462088" y="2349569"/>
                <a:ext cx="4763" cy="6350"/>
              </a:xfrm>
              <a:custGeom>
                <a:avLst/>
                <a:gdLst>
                  <a:gd name="T0" fmla="*/ 4 w 5"/>
                  <a:gd name="T1" fmla="*/ 0 h 8"/>
                  <a:gd name="T2" fmla="*/ 5 w 5"/>
                  <a:gd name="T3" fmla="*/ 5 h 8"/>
                  <a:gd name="T4" fmla="*/ 4 w 5"/>
                  <a:gd name="T5" fmla="*/ 8 h 8"/>
                  <a:gd name="T6" fmla="*/ 0 w 5"/>
                  <a:gd name="T7" fmla="*/ 5 h 8"/>
                  <a:gd name="T8" fmla="*/ 1 w 5"/>
                  <a:gd name="T9" fmla="*/ 0 h 8"/>
                  <a:gd name="T10" fmla="*/ 2 w 5"/>
                  <a:gd name="T11" fmla="*/ 0 h 8"/>
                  <a:gd name="T12" fmla="*/ 4 w 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4" y="0"/>
                    </a:moveTo>
                    <a:lnTo>
                      <a:pt x="5" y="5"/>
                    </a:lnTo>
                    <a:lnTo>
                      <a:pt x="4" y="8"/>
                    </a:lnTo>
                    <a:lnTo>
                      <a:pt x="0" y="5"/>
                    </a:lnTo>
                    <a:lnTo>
                      <a:pt x="1" y="0"/>
                    </a:lnTo>
                    <a:lnTo>
                      <a:pt x="2" y="0"/>
                    </a:lnTo>
                    <a:lnTo>
                      <a:pt x="4"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8" name="Freeform 97">
                <a:extLst>
                  <a:ext uri="{FF2B5EF4-FFF2-40B4-BE49-F238E27FC236}">
                    <a16:creationId xmlns:a16="http://schemas.microsoft.com/office/drawing/2014/main" id="{5BFC0ACF-FB95-43A7-BF35-4FFE191D7C1D}"/>
                  </a:ext>
                </a:extLst>
              </p:cNvPr>
              <p:cNvSpPr>
                <a:spLocks/>
              </p:cNvSpPr>
              <p:nvPr/>
            </p:nvSpPr>
            <p:spPr bwMode="auto">
              <a:xfrm>
                <a:off x="1982788" y="2347981"/>
                <a:ext cx="15875" cy="14288"/>
              </a:xfrm>
              <a:custGeom>
                <a:avLst/>
                <a:gdLst>
                  <a:gd name="T0" fmla="*/ 9 w 20"/>
                  <a:gd name="T1" fmla="*/ 18 h 18"/>
                  <a:gd name="T2" fmla="*/ 11 w 20"/>
                  <a:gd name="T3" fmla="*/ 15 h 18"/>
                  <a:gd name="T4" fmla="*/ 9 w 20"/>
                  <a:gd name="T5" fmla="*/ 12 h 18"/>
                  <a:gd name="T6" fmla="*/ 7 w 20"/>
                  <a:gd name="T7" fmla="*/ 12 h 18"/>
                  <a:gd name="T8" fmla="*/ 7 w 20"/>
                  <a:gd name="T9" fmla="*/ 15 h 18"/>
                  <a:gd name="T10" fmla="*/ 5 w 20"/>
                  <a:gd name="T11" fmla="*/ 16 h 18"/>
                  <a:gd name="T12" fmla="*/ 3 w 20"/>
                  <a:gd name="T13" fmla="*/ 15 h 18"/>
                  <a:gd name="T14" fmla="*/ 1 w 20"/>
                  <a:gd name="T15" fmla="*/ 14 h 18"/>
                  <a:gd name="T16" fmla="*/ 4 w 20"/>
                  <a:gd name="T17" fmla="*/ 12 h 18"/>
                  <a:gd name="T18" fmla="*/ 5 w 20"/>
                  <a:gd name="T19" fmla="*/ 11 h 18"/>
                  <a:gd name="T20" fmla="*/ 0 w 20"/>
                  <a:gd name="T21" fmla="*/ 4 h 18"/>
                  <a:gd name="T22" fmla="*/ 1 w 20"/>
                  <a:gd name="T23" fmla="*/ 3 h 18"/>
                  <a:gd name="T24" fmla="*/ 0 w 20"/>
                  <a:gd name="T25" fmla="*/ 1 h 18"/>
                  <a:gd name="T26" fmla="*/ 1 w 20"/>
                  <a:gd name="T27" fmla="*/ 0 h 18"/>
                  <a:gd name="T28" fmla="*/ 1 w 20"/>
                  <a:gd name="T29" fmla="*/ 0 h 18"/>
                  <a:gd name="T30" fmla="*/ 9 w 20"/>
                  <a:gd name="T31" fmla="*/ 3 h 18"/>
                  <a:gd name="T32" fmla="*/ 15 w 20"/>
                  <a:gd name="T33" fmla="*/ 4 h 18"/>
                  <a:gd name="T34" fmla="*/ 18 w 20"/>
                  <a:gd name="T35" fmla="*/ 5 h 18"/>
                  <a:gd name="T36" fmla="*/ 16 w 20"/>
                  <a:gd name="T37" fmla="*/ 7 h 18"/>
                  <a:gd name="T38" fmla="*/ 19 w 20"/>
                  <a:gd name="T39" fmla="*/ 10 h 18"/>
                  <a:gd name="T40" fmla="*/ 20 w 20"/>
                  <a:gd name="T41" fmla="*/ 14 h 18"/>
                  <a:gd name="T42" fmla="*/ 14 w 20"/>
                  <a:gd name="T43" fmla="*/ 18 h 18"/>
                  <a:gd name="T44" fmla="*/ 9 w 20"/>
                  <a:gd name="T4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8">
                    <a:moveTo>
                      <a:pt x="9" y="18"/>
                    </a:moveTo>
                    <a:lnTo>
                      <a:pt x="11" y="15"/>
                    </a:lnTo>
                    <a:lnTo>
                      <a:pt x="9" y="12"/>
                    </a:lnTo>
                    <a:lnTo>
                      <a:pt x="7" y="12"/>
                    </a:lnTo>
                    <a:lnTo>
                      <a:pt x="7" y="15"/>
                    </a:lnTo>
                    <a:lnTo>
                      <a:pt x="5" y="16"/>
                    </a:lnTo>
                    <a:lnTo>
                      <a:pt x="3" y="15"/>
                    </a:lnTo>
                    <a:lnTo>
                      <a:pt x="1" y="14"/>
                    </a:lnTo>
                    <a:lnTo>
                      <a:pt x="4" y="12"/>
                    </a:lnTo>
                    <a:lnTo>
                      <a:pt x="5" y="11"/>
                    </a:lnTo>
                    <a:lnTo>
                      <a:pt x="0" y="4"/>
                    </a:lnTo>
                    <a:lnTo>
                      <a:pt x="1" y="3"/>
                    </a:lnTo>
                    <a:lnTo>
                      <a:pt x="0" y="1"/>
                    </a:lnTo>
                    <a:lnTo>
                      <a:pt x="1" y="0"/>
                    </a:lnTo>
                    <a:lnTo>
                      <a:pt x="1" y="0"/>
                    </a:lnTo>
                    <a:lnTo>
                      <a:pt x="9" y="3"/>
                    </a:lnTo>
                    <a:lnTo>
                      <a:pt x="15" y="4"/>
                    </a:lnTo>
                    <a:lnTo>
                      <a:pt x="18" y="5"/>
                    </a:lnTo>
                    <a:lnTo>
                      <a:pt x="16" y="7"/>
                    </a:lnTo>
                    <a:lnTo>
                      <a:pt x="19" y="10"/>
                    </a:lnTo>
                    <a:lnTo>
                      <a:pt x="20" y="14"/>
                    </a:lnTo>
                    <a:lnTo>
                      <a:pt x="14" y="18"/>
                    </a:lnTo>
                    <a:lnTo>
                      <a:pt x="9" y="1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69" name="Freeform 98">
                <a:extLst>
                  <a:ext uri="{FF2B5EF4-FFF2-40B4-BE49-F238E27FC236}">
                    <a16:creationId xmlns:a16="http://schemas.microsoft.com/office/drawing/2014/main" id="{3FE7BBB4-96CA-425E-92F9-1AFDA7C00052}"/>
                  </a:ext>
                </a:extLst>
              </p:cNvPr>
              <p:cNvSpPr>
                <a:spLocks/>
              </p:cNvSpPr>
              <p:nvPr/>
            </p:nvSpPr>
            <p:spPr bwMode="auto">
              <a:xfrm>
                <a:off x="1419225" y="2370206"/>
                <a:ext cx="6350" cy="6350"/>
              </a:xfrm>
              <a:custGeom>
                <a:avLst/>
                <a:gdLst>
                  <a:gd name="T0" fmla="*/ 9 w 9"/>
                  <a:gd name="T1" fmla="*/ 0 h 6"/>
                  <a:gd name="T2" fmla="*/ 9 w 9"/>
                  <a:gd name="T3" fmla="*/ 4 h 6"/>
                  <a:gd name="T4" fmla="*/ 7 w 9"/>
                  <a:gd name="T5" fmla="*/ 5 h 6"/>
                  <a:gd name="T6" fmla="*/ 3 w 9"/>
                  <a:gd name="T7" fmla="*/ 6 h 6"/>
                  <a:gd name="T8" fmla="*/ 2 w 9"/>
                  <a:gd name="T9" fmla="*/ 5 h 6"/>
                  <a:gd name="T10" fmla="*/ 3 w 9"/>
                  <a:gd name="T11" fmla="*/ 4 h 6"/>
                  <a:gd name="T12" fmla="*/ 0 w 9"/>
                  <a:gd name="T13" fmla="*/ 2 h 6"/>
                  <a:gd name="T14" fmla="*/ 2 w 9"/>
                  <a:gd name="T15" fmla="*/ 1 h 6"/>
                  <a:gd name="T16" fmla="*/ 2 w 9"/>
                  <a:gd name="T17" fmla="*/ 1 h 6"/>
                  <a:gd name="T18" fmla="*/ 4 w 9"/>
                  <a:gd name="T19" fmla="*/ 1 h 6"/>
                  <a:gd name="T20" fmla="*/ 9 w 9"/>
                  <a:gd name="T21" fmla="*/ 0 h 6"/>
                  <a:gd name="T22" fmla="*/ 9 w 9"/>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9" y="0"/>
                    </a:moveTo>
                    <a:lnTo>
                      <a:pt x="9" y="4"/>
                    </a:lnTo>
                    <a:lnTo>
                      <a:pt x="7" y="5"/>
                    </a:lnTo>
                    <a:lnTo>
                      <a:pt x="3" y="6"/>
                    </a:lnTo>
                    <a:lnTo>
                      <a:pt x="2" y="5"/>
                    </a:lnTo>
                    <a:lnTo>
                      <a:pt x="3" y="4"/>
                    </a:lnTo>
                    <a:lnTo>
                      <a:pt x="0" y="2"/>
                    </a:lnTo>
                    <a:lnTo>
                      <a:pt x="2" y="1"/>
                    </a:lnTo>
                    <a:lnTo>
                      <a:pt x="2" y="1"/>
                    </a:lnTo>
                    <a:lnTo>
                      <a:pt x="4" y="1"/>
                    </a:lnTo>
                    <a:lnTo>
                      <a:pt x="9" y="0"/>
                    </a:lnTo>
                    <a:lnTo>
                      <a:pt x="9"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0" name="Freeform 99">
                <a:extLst>
                  <a:ext uri="{FF2B5EF4-FFF2-40B4-BE49-F238E27FC236}">
                    <a16:creationId xmlns:a16="http://schemas.microsoft.com/office/drawing/2014/main" id="{F0697913-E928-4A47-82EA-8E099E44BBBD}"/>
                  </a:ext>
                </a:extLst>
              </p:cNvPr>
              <p:cNvSpPr>
                <a:spLocks/>
              </p:cNvSpPr>
              <p:nvPr/>
            </p:nvSpPr>
            <p:spPr bwMode="auto">
              <a:xfrm>
                <a:off x="2289175" y="2363856"/>
                <a:ext cx="12700" cy="12700"/>
              </a:xfrm>
              <a:custGeom>
                <a:avLst/>
                <a:gdLst>
                  <a:gd name="T0" fmla="*/ 2 w 17"/>
                  <a:gd name="T1" fmla="*/ 0 h 18"/>
                  <a:gd name="T2" fmla="*/ 4 w 17"/>
                  <a:gd name="T3" fmla="*/ 1 h 18"/>
                  <a:gd name="T4" fmla="*/ 4 w 17"/>
                  <a:gd name="T5" fmla="*/ 4 h 18"/>
                  <a:gd name="T6" fmla="*/ 4 w 17"/>
                  <a:gd name="T7" fmla="*/ 4 h 18"/>
                  <a:gd name="T8" fmla="*/ 7 w 17"/>
                  <a:gd name="T9" fmla="*/ 5 h 18"/>
                  <a:gd name="T10" fmla="*/ 11 w 17"/>
                  <a:gd name="T11" fmla="*/ 8 h 18"/>
                  <a:gd name="T12" fmla="*/ 15 w 17"/>
                  <a:gd name="T13" fmla="*/ 11 h 18"/>
                  <a:gd name="T14" fmla="*/ 17 w 17"/>
                  <a:gd name="T15" fmla="*/ 14 h 18"/>
                  <a:gd name="T16" fmla="*/ 14 w 17"/>
                  <a:gd name="T17" fmla="*/ 18 h 18"/>
                  <a:gd name="T18" fmla="*/ 12 w 17"/>
                  <a:gd name="T19" fmla="*/ 16 h 18"/>
                  <a:gd name="T20" fmla="*/ 8 w 17"/>
                  <a:gd name="T21" fmla="*/ 16 h 18"/>
                  <a:gd name="T22" fmla="*/ 2 w 17"/>
                  <a:gd name="T23" fmla="*/ 10 h 18"/>
                  <a:gd name="T24" fmla="*/ 2 w 17"/>
                  <a:gd name="T25" fmla="*/ 7 h 18"/>
                  <a:gd name="T26" fmla="*/ 0 w 17"/>
                  <a:gd name="T27" fmla="*/ 5 h 18"/>
                  <a:gd name="T28" fmla="*/ 2 w 17"/>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8">
                    <a:moveTo>
                      <a:pt x="2" y="0"/>
                    </a:moveTo>
                    <a:lnTo>
                      <a:pt x="4" y="1"/>
                    </a:lnTo>
                    <a:lnTo>
                      <a:pt x="4" y="4"/>
                    </a:lnTo>
                    <a:lnTo>
                      <a:pt x="4" y="4"/>
                    </a:lnTo>
                    <a:lnTo>
                      <a:pt x="7" y="5"/>
                    </a:lnTo>
                    <a:lnTo>
                      <a:pt x="11" y="8"/>
                    </a:lnTo>
                    <a:lnTo>
                      <a:pt x="15" y="11"/>
                    </a:lnTo>
                    <a:lnTo>
                      <a:pt x="17" y="14"/>
                    </a:lnTo>
                    <a:lnTo>
                      <a:pt x="14" y="18"/>
                    </a:lnTo>
                    <a:lnTo>
                      <a:pt x="12" y="16"/>
                    </a:lnTo>
                    <a:lnTo>
                      <a:pt x="8" y="16"/>
                    </a:lnTo>
                    <a:lnTo>
                      <a:pt x="2" y="10"/>
                    </a:lnTo>
                    <a:lnTo>
                      <a:pt x="2" y="7"/>
                    </a:lnTo>
                    <a:lnTo>
                      <a:pt x="0" y="5"/>
                    </a:lnTo>
                    <a:lnTo>
                      <a:pt x="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1" name="Freeform 100">
                <a:extLst>
                  <a:ext uri="{FF2B5EF4-FFF2-40B4-BE49-F238E27FC236}">
                    <a16:creationId xmlns:a16="http://schemas.microsoft.com/office/drawing/2014/main" id="{334D74F2-0EA3-421D-BAC2-83D00D2BD45A}"/>
                  </a:ext>
                </a:extLst>
              </p:cNvPr>
              <p:cNvSpPr>
                <a:spLocks/>
              </p:cNvSpPr>
              <p:nvPr/>
            </p:nvSpPr>
            <p:spPr bwMode="auto">
              <a:xfrm>
                <a:off x="1428750" y="2373381"/>
                <a:ext cx="19050" cy="14288"/>
              </a:xfrm>
              <a:custGeom>
                <a:avLst/>
                <a:gdLst>
                  <a:gd name="T0" fmla="*/ 17 w 25"/>
                  <a:gd name="T1" fmla="*/ 17 h 17"/>
                  <a:gd name="T2" fmla="*/ 17 w 25"/>
                  <a:gd name="T3" fmla="*/ 17 h 17"/>
                  <a:gd name="T4" fmla="*/ 14 w 25"/>
                  <a:gd name="T5" fmla="*/ 16 h 17"/>
                  <a:gd name="T6" fmla="*/ 10 w 25"/>
                  <a:gd name="T7" fmla="*/ 13 h 17"/>
                  <a:gd name="T8" fmla="*/ 6 w 25"/>
                  <a:gd name="T9" fmla="*/ 12 h 17"/>
                  <a:gd name="T10" fmla="*/ 3 w 25"/>
                  <a:gd name="T11" fmla="*/ 10 h 17"/>
                  <a:gd name="T12" fmla="*/ 3 w 25"/>
                  <a:gd name="T13" fmla="*/ 10 h 17"/>
                  <a:gd name="T14" fmla="*/ 2 w 25"/>
                  <a:gd name="T15" fmla="*/ 6 h 17"/>
                  <a:gd name="T16" fmla="*/ 2 w 25"/>
                  <a:gd name="T17" fmla="*/ 4 h 17"/>
                  <a:gd name="T18" fmla="*/ 0 w 25"/>
                  <a:gd name="T19" fmla="*/ 1 h 17"/>
                  <a:gd name="T20" fmla="*/ 0 w 25"/>
                  <a:gd name="T21" fmla="*/ 0 h 17"/>
                  <a:gd name="T22" fmla="*/ 2 w 25"/>
                  <a:gd name="T23" fmla="*/ 0 h 17"/>
                  <a:gd name="T24" fmla="*/ 8 w 25"/>
                  <a:gd name="T25" fmla="*/ 5 h 17"/>
                  <a:gd name="T26" fmla="*/ 8 w 25"/>
                  <a:gd name="T27" fmla="*/ 1 h 17"/>
                  <a:gd name="T28" fmla="*/ 10 w 25"/>
                  <a:gd name="T29" fmla="*/ 1 h 17"/>
                  <a:gd name="T30" fmla="*/ 14 w 25"/>
                  <a:gd name="T31" fmla="*/ 2 h 17"/>
                  <a:gd name="T32" fmla="*/ 18 w 25"/>
                  <a:gd name="T33" fmla="*/ 1 h 17"/>
                  <a:gd name="T34" fmla="*/ 19 w 25"/>
                  <a:gd name="T35" fmla="*/ 2 h 17"/>
                  <a:gd name="T36" fmla="*/ 19 w 25"/>
                  <a:gd name="T37" fmla="*/ 5 h 17"/>
                  <a:gd name="T38" fmla="*/ 23 w 25"/>
                  <a:gd name="T39" fmla="*/ 8 h 17"/>
                  <a:gd name="T40" fmla="*/ 25 w 25"/>
                  <a:gd name="T41" fmla="*/ 9 h 17"/>
                  <a:gd name="T42" fmla="*/ 23 w 25"/>
                  <a:gd name="T43" fmla="*/ 10 h 17"/>
                  <a:gd name="T44" fmla="*/ 21 w 25"/>
                  <a:gd name="T45" fmla="*/ 12 h 17"/>
                  <a:gd name="T46" fmla="*/ 18 w 25"/>
                  <a:gd name="T47" fmla="*/ 10 h 17"/>
                  <a:gd name="T48" fmla="*/ 17 w 25"/>
                  <a:gd name="T49" fmla="*/ 10 h 17"/>
                  <a:gd name="T50" fmla="*/ 15 w 25"/>
                  <a:gd name="T51" fmla="*/ 17 h 17"/>
                  <a:gd name="T52" fmla="*/ 17 w 25"/>
                  <a:gd name="T5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17">
                    <a:moveTo>
                      <a:pt x="17" y="17"/>
                    </a:moveTo>
                    <a:lnTo>
                      <a:pt x="17" y="17"/>
                    </a:lnTo>
                    <a:lnTo>
                      <a:pt x="14" y="16"/>
                    </a:lnTo>
                    <a:lnTo>
                      <a:pt x="10" y="13"/>
                    </a:lnTo>
                    <a:lnTo>
                      <a:pt x="6" y="12"/>
                    </a:lnTo>
                    <a:lnTo>
                      <a:pt x="3" y="10"/>
                    </a:lnTo>
                    <a:lnTo>
                      <a:pt x="3" y="10"/>
                    </a:lnTo>
                    <a:lnTo>
                      <a:pt x="2" y="6"/>
                    </a:lnTo>
                    <a:lnTo>
                      <a:pt x="2" y="4"/>
                    </a:lnTo>
                    <a:lnTo>
                      <a:pt x="0" y="1"/>
                    </a:lnTo>
                    <a:lnTo>
                      <a:pt x="0" y="0"/>
                    </a:lnTo>
                    <a:lnTo>
                      <a:pt x="2" y="0"/>
                    </a:lnTo>
                    <a:lnTo>
                      <a:pt x="8" y="5"/>
                    </a:lnTo>
                    <a:lnTo>
                      <a:pt x="8" y="1"/>
                    </a:lnTo>
                    <a:lnTo>
                      <a:pt x="10" y="1"/>
                    </a:lnTo>
                    <a:lnTo>
                      <a:pt x="14" y="2"/>
                    </a:lnTo>
                    <a:lnTo>
                      <a:pt x="18" y="1"/>
                    </a:lnTo>
                    <a:lnTo>
                      <a:pt x="19" y="2"/>
                    </a:lnTo>
                    <a:lnTo>
                      <a:pt x="19" y="5"/>
                    </a:lnTo>
                    <a:lnTo>
                      <a:pt x="23" y="8"/>
                    </a:lnTo>
                    <a:lnTo>
                      <a:pt x="25" y="9"/>
                    </a:lnTo>
                    <a:lnTo>
                      <a:pt x="23" y="10"/>
                    </a:lnTo>
                    <a:lnTo>
                      <a:pt x="21" y="12"/>
                    </a:lnTo>
                    <a:lnTo>
                      <a:pt x="18" y="10"/>
                    </a:lnTo>
                    <a:lnTo>
                      <a:pt x="17" y="10"/>
                    </a:lnTo>
                    <a:lnTo>
                      <a:pt x="15" y="17"/>
                    </a:lnTo>
                    <a:lnTo>
                      <a:pt x="17" y="1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2" name="Freeform 101">
                <a:extLst>
                  <a:ext uri="{FF2B5EF4-FFF2-40B4-BE49-F238E27FC236}">
                    <a16:creationId xmlns:a16="http://schemas.microsoft.com/office/drawing/2014/main" id="{CD01E63F-E570-4DEE-A730-FB6493FD1F89}"/>
                  </a:ext>
                </a:extLst>
              </p:cNvPr>
              <p:cNvSpPr>
                <a:spLocks/>
              </p:cNvSpPr>
              <p:nvPr/>
            </p:nvSpPr>
            <p:spPr bwMode="auto">
              <a:xfrm>
                <a:off x="1820863" y="2394019"/>
                <a:ext cx="19050" cy="12700"/>
              </a:xfrm>
              <a:custGeom>
                <a:avLst/>
                <a:gdLst>
                  <a:gd name="T0" fmla="*/ 7 w 25"/>
                  <a:gd name="T1" fmla="*/ 2 h 17"/>
                  <a:gd name="T2" fmla="*/ 10 w 25"/>
                  <a:gd name="T3" fmla="*/ 3 h 17"/>
                  <a:gd name="T4" fmla="*/ 11 w 25"/>
                  <a:gd name="T5" fmla="*/ 0 h 17"/>
                  <a:gd name="T6" fmla="*/ 11 w 25"/>
                  <a:gd name="T7" fmla="*/ 0 h 17"/>
                  <a:gd name="T8" fmla="*/ 19 w 25"/>
                  <a:gd name="T9" fmla="*/ 0 h 17"/>
                  <a:gd name="T10" fmla="*/ 19 w 25"/>
                  <a:gd name="T11" fmla="*/ 0 h 17"/>
                  <a:gd name="T12" fmla="*/ 20 w 25"/>
                  <a:gd name="T13" fmla="*/ 3 h 17"/>
                  <a:gd name="T14" fmla="*/ 23 w 25"/>
                  <a:gd name="T15" fmla="*/ 6 h 17"/>
                  <a:gd name="T16" fmla="*/ 25 w 25"/>
                  <a:gd name="T17" fmla="*/ 9 h 17"/>
                  <a:gd name="T18" fmla="*/ 22 w 25"/>
                  <a:gd name="T19" fmla="*/ 10 h 17"/>
                  <a:gd name="T20" fmla="*/ 20 w 25"/>
                  <a:gd name="T21" fmla="*/ 13 h 17"/>
                  <a:gd name="T22" fmla="*/ 20 w 25"/>
                  <a:gd name="T23" fmla="*/ 13 h 17"/>
                  <a:gd name="T24" fmla="*/ 16 w 25"/>
                  <a:gd name="T25" fmla="*/ 14 h 17"/>
                  <a:gd name="T26" fmla="*/ 14 w 25"/>
                  <a:gd name="T27" fmla="*/ 15 h 17"/>
                  <a:gd name="T28" fmla="*/ 11 w 25"/>
                  <a:gd name="T29" fmla="*/ 17 h 17"/>
                  <a:gd name="T30" fmla="*/ 1 w 25"/>
                  <a:gd name="T31" fmla="*/ 10 h 17"/>
                  <a:gd name="T32" fmla="*/ 0 w 25"/>
                  <a:gd name="T33" fmla="*/ 7 h 17"/>
                  <a:gd name="T34" fmla="*/ 1 w 25"/>
                  <a:gd name="T35" fmla="*/ 6 h 17"/>
                  <a:gd name="T36" fmla="*/ 3 w 25"/>
                  <a:gd name="T37" fmla="*/ 6 h 17"/>
                  <a:gd name="T38" fmla="*/ 3 w 25"/>
                  <a:gd name="T39" fmla="*/ 4 h 17"/>
                  <a:gd name="T40" fmla="*/ 7 w 25"/>
                  <a:gd name="T4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7">
                    <a:moveTo>
                      <a:pt x="7" y="2"/>
                    </a:moveTo>
                    <a:lnTo>
                      <a:pt x="10" y="3"/>
                    </a:lnTo>
                    <a:lnTo>
                      <a:pt x="11" y="0"/>
                    </a:lnTo>
                    <a:lnTo>
                      <a:pt x="11" y="0"/>
                    </a:lnTo>
                    <a:lnTo>
                      <a:pt x="19" y="0"/>
                    </a:lnTo>
                    <a:lnTo>
                      <a:pt x="19" y="0"/>
                    </a:lnTo>
                    <a:lnTo>
                      <a:pt x="20" y="3"/>
                    </a:lnTo>
                    <a:lnTo>
                      <a:pt x="23" y="6"/>
                    </a:lnTo>
                    <a:lnTo>
                      <a:pt x="25" y="9"/>
                    </a:lnTo>
                    <a:lnTo>
                      <a:pt x="22" y="10"/>
                    </a:lnTo>
                    <a:lnTo>
                      <a:pt x="20" y="13"/>
                    </a:lnTo>
                    <a:lnTo>
                      <a:pt x="20" y="13"/>
                    </a:lnTo>
                    <a:lnTo>
                      <a:pt x="16" y="14"/>
                    </a:lnTo>
                    <a:lnTo>
                      <a:pt x="14" y="15"/>
                    </a:lnTo>
                    <a:lnTo>
                      <a:pt x="11" y="17"/>
                    </a:lnTo>
                    <a:lnTo>
                      <a:pt x="1" y="10"/>
                    </a:lnTo>
                    <a:lnTo>
                      <a:pt x="0" y="7"/>
                    </a:lnTo>
                    <a:lnTo>
                      <a:pt x="1" y="6"/>
                    </a:lnTo>
                    <a:lnTo>
                      <a:pt x="3" y="6"/>
                    </a:lnTo>
                    <a:lnTo>
                      <a:pt x="3" y="4"/>
                    </a:lnTo>
                    <a:lnTo>
                      <a:pt x="7"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3" name="Freeform 102">
                <a:extLst>
                  <a:ext uri="{FF2B5EF4-FFF2-40B4-BE49-F238E27FC236}">
                    <a16:creationId xmlns:a16="http://schemas.microsoft.com/office/drawing/2014/main" id="{FB857236-7AE1-4272-85C1-57E9C1729088}"/>
                  </a:ext>
                </a:extLst>
              </p:cNvPr>
              <p:cNvSpPr>
                <a:spLocks/>
              </p:cNvSpPr>
              <p:nvPr/>
            </p:nvSpPr>
            <p:spPr bwMode="auto">
              <a:xfrm>
                <a:off x="1870075" y="2411481"/>
                <a:ext cx="7938" cy="7938"/>
              </a:xfrm>
              <a:custGeom>
                <a:avLst/>
                <a:gdLst>
                  <a:gd name="T0" fmla="*/ 2 w 10"/>
                  <a:gd name="T1" fmla="*/ 0 h 10"/>
                  <a:gd name="T2" fmla="*/ 2 w 10"/>
                  <a:gd name="T3" fmla="*/ 0 h 10"/>
                  <a:gd name="T4" fmla="*/ 4 w 10"/>
                  <a:gd name="T5" fmla="*/ 4 h 10"/>
                  <a:gd name="T6" fmla="*/ 6 w 10"/>
                  <a:gd name="T7" fmla="*/ 6 h 10"/>
                  <a:gd name="T8" fmla="*/ 9 w 10"/>
                  <a:gd name="T9" fmla="*/ 7 h 10"/>
                  <a:gd name="T10" fmla="*/ 10 w 10"/>
                  <a:gd name="T11" fmla="*/ 10 h 10"/>
                  <a:gd name="T12" fmla="*/ 8 w 10"/>
                  <a:gd name="T13" fmla="*/ 10 h 10"/>
                  <a:gd name="T14" fmla="*/ 6 w 10"/>
                  <a:gd name="T15" fmla="*/ 8 h 10"/>
                  <a:gd name="T16" fmla="*/ 4 w 10"/>
                  <a:gd name="T17" fmla="*/ 10 h 10"/>
                  <a:gd name="T18" fmla="*/ 4 w 10"/>
                  <a:gd name="T19" fmla="*/ 10 h 10"/>
                  <a:gd name="T20" fmla="*/ 1 w 10"/>
                  <a:gd name="T21" fmla="*/ 8 h 10"/>
                  <a:gd name="T22" fmla="*/ 0 w 10"/>
                  <a:gd name="T23" fmla="*/ 6 h 10"/>
                  <a:gd name="T24" fmla="*/ 0 w 10"/>
                  <a:gd name="T25" fmla="*/ 1 h 10"/>
                  <a:gd name="T26" fmla="*/ 2 w 1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2" y="0"/>
                    </a:moveTo>
                    <a:lnTo>
                      <a:pt x="2" y="0"/>
                    </a:lnTo>
                    <a:lnTo>
                      <a:pt x="4" y="4"/>
                    </a:lnTo>
                    <a:lnTo>
                      <a:pt x="6" y="6"/>
                    </a:lnTo>
                    <a:lnTo>
                      <a:pt x="9" y="7"/>
                    </a:lnTo>
                    <a:lnTo>
                      <a:pt x="10" y="10"/>
                    </a:lnTo>
                    <a:lnTo>
                      <a:pt x="8" y="10"/>
                    </a:lnTo>
                    <a:lnTo>
                      <a:pt x="6" y="8"/>
                    </a:lnTo>
                    <a:lnTo>
                      <a:pt x="4" y="10"/>
                    </a:lnTo>
                    <a:lnTo>
                      <a:pt x="4" y="10"/>
                    </a:lnTo>
                    <a:lnTo>
                      <a:pt x="1" y="8"/>
                    </a:lnTo>
                    <a:lnTo>
                      <a:pt x="0" y="6"/>
                    </a:lnTo>
                    <a:lnTo>
                      <a:pt x="0" y="1"/>
                    </a:lnTo>
                    <a:lnTo>
                      <a:pt x="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4" name="Freeform 103">
                <a:extLst>
                  <a:ext uri="{FF2B5EF4-FFF2-40B4-BE49-F238E27FC236}">
                    <a16:creationId xmlns:a16="http://schemas.microsoft.com/office/drawing/2014/main" id="{C0642F92-3B9A-4F17-B4E0-916EB829519E}"/>
                  </a:ext>
                </a:extLst>
              </p:cNvPr>
              <p:cNvSpPr>
                <a:spLocks/>
              </p:cNvSpPr>
              <p:nvPr/>
            </p:nvSpPr>
            <p:spPr bwMode="auto">
              <a:xfrm>
                <a:off x="2235200" y="2417831"/>
                <a:ext cx="11113" cy="4763"/>
              </a:xfrm>
              <a:custGeom>
                <a:avLst/>
                <a:gdLst>
                  <a:gd name="T0" fmla="*/ 12 w 12"/>
                  <a:gd name="T1" fmla="*/ 0 h 6"/>
                  <a:gd name="T2" fmla="*/ 12 w 12"/>
                  <a:gd name="T3" fmla="*/ 3 h 6"/>
                  <a:gd name="T4" fmla="*/ 9 w 12"/>
                  <a:gd name="T5" fmla="*/ 6 h 6"/>
                  <a:gd name="T6" fmla="*/ 5 w 12"/>
                  <a:gd name="T7" fmla="*/ 6 h 6"/>
                  <a:gd name="T8" fmla="*/ 4 w 12"/>
                  <a:gd name="T9" fmla="*/ 4 h 6"/>
                  <a:gd name="T10" fmla="*/ 1 w 12"/>
                  <a:gd name="T11" fmla="*/ 4 h 6"/>
                  <a:gd name="T12" fmla="*/ 0 w 12"/>
                  <a:gd name="T13" fmla="*/ 2 h 6"/>
                  <a:gd name="T14" fmla="*/ 3 w 12"/>
                  <a:gd name="T15" fmla="*/ 2 h 6"/>
                  <a:gd name="T16" fmla="*/ 4 w 12"/>
                  <a:gd name="T17" fmla="*/ 3 h 6"/>
                  <a:gd name="T18" fmla="*/ 5 w 12"/>
                  <a:gd name="T19" fmla="*/ 2 h 6"/>
                  <a:gd name="T20" fmla="*/ 12 w 12"/>
                  <a:gd name="T21" fmla="*/ 0 h 6"/>
                  <a:gd name="T22" fmla="*/ 12 w 12"/>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6">
                    <a:moveTo>
                      <a:pt x="12" y="0"/>
                    </a:moveTo>
                    <a:lnTo>
                      <a:pt x="12" y="3"/>
                    </a:lnTo>
                    <a:lnTo>
                      <a:pt x="9" y="6"/>
                    </a:lnTo>
                    <a:lnTo>
                      <a:pt x="5" y="6"/>
                    </a:lnTo>
                    <a:lnTo>
                      <a:pt x="4" y="4"/>
                    </a:lnTo>
                    <a:lnTo>
                      <a:pt x="1" y="4"/>
                    </a:lnTo>
                    <a:lnTo>
                      <a:pt x="0" y="2"/>
                    </a:lnTo>
                    <a:lnTo>
                      <a:pt x="3" y="2"/>
                    </a:lnTo>
                    <a:lnTo>
                      <a:pt x="4" y="3"/>
                    </a:lnTo>
                    <a:lnTo>
                      <a:pt x="5" y="2"/>
                    </a:lnTo>
                    <a:lnTo>
                      <a:pt x="12" y="0"/>
                    </a:lnTo>
                    <a:lnTo>
                      <a:pt x="1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5" name="Freeform 104">
                <a:extLst>
                  <a:ext uri="{FF2B5EF4-FFF2-40B4-BE49-F238E27FC236}">
                    <a16:creationId xmlns:a16="http://schemas.microsoft.com/office/drawing/2014/main" id="{13300583-DBBC-4942-AEC9-CCDEC3812FB8}"/>
                  </a:ext>
                </a:extLst>
              </p:cNvPr>
              <p:cNvSpPr>
                <a:spLocks/>
              </p:cNvSpPr>
              <p:nvPr/>
            </p:nvSpPr>
            <p:spPr bwMode="auto">
              <a:xfrm>
                <a:off x="1831975" y="2416244"/>
                <a:ext cx="23813" cy="17463"/>
              </a:xfrm>
              <a:custGeom>
                <a:avLst/>
                <a:gdLst>
                  <a:gd name="T0" fmla="*/ 30 w 30"/>
                  <a:gd name="T1" fmla="*/ 6 h 23"/>
                  <a:gd name="T2" fmla="*/ 26 w 30"/>
                  <a:gd name="T3" fmla="*/ 9 h 23"/>
                  <a:gd name="T4" fmla="*/ 26 w 30"/>
                  <a:gd name="T5" fmla="*/ 13 h 23"/>
                  <a:gd name="T6" fmla="*/ 24 w 30"/>
                  <a:gd name="T7" fmla="*/ 14 h 23"/>
                  <a:gd name="T8" fmla="*/ 22 w 30"/>
                  <a:gd name="T9" fmla="*/ 12 h 23"/>
                  <a:gd name="T10" fmla="*/ 20 w 30"/>
                  <a:gd name="T11" fmla="*/ 12 h 23"/>
                  <a:gd name="T12" fmla="*/ 20 w 30"/>
                  <a:gd name="T13" fmla="*/ 14 h 23"/>
                  <a:gd name="T14" fmla="*/ 22 w 30"/>
                  <a:gd name="T15" fmla="*/ 16 h 23"/>
                  <a:gd name="T16" fmla="*/ 20 w 30"/>
                  <a:gd name="T17" fmla="*/ 17 h 23"/>
                  <a:gd name="T18" fmla="*/ 18 w 30"/>
                  <a:gd name="T19" fmla="*/ 17 h 23"/>
                  <a:gd name="T20" fmla="*/ 18 w 30"/>
                  <a:gd name="T21" fmla="*/ 21 h 23"/>
                  <a:gd name="T22" fmla="*/ 16 w 30"/>
                  <a:gd name="T23" fmla="*/ 23 h 23"/>
                  <a:gd name="T24" fmla="*/ 14 w 30"/>
                  <a:gd name="T25" fmla="*/ 21 h 23"/>
                  <a:gd name="T26" fmla="*/ 14 w 30"/>
                  <a:gd name="T27" fmla="*/ 21 h 23"/>
                  <a:gd name="T28" fmla="*/ 7 w 30"/>
                  <a:gd name="T29" fmla="*/ 23 h 23"/>
                  <a:gd name="T30" fmla="*/ 3 w 30"/>
                  <a:gd name="T31" fmla="*/ 23 h 23"/>
                  <a:gd name="T32" fmla="*/ 0 w 30"/>
                  <a:gd name="T33" fmla="*/ 21 h 23"/>
                  <a:gd name="T34" fmla="*/ 3 w 30"/>
                  <a:gd name="T35" fmla="*/ 19 h 23"/>
                  <a:gd name="T36" fmla="*/ 10 w 30"/>
                  <a:gd name="T37" fmla="*/ 4 h 23"/>
                  <a:gd name="T38" fmla="*/ 10 w 30"/>
                  <a:gd name="T39" fmla="*/ 4 h 23"/>
                  <a:gd name="T40" fmla="*/ 12 w 30"/>
                  <a:gd name="T41" fmla="*/ 2 h 23"/>
                  <a:gd name="T42" fmla="*/ 15 w 30"/>
                  <a:gd name="T43" fmla="*/ 1 h 23"/>
                  <a:gd name="T44" fmla="*/ 22 w 30"/>
                  <a:gd name="T45" fmla="*/ 0 h 23"/>
                  <a:gd name="T46" fmla="*/ 22 w 30"/>
                  <a:gd name="T47" fmla="*/ 0 h 23"/>
                  <a:gd name="T48" fmla="*/ 26 w 30"/>
                  <a:gd name="T49" fmla="*/ 2 h 23"/>
                  <a:gd name="T50" fmla="*/ 30 w 30"/>
                  <a:gd name="T51" fmla="*/ 6 h 23"/>
                  <a:gd name="T52" fmla="*/ 30 w 30"/>
                  <a:gd name="T5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 h="23">
                    <a:moveTo>
                      <a:pt x="30" y="6"/>
                    </a:moveTo>
                    <a:lnTo>
                      <a:pt x="26" y="9"/>
                    </a:lnTo>
                    <a:lnTo>
                      <a:pt x="26" y="13"/>
                    </a:lnTo>
                    <a:lnTo>
                      <a:pt x="24" y="14"/>
                    </a:lnTo>
                    <a:lnTo>
                      <a:pt x="22" y="12"/>
                    </a:lnTo>
                    <a:lnTo>
                      <a:pt x="20" y="12"/>
                    </a:lnTo>
                    <a:lnTo>
                      <a:pt x="20" y="14"/>
                    </a:lnTo>
                    <a:lnTo>
                      <a:pt x="22" y="16"/>
                    </a:lnTo>
                    <a:lnTo>
                      <a:pt x="20" y="17"/>
                    </a:lnTo>
                    <a:lnTo>
                      <a:pt x="18" y="17"/>
                    </a:lnTo>
                    <a:lnTo>
                      <a:pt x="18" y="21"/>
                    </a:lnTo>
                    <a:lnTo>
                      <a:pt x="16" y="23"/>
                    </a:lnTo>
                    <a:lnTo>
                      <a:pt x="14" y="21"/>
                    </a:lnTo>
                    <a:lnTo>
                      <a:pt x="14" y="21"/>
                    </a:lnTo>
                    <a:lnTo>
                      <a:pt x="7" y="23"/>
                    </a:lnTo>
                    <a:lnTo>
                      <a:pt x="3" y="23"/>
                    </a:lnTo>
                    <a:lnTo>
                      <a:pt x="0" y="21"/>
                    </a:lnTo>
                    <a:lnTo>
                      <a:pt x="3" y="19"/>
                    </a:lnTo>
                    <a:lnTo>
                      <a:pt x="10" y="4"/>
                    </a:lnTo>
                    <a:lnTo>
                      <a:pt x="10" y="4"/>
                    </a:lnTo>
                    <a:lnTo>
                      <a:pt x="12" y="2"/>
                    </a:lnTo>
                    <a:lnTo>
                      <a:pt x="15" y="1"/>
                    </a:lnTo>
                    <a:lnTo>
                      <a:pt x="22" y="0"/>
                    </a:lnTo>
                    <a:lnTo>
                      <a:pt x="22" y="0"/>
                    </a:lnTo>
                    <a:lnTo>
                      <a:pt x="26" y="2"/>
                    </a:lnTo>
                    <a:lnTo>
                      <a:pt x="30" y="6"/>
                    </a:lnTo>
                    <a:lnTo>
                      <a:pt x="30" y="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6" name="Freeform 105">
                <a:extLst>
                  <a:ext uri="{FF2B5EF4-FFF2-40B4-BE49-F238E27FC236}">
                    <a16:creationId xmlns:a16="http://schemas.microsoft.com/office/drawing/2014/main" id="{B656561A-2F34-4A73-A0AA-BAC019C5AB3B}"/>
                  </a:ext>
                </a:extLst>
              </p:cNvPr>
              <p:cNvSpPr>
                <a:spLocks/>
              </p:cNvSpPr>
              <p:nvPr/>
            </p:nvSpPr>
            <p:spPr bwMode="auto">
              <a:xfrm>
                <a:off x="1809750" y="2425769"/>
                <a:ext cx="7938" cy="9525"/>
              </a:xfrm>
              <a:custGeom>
                <a:avLst/>
                <a:gdLst>
                  <a:gd name="T0" fmla="*/ 8 w 10"/>
                  <a:gd name="T1" fmla="*/ 7 h 12"/>
                  <a:gd name="T2" fmla="*/ 10 w 10"/>
                  <a:gd name="T3" fmla="*/ 12 h 12"/>
                  <a:gd name="T4" fmla="*/ 8 w 10"/>
                  <a:gd name="T5" fmla="*/ 12 h 12"/>
                  <a:gd name="T6" fmla="*/ 2 w 10"/>
                  <a:gd name="T7" fmla="*/ 11 h 12"/>
                  <a:gd name="T8" fmla="*/ 2 w 10"/>
                  <a:gd name="T9" fmla="*/ 7 h 12"/>
                  <a:gd name="T10" fmla="*/ 0 w 10"/>
                  <a:gd name="T11" fmla="*/ 2 h 12"/>
                  <a:gd name="T12" fmla="*/ 5 w 10"/>
                  <a:gd name="T13" fmla="*/ 0 h 12"/>
                  <a:gd name="T14" fmla="*/ 5 w 10"/>
                  <a:gd name="T15" fmla="*/ 0 h 12"/>
                  <a:gd name="T16" fmla="*/ 10 w 10"/>
                  <a:gd name="T17" fmla="*/ 2 h 12"/>
                  <a:gd name="T18" fmla="*/ 10 w 10"/>
                  <a:gd name="T19" fmla="*/ 5 h 12"/>
                  <a:gd name="T20" fmla="*/ 8 w 10"/>
                  <a:gd name="T21"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2">
                    <a:moveTo>
                      <a:pt x="8" y="7"/>
                    </a:moveTo>
                    <a:lnTo>
                      <a:pt x="10" y="12"/>
                    </a:lnTo>
                    <a:lnTo>
                      <a:pt x="8" y="12"/>
                    </a:lnTo>
                    <a:lnTo>
                      <a:pt x="2" y="11"/>
                    </a:lnTo>
                    <a:lnTo>
                      <a:pt x="2" y="7"/>
                    </a:lnTo>
                    <a:lnTo>
                      <a:pt x="0" y="2"/>
                    </a:lnTo>
                    <a:lnTo>
                      <a:pt x="5" y="0"/>
                    </a:lnTo>
                    <a:lnTo>
                      <a:pt x="5" y="0"/>
                    </a:lnTo>
                    <a:lnTo>
                      <a:pt x="10" y="2"/>
                    </a:lnTo>
                    <a:lnTo>
                      <a:pt x="10" y="5"/>
                    </a:lnTo>
                    <a:lnTo>
                      <a:pt x="8" y="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7" name="Freeform 106">
                <a:extLst>
                  <a:ext uri="{FF2B5EF4-FFF2-40B4-BE49-F238E27FC236}">
                    <a16:creationId xmlns:a16="http://schemas.microsoft.com/office/drawing/2014/main" id="{B20C4234-CABC-447A-AD64-908003E3F51A}"/>
                  </a:ext>
                </a:extLst>
              </p:cNvPr>
              <p:cNvSpPr>
                <a:spLocks/>
              </p:cNvSpPr>
              <p:nvPr/>
            </p:nvSpPr>
            <p:spPr bwMode="auto">
              <a:xfrm>
                <a:off x="1808163" y="2451169"/>
                <a:ext cx="7938" cy="6350"/>
              </a:xfrm>
              <a:custGeom>
                <a:avLst/>
                <a:gdLst>
                  <a:gd name="T0" fmla="*/ 8 w 10"/>
                  <a:gd name="T1" fmla="*/ 0 h 7"/>
                  <a:gd name="T2" fmla="*/ 8 w 10"/>
                  <a:gd name="T3" fmla="*/ 0 h 7"/>
                  <a:gd name="T4" fmla="*/ 10 w 10"/>
                  <a:gd name="T5" fmla="*/ 3 h 7"/>
                  <a:gd name="T6" fmla="*/ 10 w 10"/>
                  <a:gd name="T7" fmla="*/ 6 h 7"/>
                  <a:gd name="T8" fmla="*/ 10 w 10"/>
                  <a:gd name="T9" fmla="*/ 7 h 7"/>
                  <a:gd name="T10" fmla="*/ 8 w 10"/>
                  <a:gd name="T11" fmla="*/ 4 h 7"/>
                  <a:gd name="T12" fmla="*/ 0 w 10"/>
                  <a:gd name="T13" fmla="*/ 4 h 7"/>
                  <a:gd name="T14" fmla="*/ 2 w 10"/>
                  <a:gd name="T15" fmla="*/ 3 h 7"/>
                  <a:gd name="T16" fmla="*/ 4 w 10"/>
                  <a:gd name="T17" fmla="*/ 3 h 7"/>
                  <a:gd name="T18" fmla="*/ 8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8" y="0"/>
                    </a:moveTo>
                    <a:lnTo>
                      <a:pt x="8" y="0"/>
                    </a:lnTo>
                    <a:lnTo>
                      <a:pt x="10" y="3"/>
                    </a:lnTo>
                    <a:lnTo>
                      <a:pt x="10" y="6"/>
                    </a:lnTo>
                    <a:lnTo>
                      <a:pt x="10" y="7"/>
                    </a:lnTo>
                    <a:lnTo>
                      <a:pt x="8" y="4"/>
                    </a:lnTo>
                    <a:lnTo>
                      <a:pt x="0" y="4"/>
                    </a:lnTo>
                    <a:lnTo>
                      <a:pt x="2" y="3"/>
                    </a:lnTo>
                    <a:lnTo>
                      <a:pt x="4" y="3"/>
                    </a:lnTo>
                    <a:lnTo>
                      <a:pt x="8"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8" name="Freeform 107">
                <a:extLst>
                  <a:ext uri="{FF2B5EF4-FFF2-40B4-BE49-F238E27FC236}">
                    <a16:creationId xmlns:a16="http://schemas.microsoft.com/office/drawing/2014/main" id="{531BB1DF-8EA1-4D9C-A17A-C37E97F8918E}"/>
                  </a:ext>
                </a:extLst>
              </p:cNvPr>
              <p:cNvSpPr>
                <a:spLocks/>
              </p:cNvSpPr>
              <p:nvPr/>
            </p:nvSpPr>
            <p:spPr bwMode="auto">
              <a:xfrm>
                <a:off x="1770063" y="2449581"/>
                <a:ext cx="17463" cy="7938"/>
              </a:xfrm>
              <a:custGeom>
                <a:avLst/>
                <a:gdLst>
                  <a:gd name="T0" fmla="*/ 21 w 21"/>
                  <a:gd name="T1" fmla="*/ 2 h 10"/>
                  <a:gd name="T2" fmla="*/ 21 w 21"/>
                  <a:gd name="T3" fmla="*/ 4 h 10"/>
                  <a:gd name="T4" fmla="*/ 19 w 21"/>
                  <a:gd name="T5" fmla="*/ 5 h 10"/>
                  <a:gd name="T6" fmla="*/ 16 w 21"/>
                  <a:gd name="T7" fmla="*/ 10 h 10"/>
                  <a:gd name="T8" fmla="*/ 15 w 21"/>
                  <a:gd name="T9" fmla="*/ 6 h 10"/>
                  <a:gd name="T10" fmla="*/ 12 w 21"/>
                  <a:gd name="T11" fmla="*/ 8 h 10"/>
                  <a:gd name="T12" fmla="*/ 9 w 21"/>
                  <a:gd name="T13" fmla="*/ 10 h 10"/>
                  <a:gd name="T14" fmla="*/ 4 w 21"/>
                  <a:gd name="T15" fmla="*/ 9 h 10"/>
                  <a:gd name="T16" fmla="*/ 2 w 21"/>
                  <a:gd name="T17" fmla="*/ 10 h 10"/>
                  <a:gd name="T18" fmla="*/ 0 w 21"/>
                  <a:gd name="T19" fmla="*/ 6 h 10"/>
                  <a:gd name="T20" fmla="*/ 6 w 21"/>
                  <a:gd name="T21" fmla="*/ 6 h 10"/>
                  <a:gd name="T22" fmla="*/ 9 w 21"/>
                  <a:gd name="T23" fmla="*/ 5 h 10"/>
                  <a:gd name="T24" fmla="*/ 9 w 21"/>
                  <a:gd name="T25" fmla="*/ 4 h 10"/>
                  <a:gd name="T26" fmla="*/ 13 w 21"/>
                  <a:gd name="T27" fmla="*/ 4 h 10"/>
                  <a:gd name="T28" fmla="*/ 17 w 21"/>
                  <a:gd name="T29" fmla="*/ 0 h 10"/>
                  <a:gd name="T30" fmla="*/ 19 w 21"/>
                  <a:gd name="T31" fmla="*/ 2 h 10"/>
                  <a:gd name="T32" fmla="*/ 21 w 21"/>
                  <a:gd name="T3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0">
                    <a:moveTo>
                      <a:pt x="21" y="2"/>
                    </a:moveTo>
                    <a:lnTo>
                      <a:pt x="21" y="4"/>
                    </a:lnTo>
                    <a:lnTo>
                      <a:pt x="19" y="5"/>
                    </a:lnTo>
                    <a:lnTo>
                      <a:pt x="16" y="10"/>
                    </a:lnTo>
                    <a:lnTo>
                      <a:pt x="15" y="6"/>
                    </a:lnTo>
                    <a:lnTo>
                      <a:pt x="12" y="8"/>
                    </a:lnTo>
                    <a:lnTo>
                      <a:pt x="9" y="10"/>
                    </a:lnTo>
                    <a:lnTo>
                      <a:pt x="4" y="9"/>
                    </a:lnTo>
                    <a:lnTo>
                      <a:pt x="2" y="10"/>
                    </a:lnTo>
                    <a:lnTo>
                      <a:pt x="0" y="6"/>
                    </a:lnTo>
                    <a:lnTo>
                      <a:pt x="6" y="6"/>
                    </a:lnTo>
                    <a:lnTo>
                      <a:pt x="9" y="5"/>
                    </a:lnTo>
                    <a:lnTo>
                      <a:pt x="9" y="4"/>
                    </a:lnTo>
                    <a:lnTo>
                      <a:pt x="13" y="4"/>
                    </a:lnTo>
                    <a:lnTo>
                      <a:pt x="17" y="0"/>
                    </a:lnTo>
                    <a:lnTo>
                      <a:pt x="19" y="2"/>
                    </a:lnTo>
                    <a:lnTo>
                      <a:pt x="21"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79" name="Freeform 108">
                <a:extLst>
                  <a:ext uri="{FF2B5EF4-FFF2-40B4-BE49-F238E27FC236}">
                    <a16:creationId xmlns:a16="http://schemas.microsoft.com/office/drawing/2014/main" id="{DDE7C2CC-EE8F-49BC-938B-83B3FD4C1DB0}"/>
                  </a:ext>
                </a:extLst>
              </p:cNvPr>
              <p:cNvSpPr>
                <a:spLocks/>
              </p:cNvSpPr>
              <p:nvPr/>
            </p:nvSpPr>
            <p:spPr bwMode="auto">
              <a:xfrm>
                <a:off x="1879600" y="2454344"/>
                <a:ext cx="4763" cy="6350"/>
              </a:xfrm>
              <a:custGeom>
                <a:avLst/>
                <a:gdLst>
                  <a:gd name="T0" fmla="*/ 5 w 5"/>
                  <a:gd name="T1" fmla="*/ 3 h 8"/>
                  <a:gd name="T2" fmla="*/ 5 w 5"/>
                  <a:gd name="T3" fmla="*/ 7 h 8"/>
                  <a:gd name="T4" fmla="*/ 4 w 5"/>
                  <a:gd name="T5" fmla="*/ 8 h 8"/>
                  <a:gd name="T6" fmla="*/ 1 w 5"/>
                  <a:gd name="T7" fmla="*/ 5 h 8"/>
                  <a:gd name="T8" fmla="*/ 0 w 5"/>
                  <a:gd name="T9" fmla="*/ 3 h 8"/>
                  <a:gd name="T10" fmla="*/ 2 w 5"/>
                  <a:gd name="T11" fmla="*/ 3 h 8"/>
                  <a:gd name="T12" fmla="*/ 2 w 5"/>
                  <a:gd name="T13" fmla="*/ 1 h 8"/>
                  <a:gd name="T14" fmla="*/ 4 w 5"/>
                  <a:gd name="T15" fmla="*/ 0 h 8"/>
                  <a:gd name="T16" fmla="*/ 5 w 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5" y="3"/>
                    </a:moveTo>
                    <a:lnTo>
                      <a:pt x="5" y="7"/>
                    </a:lnTo>
                    <a:lnTo>
                      <a:pt x="4" y="8"/>
                    </a:lnTo>
                    <a:lnTo>
                      <a:pt x="1" y="5"/>
                    </a:lnTo>
                    <a:lnTo>
                      <a:pt x="0" y="3"/>
                    </a:lnTo>
                    <a:lnTo>
                      <a:pt x="2" y="3"/>
                    </a:lnTo>
                    <a:lnTo>
                      <a:pt x="2" y="1"/>
                    </a:lnTo>
                    <a:lnTo>
                      <a:pt x="4" y="0"/>
                    </a:lnTo>
                    <a:lnTo>
                      <a:pt x="5"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0" name="Freeform 109">
                <a:extLst>
                  <a:ext uri="{FF2B5EF4-FFF2-40B4-BE49-F238E27FC236}">
                    <a16:creationId xmlns:a16="http://schemas.microsoft.com/office/drawing/2014/main" id="{2CBFAAB5-5351-4B02-A955-34A52105C187}"/>
                  </a:ext>
                </a:extLst>
              </p:cNvPr>
              <p:cNvSpPr>
                <a:spLocks/>
              </p:cNvSpPr>
              <p:nvPr/>
            </p:nvSpPr>
            <p:spPr bwMode="auto">
              <a:xfrm>
                <a:off x="1843088" y="2465456"/>
                <a:ext cx="4763" cy="4763"/>
              </a:xfrm>
              <a:custGeom>
                <a:avLst/>
                <a:gdLst>
                  <a:gd name="T0" fmla="*/ 5 w 5"/>
                  <a:gd name="T1" fmla="*/ 7 h 7"/>
                  <a:gd name="T2" fmla="*/ 4 w 5"/>
                  <a:gd name="T3" fmla="*/ 5 h 7"/>
                  <a:gd name="T4" fmla="*/ 4 w 5"/>
                  <a:gd name="T5" fmla="*/ 4 h 7"/>
                  <a:gd name="T6" fmla="*/ 1 w 5"/>
                  <a:gd name="T7" fmla="*/ 4 h 7"/>
                  <a:gd name="T8" fmla="*/ 0 w 5"/>
                  <a:gd name="T9" fmla="*/ 1 h 7"/>
                  <a:gd name="T10" fmla="*/ 2 w 5"/>
                  <a:gd name="T11" fmla="*/ 0 h 7"/>
                  <a:gd name="T12" fmla="*/ 5 w 5"/>
                  <a:gd name="T13" fmla="*/ 3 h 7"/>
                  <a:gd name="T14" fmla="*/ 5 w 5"/>
                  <a:gd name="T15" fmla="*/ 5 h 7"/>
                  <a:gd name="T16" fmla="*/ 5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5" y="7"/>
                    </a:moveTo>
                    <a:lnTo>
                      <a:pt x="4" y="5"/>
                    </a:lnTo>
                    <a:lnTo>
                      <a:pt x="4" y="4"/>
                    </a:lnTo>
                    <a:lnTo>
                      <a:pt x="1" y="4"/>
                    </a:lnTo>
                    <a:lnTo>
                      <a:pt x="0" y="1"/>
                    </a:lnTo>
                    <a:lnTo>
                      <a:pt x="2" y="0"/>
                    </a:lnTo>
                    <a:lnTo>
                      <a:pt x="5" y="3"/>
                    </a:lnTo>
                    <a:lnTo>
                      <a:pt x="5" y="5"/>
                    </a:lnTo>
                    <a:lnTo>
                      <a:pt x="5" y="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1" name="Freeform 110">
                <a:extLst>
                  <a:ext uri="{FF2B5EF4-FFF2-40B4-BE49-F238E27FC236}">
                    <a16:creationId xmlns:a16="http://schemas.microsoft.com/office/drawing/2014/main" id="{12AEC601-54A2-471F-828E-F7B31BF236B4}"/>
                  </a:ext>
                </a:extLst>
              </p:cNvPr>
              <p:cNvSpPr>
                <a:spLocks/>
              </p:cNvSpPr>
              <p:nvPr/>
            </p:nvSpPr>
            <p:spPr bwMode="auto">
              <a:xfrm>
                <a:off x="1860550" y="2474981"/>
                <a:ext cx="1588" cy="4763"/>
              </a:xfrm>
              <a:custGeom>
                <a:avLst/>
                <a:gdLst>
                  <a:gd name="T0" fmla="*/ 2 w 3"/>
                  <a:gd name="T1" fmla="*/ 0 h 7"/>
                  <a:gd name="T2" fmla="*/ 3 w 3"/>
                  <a:gd name="T3" fmla="*/ 1 h 7"/>
                  <a:gd name="T4" fmla="*/ 3 w 3"/>
                  <a:gd name="T5" fmla="*/ 7 h 7"/>
                  <a:gd name="T6" fmla="*/ 0 w 3"/>
                  <a:gd name="T7" fmla="*/ 6 h 7"/>
                  <a:gd name="T8" fmla="*/ 0 w 3"/>
                  <a:gd name="T9" fmla="*/ 4 h 7"/>
                  <a:gd name="T10" fmla="*/ 0 w 3"/>
                  <a:gd name="T11" fmla="*/ 1 h 7"/>
                  <a:gd name="T12" fmla="*/ 2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2" y="0"/>
                    </a:moveTo>
                    <a:lnTo>
                      <a:pt x="3" y="1"/>
                    </a:lnTo>
                    <a:lnTo>
                      <a:pt x="3" y="7"/>
                    </a:lnTo>
                    <a:lnTo>
                      <a:pt x="0" y="6"/>
                    </a:lnTo>
                    <a:lnTo>
                      <a:pt x="0" y="4"/>
                    </a:lnTo>
                    <a:lnTo>
                      <a:pt x="0" y="1"/>
                    </a:lnTo>
                    <a:lnTo>
                      <a:pt x="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2" name="Freeform 111">
                <a:extLst>
                  <a:ext uri="{FF2B5EF4-FFF2-40B4-BE49-F238E27FC236}">
                    <a16:creationId xmlns:a16="http://schemas.microsoft.com/office/drawing/2014/main" id="{D10B01AD-9BFD-4E87-8C8C-F0E6E7068793}"/>
                  </a:ext>
                </a:extLst>
              </p:cNvPr>
              <p:cNvSpPr>
                <a:spLocks/>
              </p:cNvSpPr>
              <p:nvPr/>
            </p:nvSpPr>
            <p:spPr bwMode="auto">
              <a:xfrm>
                <a:off x="2027238" y="2484506"/>
                <a:ext cx="4763" cy="3175"/>
              </a:xfrm>
              <a:custGeom>
                <a:avLst/>
                <a:gdLst>
                  <a:gd name="T0" fmla="*/ 5 w 5"/>
                  <a:gd name="T1" fmla="*/ 4 h 4"/>
                  <a:gd name="T2" fmla="*/ 4 w 5"/>
                  <a:gd name="T3" fmla="*/ 3 h 4"/>
                  <a:gd name="T4" fmla="*/ 2 w 5"/>
                  <a:gd name="T5" fmla="*/ 2 h 4"/>
                  <a:gd name="T6" fmla="*/ 0 w 5"/>
                  <a:gd name="T7" fmla="*/ 3 h 4"/>
                  <a:gd name="T8" fmla="*/ 0 w 5"/>
                  <a:gd name="T9" fmla="*/ 0 h 4"/>
                  <a:gd name="T10" fmla="*/ 4 w 5"/>
                  <a:gd name="T11" fmla="*/ 2 h 4"/>
                  <a:gd name="T12" fmla="*/ 5 w 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4"/>
                    </a:moveTo>
                    <a:lnTo>
                      <a:pt x="4" y="3"/>
                    </a:lnTo>
                    <a:lnTo>
                      <a:pt x="2" y="2"/>
                    </a:lnTo>
                    <a:lnTo>
                      <a:pt x="0" y="3"/>
                    </a:lnTo>
                    <a:lnTo>
                      <a:pt x="0" y="0"/>
                    </a:lnTo>
                    <a:lnTo>
                      <a:pt x="4" y="2"/>
                    </a:lnTo>
                    <a:lnTo>
                      <a:pt x="5"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3" name="Freeform 112">
                <a:extLst>
                  <a:ext uri="{FF2B5EF4-FFF2-40B4-BE49-F238E27FC236}">
                    <a16:creationId xmlns:a16="http://schemas.microsoft.com/office/drawing/2014/main" id="{88FB5787-FD8D-4793-B733-D9D1E613BA3A}"/>
                  </a:ext>
                </a:extLst>
              </p:cNvPr>
              <p:cNvSpPr>
                <a:spLocks/>
              </p:cNvSpPr>
              <p:nvPr/>
            </p:nvSpPr>
            <p:spPr bwMode="auto">
              <a:xfrm>
                <a:off x="1770063" y="2500381"/>
                <a:ext cx="9525" cy="9525"/>
              </a:xfrm>
              <a:custGeom>
                <a:avLst/>
                <a:gdLst>
                  <a:gd name="T0" fmla="*/ 4 w 12"/>
                  <a:gd name="T1" fmla="*/ 2 h 13"/>
                  <a:gd name="T2" fmla="*/ 5 w 12"/>
                  <a:gd name="T3" fmla="*/ 7 h 13"/>
                  <a:gd name="T4" fmla="*/ 5 w 12"/>
                  <a:gd name="T5" fmla="*/ 7 h 13"/>
                  <a:gd name="T6" fmla="*/ 9 w 12"/>
                  <a:gd name="T7" fmla="*/ 8 h 13"/>
                  <a:gd name="T8" fmla="*/ 12 w 12"/>
                  <a:gd name="T9" fmla="*/ 11 h 13"/>
                  <a:gd name="T10" fmla="*/ 9 w 12"/>
                  <a:gd name="T11" fmla="*/ 13 h 13"/>
                  <a:gd name="T12" fmla="*/ 8 w 12"/>
                  <a:gd name="T13" fmla="*/ 13 h 13"/>
                  <a:gd name="T14" fmla="*/ 8 w 12"/>
                  <a:gd name="T15" fmla="*/ 13 h 13"/>
                  <a:gd name="T16" fmla="*/ 2 w 12"/>
                  <a:gd name="T17" fmla="*/ 8 h 13"/>
                  <a:gd name="T18" fmla="*/ 0 w 12"/>
                  <a:gd name="T19" fmla="*/ 6 h 13"/>
                  <a:gd name="T20" fmla="*/ 0 w 12"/>
                  <a:gd name="T21" fmla="*/ 2 h 13"/>
                  <a:gd name="T22" fmla="*/ 1 w 12"/>
                  <a:gd name="T23" fmla="*/ 0 h 13"/>
                  <a:gd name="T24" fmla="*/ 4 w 12"/>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3">
                    <a:moveTo>
                      <a:pt x="4" y="2"/>
                    </a:moveTo>
                    <a:lnTo>
                      <a:pt x="5" y="7"/>
                    </a:lnTo>
                    <a:lnTo>
                      <a:pt x="5" y="7"/>
                    </a:lnTo>
                    <a:lnTo>
                      <a:pt x="9" y="8"/>
                    </a:lnTo>
                    <a:lnTo>
                      <a:pt x="12" y="11"/>
                    </a:lnTo>
                    <a:lnTo>
                      <a:pt x="9" y="13"/>
                    </a:lnTo>
                    <a:lnTo>
                      <a:pt x="8" y="13"/>
                    </a:lnTo>
                    <a:lnTo>
                      <a:pt x="8" y="13"/>
                    </a:lnTo>
                    <a:lnTo>
                      <a:pt x="2" y="8"/>
                    </a:lnTo>
                    <a:lnTo>
                      <a:pt x="0" y="6"/>
                    </a:lnTo>
                    <a:lnTo>
                      <a:pt x="0" y="2"/>
                    </a:lnTo>
                    <a:lnTo>
                      <a:pt x="1" y="0"/>
                    </a:lnTo>
                    <a:lnTo>
                      <a:pt x="4"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4" name="Freeform 113">
                <a:extLst>
                  <a:ext uri="{FF2B5EF4-FFF2-40B4-BE49-F238E27FC236}">
                    <a16:creationId xmlns:a16="http://schemas.microsoft.com/office/drawing/2014/main" id="{B39EE8C3-BD0C-46FA-96BD-3EB2398CE97D}"/>
                  </a:ext>
                </a:extLst>
              </p:cNvPr>
              <p:cNvSpPr>
                <a:spLocks/>
              </p:cNvSpPr>
              <p:nvPr/>
            </p:nvSpPr>
            <p:spPr bwMode="auto">
              <a:xfrm>
                <a:off x="1700213" y="2517844"/>
                <a:ext cx="14288" cy="6350"/>
              </a:xfrm>
              <a:custGeom>
                <a:avLst/>
                <a:gdLst>
                  <a:gd name="T0" fmla="*/ 3 w 18"/>
                  <a:gd name="T1" fmla="*/ 10 h 10"/>
                  <a:gd name="T2" fmla="*/ 2 w 18"/>
                  <a:gd name="T3" fmla="*/ 10 h 10"/>
                  <a:gd name="T4" fmla="*/ 0 w 18"/>
                  <a:gd name="T5" fmla="*/ 7 h 10"/>
                  <a:gd name="T6" fmla="*/ 2 w 18"/>
                  <a:gd name="T7" fmla="*/ 5 h 10"/>
                  <a:gd name="T8" fmla="*/ 5 w 18"/>
                  <a:gd name="T9" fmla="*/ 7 h 10"/>
                  <a:gd name="T10" fmla="*/ 9 w 18"/>
                  <a:gd name="T11" fmla="*/ 4 h 10"/>
                  <a:gd name="T12" fmla="*/ 9 w 18"/>
                  <a:gd name="T13" fmla="*/ 1 h 10"/>
                  <a:gd name="T14" fmla="*/ 13 w 18"/>
                  <a:gd name="T15" fmla="*/ 0 h 10"/>
                  <a:gd name="T16" fmla="*/ 14 w 18"/>
                  <a:gd name="T17" fmla="*/ 4 h 10"/>
                  <a:gd name="T18" fmla="*/ 17 w 18"/>
                  <a:gd name="T19" fmla="*/ 5 h 10"/>
                  <a:gd name="T20" fmla="*/ 18 w 18"/>
                  <a:gd name="T21" fmla="*/ 8 h 10"/>
                  <a:gd name="T22" fmla="*/ 18 w 18"/>
                  <a:gd name="T23" fmla="*/ 8 h 10"/>
                  <a:gd name="T24" fmla="*/ 17 w 18"/>
                  <a:gd name="T25" fmla="*/ 8 h 10"/>
                  <a:gd name="T26" fmla="*/ 15 w 18"/>
                  <a:gd name="T27" fmla="*/ 7 h 10"/>
                  <a:gd name="T28" fmla="*/ 13 w 18"/>
                  <a:gd name="T29" fmla="*/ 5 h 10"/>
                  <a:gd name="T30" fmla="*/ 5 w 18"/>
                  <a:gd name="T31" fmla="*/ 8 h 10"/>
                  <a:gd name="T32" fmla="*/ 3 w 18"/>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0">
                    <a:moveTo>
                      <a:pt x="3" y="10"/>
                    </a:moveTo>
                    <a:lnTo>
                      <a:pt x="2" y="10"/>
                    </a:lnTo>
                    <a:lnTo>
                      <a:pt x="0" y="7"/>
                    </a:lnTo>
                    <a:lnTo>
                      <a:pt x="2" y="5"/>
                    </a:lnTo>
                    <a:lnTo>
                      <a:pt x="5" y="7"/>
                    </a:lnTo>
                    <a:lnTo>
                      <a:pt x="9" y="4"/>
                    </a:lnTo>
                    <a:lnTo>
                      <a:pt x="9" y="1"/>
                    </a:lnTo>
                    <a:lnTo>
                      <a:pt x="13" y="0"/>
                    </a:lnTo>
                    <a:lnTo>
                      <a:pt x="14" y="4"/>
                    </a:lnTo>
                    <a:lnTo>
                      <a:pt x="17" y="5"/>
                    </a:lnTo>
                    <a:lnTo>
                      <a:pt x="18" y="8"/>
                    </a:lnTo>
                    <a:lnTo>
                      <a:pt x="18" y="8"/>
                    </a:lnTo>
                    <a:lnTo>
                      <a:pt x="17" y="8"/>
                    </a:lnTo>
                    <a:lnTo>
                      <a:pt x="15" y="7"/>
                    </a:lnTo>
                    <a:lnTo>
                      <a:pt x="13" y="5"/>
                    </a:lnTo>
                    <a:lnTo>
                      <a:pt x="5" y="8"/>
                    </a:lnTo>
                    <a:lnTo>
                      <a:pt x="3" y="1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5" name="Freeform 114">
                <a:extLst>
                  <a:ext uri="{FF2B5EF4-FFF2-40B4-BE49-F238E27FC236}">
                    <a16:creationId xmlns:a16="http://schemas.microsoft.com/office/drawing/2014/main" id="{32B0F6EE-DF24-43A4-85A6-84B042774BB3}"/>
                  </a:ext>
                </a:extLst>
              </p:cNvPr>
              <p:cNvSpPr>
                <a:spLocks/>
              </p:cNvSpPr>
              <p:nvPr/>
            </p:nvSpPr>
            <p:spPr bwMode="auto">
              <a:xfrm>
                <a:off x="2185988" y="2494031"/>
                <a:ext cx="12700" cy="33338"/>
              </a:xfrm>
              <a:custGeom>
                <a:avLst/>
                <a:gdLst>
                  <a:gd name="T0" fmla="*/ 8 w 16"/>
                  <a:gd name="T1" fmla="*/ 42 h 42"/>
                  <a:gd name="T2" fmla="*/ 8 w 16"/>
                  <a:gd name="T3" fmla="*/ 42 h 42"/>
                  <a:gd name="T4" fmla="*/ 5 w 16"/>
                  <a:gd name="T5" fmla="*/ 41 h 42"/>
                  <a:gd name="T6" fmla="*/ 3 w 16"/>
                  <a:gd name="T7" fmla="*/ 40 h 42"/>
                  <a:gd name="T8" fmla="*/ 5 w 16"/>
                  <a:gd name="T9" fmla="*/ 37 h 42"/>
                  <a:gd name="T10" fmla="*/ 1 w 16"/>
                  <a:gd name="T11" fmla="*/ 35 h 42"/>
                  <a:gd name="T12" fmla="*/ 1 w 16"/>
                  <a:gd name="T13" fmla="*/ 33 h 42"/>
                  <a:gd name="T14" fmla="*/ 5 w 16"/>
                  <a:gd name="T15" fmla="*/ 29 h 42"/>
                  <a:gd name="T16" fmla="*/ 5 w 16"/>
                  <a:gd name="T17" fmla="*/ 26 h 42"/>
                  <a:gd name="T18" fmla="*/ 3 w 16"/>
                  <a:gd name="T19" fmla="*/ 26 h 42"/>
                  <a:gd name="T20" fmla="*/ 3 w 16"/>
                  <a:gd name="T21" fmla="*/ 29 h 42"/>
                  <a:gd name="T22" fmla="*/ 0 w 16"/>
                  <a:gd name="T23" fmla="*/ 27 h 42"/>
                  <a:gd name="T24" fmla="*/ 0 w 16"/>
                  <a:gd name="T25" fmla="*/ 23 h 42"/>
                  <a:gd name="T26" fmla="*/ 1 w 16"/>
                  <a:gd name="T27" fmla="*/ 23 h 42"/>
                  <a:gd name="T28" fmla="*/ 3 w 16"/>
                  <a:gd name="T29" fmla="*/ 25 h 42"/>
                  <a:gd name="T30" fmla="*/ 5 w 16"/>
                  <a:gd name="T31" fmla="*/ 23 h 42"/>
                  <a:gd name="T32" fmla="*/ 7 w 16"/>
                  <a:gd name="T33" fmla="*/ 23 h 42"/>
                  <a:gd name="T34" fmla="*/ 8 w 16"/>
                  <a:gd name="T35" fmla="*/ 21 h 42"/>
                  <a:gd name="T36" fmla="*/ 5 w 16"/>
                  <a:gd name="T37" fmla="*/ 19 h 42"/>
                  <a:gd name="T38" fmla="*/ 4 w 16"/>
                  <a:gd name="T39" fmla="*/ 12 h 42"/>
                  <a:gd name="T40" fmla="*/ 5 w 16"/>
                  <a:gd name="T41" fmla="*/ 12 h 42"/>
                  <a:gd name="T42" fmla="*/ 4 w 16"/>
                  <a:gd name="T43" fmla="*/ 7 h 42"/>
                  <a:gd name="T44" fmla="*/ 7 w 16"/>
                  <a:gd name="T45" fmla="*/ 4 h 42"/>
                  <a:gd name="T46" fmla="*/ 8 w 16"/>
                  <a:gd name="T47" fmla="*/ 4 h 42"/>
                  <a:gd name="T48" fmla="*/ 12 w 16"/>
                  <a:gd name="T49" fmla="*/ 7 h 42"/>
                  <a:gd name="T50" fmla="*/ 12 w 16"/>
                  <a:gd name="T51" fmla="*/ 3 h 42"/>
                  <a:gd name="T52" fmla="*/ 11 w 16"/>
                  <a:gd name="T53" fmla="*/ 2 h 42"/>
                  <a:gd name="T54" fmla="*/ 11 w 16"/>
                  <a:gd name="T55" fmla="*/ 0 h 42"/>
                  <a:gd name="T56" fmla="*/ 15 w 16"/>
                  <a:gd name="T57" fmla="*/ 3 h 42"/>
                  <a:gd name="T58" fmla="*/ 15 w 16"/>
                  <a:gd name="T59" fmla="*/ 3 h 42"/>
                  <a:gd name="T60" fmla="*/ 16 w 16"/>
                  <a:gd name="T61" fmla="*/ 7 h 42"/>
                  <a:gd name="T62" fmla="*/ 16 w 16"/>
                  <a:gd name="T63" fmla="*/ 12 h 42"/>
                  <a:gd name="T64" fmla="*/ 12 w 16"/>
                  <a:gd name="T65" fmla="*/ 22 h 42"/>
                  <a:gd name="T66" fmla="*/ 14 w 16"/>
                  <a:gd name="T67" fmla="*/ 25 h 42"/>
                  <a:gd name="T68" fmla="*/ 14 w 16"/>
                  <a:gd name="T69" fmla="*/ 25 h 42"/>
                  <a:gd name="T70" fmla="*/ 12 w 16"/>
                  <a:gd name="T71" fmla="*/ 27 h 42"/>
                  <a:gd name="T72" fmla="*/ 11 w 16"/>
                  <a:gd name="T73" fmla="*/ 30 h 42"/>
                  <a:gd name="T74" fmla="*/ 10 w 16"/>
                  <a:gd name="T75" fmla="*/ 31 h 42"/>
                  <a:gd name="T76" fmla="*/ 11 w 16"/>
                  <a:gd name="T77" fmla="*/ 35 h 42"/>
                  <a:gd name="T78" fmla="*/ 10 w 16"/>
                  <a:gd name="T79" fmla="*/ 41 h 42"/>
                  <a:gd name="T80" fmla="*/ 8 w 16"/>
                  <a:gd name="T8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 h="42">
                    <a:moveTo>
                      <a:pt x="8" y="42"/>
                    </a:moveTo>
                    <a:lnTo>
                      <a:pt x="8" y="42"/>
                    </a:lnTo>
                    <a:lnTo>
                      <a:pt x="5" y="41"/>
                    </a:lnTo>
                    <a:lnTo>
                      <a:pt x="3" y="40"/>
                    </a:lnTo>
                    <a:lnTo>
                      <a:pt x="5" y="37"/>
                    </a:lnTo>
                    <a:lnTo>
                      <a:pt x="1" y="35"/>
                    </a:lnTo>
                    <a:lnTo>
                      <a:pt x="1" y="33"/>
                    </a:lnTo>
                    <a:lnTo>
                      <a:pt x="5" y="29"/>
                    </a:lnTo>
                    <a:lnTo>
                      <a:pt x="5" y="26"/>
                    </a:lnTo>
                    <a:lnTo>
                      <a:pt x="3" y="26"/>
                    </a:lnTo>
                    <a:lnTo>
                      <a:pt x="3" y="29"/>
                    </a:lnTo>
                    <a:lnTo>
                      <a:pt x="0" y="27"/>
                    </a:lnTo>
                    <a:lnTo>
                      <a:pt x="0" y="23"/>
                    </a:lnTo>
                    <a:lnTo>
                      <a:pt x="1" y="23"/>
                    </a:lnTo>
                    <a:lnTo>
                      <a:pt x="3" y="25"/>
                    </a:lnTo>
                    <a:lnTo>
                      <a:pt x="5" y="23"/>
                    </a:lnTo>
                    <a:lnTo>
                      <a:pt x="7" y="23"/>
                    </a:lnTo>
                    <a:lnTo>
                      <a:pt x="8" y="21"/>
                    </a:lnTo>
                    <a:lnTo>
                      <a:pt x="5" y="19"/>
                    </a:lnTo>
                    <a:lnTo>
                      <a:pt x="4" y="12"/>
                    </a:lnTo>
                    <a:lnTo>
                      <a:pt x="5" y="12"/>
                    </a:lnTo>
                    <a:lnTo>
                      <a:pt x="4" y="7"/>
                    </a:lnTo>
                    <a:lnTo>
                      <a:pt x="7" y="4"/>
                    </a:lnTo>
                    <a:lnTo>
                      <a:pt x="8" y="4"/>
                    </a:lnTo>
                    <a:lnTo>
                      <a:pt x="12" y="7"/>
                    </a:lnTo>
                    <a:lnTo>
                      <a:pt x="12" y="3"/>
                    </a:lnTo>
                    <a:lnTo>
                      <a:pt x="11" y="2"/>
                    </a:lnTo>
                    <a:lnTo>
                      <a:pt x="11" y="0"/>
                    </a:lnTo>
                    <a:lnTo>
                      <a:pt x="15" y="3"/>
                    </a:lnTo>
                    <a:lnTo>
                      <a:pt x="15" y="3"/>
                    </a:lnTo>
                    <a:lnTo>
                      <a:pt x="16" y="7"/>
                    </a:lnTo>
                    <a:lnTo>
                      <a:pt x="16" y="12"/>
                    </a:lnTo>
                    <a:lnTo>
                      <a:pt x="12" y="22"/>
                    </a:lnTo>
                    <a:lnTo>
                      <a:pt x="14" y="25"/>
                    </a:lnTo>
                    <a:lnTo>
                      <a:pt x="14" y="25"/>
                    </a:lnTo>
                    <a:lnTo>
                      <a:pt x="12" y="27"/>
                    </a:lnTo>
                    <a:lnTo>
                      <a:pt x="11" y="30"/>
                    </a:lnTo>
                    <a:lnTo>
                      <a:pt x="10" y="31"/>
                    </a:lnTo>
                    <a:lnTo>
                      <a:pt x="11" y="35"/>
                    </a:lnTo>
                    <a:lnTo>
                      <a:pt x="10" y="41"/>
                    </a:lnTo>
                    <a:lnTo>
                      <a:pt x="8" y="4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6" name="Freeform 115">
                <a:extLst>
                  <a:ext uri="{FF2B5EF4-FFF2-40B4-BE49-F238E27FC236}">
                    <a16:creationId xmlns:a16="http://schemas.microsoft.com/office/drawing/2014/main" id="{113C0212-9818-4BAF-B8DC-427FBF2A1350}"/>
                  </a:ext>
                </a:extLst>
              </p:cNvPr>
              <p:cNvSpPr>
                <a:spLocks/>
              </p:cNvSpPr>
              <p:nvPr/>
            </p:nvSpPr>
            <p:spPr bwMode="auto">
              <a:xfrm>
                <a:off x="1995488" y="2522606"/>
                <a:ext cx="4763" cy="4763"/>
              </a:xfrm>
              <a:custGeom>
                <a:avLst/>
                <a:gdLst>
                  <a:gd name="T0" fmla="*/ 3 w 6"/>
                  <a:gd name="T1" fmla="*/ 0 h 7"/>
                  <a:gd name="T2" fmla="*/ 3 w 6"/>
                  <a:gd name="T3" fmla="*/ 4 h 7"/>
                  <a:gd name="T4" fmla="*/ 6 w 6"/>
                  <a:gd name="T5" fmla="*/ 5 h 7"/>
                  <a:gd name="T6" fmla="*/ 6 w 6"/>
                  <a:gd name="T7" fmla="*/ 7 h 7"/>
                  <a:gd name="T8" fmla="*/ 2 w 6"/>
                  <a:gd name="T9" fmla="*/ 7 h 7"/>
                  <a:gd name="T10" fmla="*/ 2 w 6"/>
                  <a:gd name="T11" fmla="*/ 7 h 7"/>
                  <a:gd name="T12" fmla="*/ 0 w 6"/>
                  <a:gd name="T13" fmla="*/ 3 h 7"/>
                  <a:gd name="T14" fmla="*/ 3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3" y="0"/>
                    </a:moveTo>
                    <a:lnTo>
                      <a:pt x="3" y="4"/>
                    </a:lnTo>
                    <a:lnTo>
                      <a:pt x="6" y="5"/>
                    </a:lnTo>
                    <a:lnTo>
                      <a:pt x="6" y="7"/>
                    </a:lnTo>
                    <a:lnTo>
                      <a:pt x="2" y="7"/>
                    </a:lnTo>
                    <a:lnTo>
                      <a:pt x="2" y="7"/>
                    </a:lnTo>
                    <a:lnTo>
                      <a:pt x="0" y="3"/>
                    </a:lnTo>
                    <a:lnTo>
                      <a:pt x="3"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7" name="Freeform 116">
                <a:extLst>
                  <a:ext uri="{FF2B5EF4-FFF2-40B4-BE49-F238E27FC236}">
                    <a16:creationId xmlns:a16="http://schemas.microsoft.com/office/drawing/2014/main" id="{168DB7F9-E003-47AE-98B7-3A6DF61993DC}"/>
                  </a:ext>
                </a:extLst>
              </p:cNvPr>
              <p:cNvSpPr>
                <a:spLocks/>
              </p:cNvSpPr>
              <p:nvPr/>
            </p:nvSpPr>
            <p:spPr bwMode="auto">
              <a:xfrm>
                <a:off x="1716088" y="2517844"/>
                <a:ext cx="6350" cy="9525"/>
              </a:xfrm>
              <a:custGeom>
                <a:avLst/>
                <a:gdLst>
                  <a:gd name="T0" fmla="*/ 7 w 8"/>
                  <a:gd name="T1" fmla="*/ 0 h 14"/>
                  <a:gd name="T2" fmla="*/ 7 w 8"/>
                  <a:gd name="T3" fmla="*/ 0 h 14"/>
                  <a:gd name="T4" fmla="*/ 8 w 8"/>
                  <a:gd name="T5" fmla="*/ 3 h 14"/>
                  <a:gd name="T6" fmla="*/ 8 w 8"/>
                  <a:gd name="T7" fmla="*/ 7 h 14"/>
                  <a:gd name="T8" fmla="*/ 5 w 8"/>
                  <a:gd name="T9" fmla="*/ 8 h 14"/>
                  <a:gd name="T10" fmla="*/ 4 w 8"/>
                  <a:gd name="T11" fmla="*/ 10 h 14"/>
                  <a:gd name="T12" fmla="*/ 5 w 8"/>
                  <a:gd name="T13" fmla="*/ 11 h 14"/>
                  <a:gd name="T14" fmla="*/ 3 w 8"/>
                  <a:gd name="T15" fmla="*/ 14 h 14"/>
                  <a:gd name="T16" fmla="*/ 0 w 8"/>
                  <a:gd name="T17" fmla="*/ 14 h 14"/>
                  <a:gd name="T18" fmla="*/ 0 w 8"/>
                  <a:gd name="T19" fmla="*/ 10 h 14"/>
                  <a:gd name="T20" fmla="*/ 1 w 8"/>
                  <a:gd name="T21" fmla="*/ 7 h 14"/>
                  <a:gd name="T22" fmla="*/ 1 w 8"/>
                  <a:gd name="T23" fmla="*/ 4 h 14"/>
                  <a:gd name="T24" fmla="*/ 5 w 8"/>
                  <a:gd name="T25" fmla="*/ 4 h 14"/>
                  <a:gd name="T26" fmla="*/ 7 w 8"/>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4">
                    <a:moveTo>
                      <a:pt x="7" y="0"/>
                    </a:moveTo>
                    <a:lnTo>
                      <a:pt x="7" y="0"/>
                    </a:lnTo>
                    <a:lnTo>
                      <a:pt x="8" y="3"/>
                    </a:lnTo>
                    <a:lnTo>
                      <a:pt x="8" y="7"/>
                    </a:lnTo>
                    <a:lnTo>
                      <a:pt x="5" y="8"/>
                    </a:lnTo>
                    <a:lnTo>
                      <a:pt x="4" y="10"/>
                    </a:lnTo>
                    <a:lnTo>
                      <a:pt x="5" y="11"/>
                    </a:lnTo>
                    <a:lnTo>
                      <a:pt x="3" y="14"/>
                    </a:lnTo>
                    <a:lnTo>
                      <a:pt x="0" y="14"/>
                    </a:lnTo>
                    <a:lnTo>
                      <a:pt x="0" y="10"/>
                    </a:lnTo>
                    <a:lnTo>
                      <a:pt x="1" y="7"/>
                    </a:lnTo>
                    <a:lnTo>
                      <a:pt x="1" y="4"/>
                    </a:lnTo>
                    <a:lnTo>
                      <a:pt x="5" y="4"/>
                    </a:lnTo>
                    <a:lnTo>
                      <a:pt x="7"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8" name="Freeform 117">
                <a:extLst>
                  <a:ext uri="{FF2B5EF4-FFF2-40B4-BE49-F238E27FC236}">
                    <a16:creationId xmlns:a16="http://schemas.microsoft.com/office/drawing/2014/main" id="{3080B688-9399-46C9-9F09-DE659DCAB9C9}"/>
                  </a:ext>
                </a:extLst>
              </p:cNvPr>
              <p:cNvSpPr>
                <a:spLocks/>
              </p:cNvSpPr>
              <p:nvPr/>
            </p:nvSpPr>
            <p:spPr bwMode="auto">
              <a:xfrm>
                <a:off x="1738313" y="2436881"/>
                <a:ext cx="139700" cy="93663"/>
              </a:xfrm>
              <a:custGeom>
                <a:avLst/>
                <a:gdLst>
                  <a:gd name="T0" fmla="*/ 81 w 176"/>
                  <a:gd name="T1" fmla="*/ 102 h 118"/>
                  <a:gd name="T2" fmla="*/ 85 w 176"/>
                  <a:gd name="T3" fmla="*/ 90 h 118"/>
                  <a:gd name="T4" fmla="*/ 57 w 176"/>
                  <a:gd name="T5" fmla="*/ 83 h 118"/>
                  <a:gd name="T6" fmla="*/ 50 w 176"/>
                  <a:gd name="T7" fmla="*/ 72 h 118"/>
                  <a:gd name="T8" fmla="*/ 39 w 176"/>
                  <a:gd name="T9" fmla="*/ 79 h 118"/>
                  <a:gd name="T10" fmla="*/ 22 w 176"/>
                  <a:gd name="T11" fmla="*/ 75 h 118"/>
                  <a:gd name="T12" fmla="*/ 22 w 176"/>
                  <a:gd name="T13" fmla="*/ 68 h 118"/>
                  <a:gd name="T14" fmla="*/ 7 w 176"/>
                  <a:gd name="T15" fmla="*/ 67 h 118"/>
                  <a:gd name="T16" fmla="*/ 7 w 176"/>
                  <a:gd name="T17" fmla="*/ 56 h 118"/>
                  <a:gd name="T18" fmla="*/ 9 w 176"/>
                  <a:gd name="T19" fmla="*/ 48 h 118"/>
                  <a:gd name="T20" fmla="*/ 22 w 176"/>
                  <a:gd name="T21" fmla="*/ 34 h 118"/>
                  <a:gd name="T22" fmla="*/ 38 w 176"/>
                  <a:gd name="T23" fmla="*/ 22 h 118"/>
                  <a:gd name="T24" fmla="*/ 50 w 176"/>
                  <a:gd name="T25" fmla="*/ 34 h 118"/>
                  <a:gd name="T26" fmla="*/ 65 w 176"/>
                  <a:gd name="T27" fmla="*/ 32 h 118"/>
                  <a:gd name="T28" fmla="*/ 76 w 176"/>
                  <a:gd name="T29" fmla="*/ 14 h 118"/>
                  <a:gd name="T30" fmla="*/ 88 w 176"/>
                  <a:gd name="T31" fmla="*/ 6 h 118"/>
                  <a:gd name="T32" fmla="*/ 81 w 176"/>
                  <a:gd name="T33" fmla="*/ 17 h 118"/>
                  <a:gd name="T34" fmla="*/ 84 w 176"/>
                  <a:gd name="T35" fmla="*/ 27 h 118"/>
                  <a:gd name="T36" fmla="*/ 94 w 176"/>
                  <a:gd name="T37" fmla="*/ 33 h 118"/>
                  <a:gd name="T38" fmla="*/ 98 w 176"/>
                  <a:gd name="T39" fmla="*/ 27 h 118"/>
                  <a:gd name="T40" fmla="*/ 114 w 176"/>
                  <a:gd name="T41" fmla="*/ 27 h 118"/>
                  <a:gd name="T42" fmla="*/ 99 w 176"/>
                  <a:gd name="T43" fmla="*/ 22 h 118"/>
                  <a:gd name="T44" fmla="*/ 119 w 176"/>
                  <a:gd name="T45" fmla="*/ 8 h 118"/>
                  <a:gd name="T46" fmla="*/ 128 w 176"/>
                  <a:gd name="T47" fmla="*/ 2 h 118"/>
                  <a:gd name="T48" fmla="*/ 134 w 176"/>
                  <a:gd name="T49" fmla="*/ 11 h 118"/>
                  <a:gd name="T50" fmla="*/ 138 w 176"/>
                  <a:gd name="T51" fmla="*/ 18 h 118"/>
                  <a:gd name="T52" fmla="*/ 137 w 176"/>
                  <a:gd name="T53" fmla="*/ 25 h 118"/>
                  <a:gd name="T54" fmla="*/ 132 w 176"/>
                  <a:gd name="T55" fmla="*/ 30 h 118"/>
                  <a:gd name="T56" fmla="*/ 149 w 176"/>
                  <a:gd name="T57" fmla="*/ 29 h 118"/>
                  <a:gd name="T58" fmla="*/ 152 w 176"/>
                  <a:gd name="T59" fmla="*/ 23 h 118"/>
                  <a:gd name="T60" fmla="*/ 151 w 176"/>
                  <a:gd name="T61" fmla="*/ 36 h 118"/>
                  <a:gd name="T62" fmla="*/ 161 w 176"/>
                  <a:gd name="T63" fmla="*/ 32 h 118"/>
                  <a:gd name="T64" fmla="*/ 164 w 176"/>
                  <a:gd name="T65" fmla="*/ 27 h 118"/>
                  <a:gd name="T66" fmla="*/ 176 w 176"/>
                  <a:gd name="T67" fmla="*/ 37 h 118"/>
                  <a:gd name="T68" fmla="*/ 164 w 176"/>
                  <a:gd name="T69" fmla="*/ 56 h 118"/>
                  <a:gd name="T70" fmla="*/ 148 w 176"/>
                  <a:gd name="T71" fmla="*/ 44 h 118"/>
                  <a:gd name="T72" fmla="*/ 134 w 176"/>
                  <a:gd name="T73" fmla="*/ 36 h 118"/>
                  <a:gd name="T74" fmla="*/ 130 w 176"/>
                  <a:gd name="T75" fmla="*/ 41 h 118"/>
                  <a:gd name="T76" fmla="*/ 133 w 176"/>
                  <a:gd name="T77" fmla="*/ 50 h 118"/>
                  <a:gd name="T78" fmla="*/ 140 w 176"/>
                  <a:gd name="T79" fmla="*/ 53 h 118"/>
                  <a:gd name="T80" fmla="*/ 144 w 176"/>
                  <a:gd name="T81" fmla="*/ 63 h 118"/>
                  <a:gd name="T82" fmla="*/ 141 w 176"/>
                  <a:gd name="T83" fmla="*/ 67 h 118"/>
                  <a:gd name="T84" fmla="*/ 157 w 176"/>
                  <a:gd name="T85" fmla="*/ 65 h 118"/>
                  <a:gd name="T86" fmla="*/ 159 w 176"/>
                  <a:gd name="T87" fmla="*/ 76 h 118"/>
                  <a:gd name="T88" fmla="*/ 144 w 176"/>
                  <a:gd name="T89" fmla="*/ 88 h 118"/>
                  <a:gd name="T90" fmla="*/ 129 w 176"/>
                  <a:gd name="T91" fmla="*/ 86 h 118"/>
                  <a:gd name="T92" fmla="*/ 125 w 176"/>
                  <a:gd name="T93" fmla="*/ 87 h 118"/>
                  <a:gd name="T94" fmla="*/ 115 w 176"/>
                  <a:gd name="T95" fmla="*/ 91 h 118"/>
                  <a:gd name="T96" fmla="*/ 140 w 176"/>
                  <a:gd name="T97" fmla="*/ 90 h 118"/>
                  <a:gd name="T98" fmla="*/ 149 w 176"/>
                  <a:gd name="T99" fmla="*/ 98 h 118"/>
                  <a:gd name="T100" fmla="*/ 137 w 176"/>
                  <a:gd name="T101" fmla="*/ 117 h 118"/>
                  <a:gd name="T102" fmla="*/ 126 w 176"/>
                  <a:gd name="T103" fmla="*/ 103 h 118"/>
                  <a:gd name="T104" fmla="*/ 129 w 176"/>
                  <a:gd name="T105" fmla="*/ 93 h 118"/>
                  <a:gd name="T106" fmla="*/ 123 w 176"/>
                  <a:gd name="T107" fmla="*/ 109 h 118"/>
                  <a:gd name="T108" fmla="*/ 128 w 176"/>
                  <a:gd name="T109" fmla="*/ 117 h 118"/>
                  <a:gd name="T110" fmla="*/ 117 w 176"/>
                  <a:gd name="T111" fmla="*/ 117 h 118"/>
                  <a:gd name="T112" fmla="*/ 94 w 176"/>
                  <a:gd name="T113" fmla="*/ 114 h 118"/>
                  <a:gd name="T114" fmla="*/ 84 w 176"/>
                  <a:gd name="T115"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6" h="118">
                    <a:moveTo>
                      <a:pt x="83" y="116"/>
                    </a:moveTo>
                    <a:lnTo>
                      <a:pt x="81" y="113"/>
                    </a:lnTo>
                    <a:lnTo>
                      <a:pt x="83" y="112"/>
                    </a:lnTo>
                    <a:lnTo>
                      <a:pt x="84" y="110"/>
                    </a:lnTo>
                    <a:lnTo>
                      <a:pt x="85" y="107"/>
                    </a:lnTo>
                    <a:lnTo>
                      <a:pt x="81" y="106"/>
                    </a:lnTo>
                    <a:lnTo>
                      <a:pt x="81" y="102"/>
                    </a:lnTo>
                    <a:lnTo>
                      <a:pt x="79" y="102"/>
                    </a:lnTo>
                    <a:lnTo>
                      <a:pt x="72" y="93"/>
                    </a:lnTo>
                    <a:lnTo>
                      <a:pt x="75" y="91"/>
                    </a:lnTo>
                    <a:lnTo>
                      <a:pt x="77" y="93"/>
                    </a:lnTo>
                    <a:lnTo>
                      <a:pt x="79" y="91"/>
                    </a:lnTo>
                    <a:lnTo>
                      <a:pt x="84" y="91"/>
                    </a:lnTo>
                    <a:lnTo>
                      <a:pt x="85" y="90"/>
                    </a:lnTo>
                    <a:lnTo>
                      <a:pt x="84" y="88"/>
                    </a:lnTo>
                    <a:lnTo>
                      <a:pt x="84" y="88"/>
                    </a:lnTo>
                    <a:lnTo>
                      <a:pt x="77" y="90"/>
                    </a:lnTo>
                    <a:lnTo>
                      <a:pt x="69" y="90"/>
                    </a:lnTo>
                    <a:lnTo>
                      <a:pt x="61" y="84"/>
                    </a:lnTo>
                    <a:lnTo>
                      <a:pt x="58" y="84"/>
                    </a:lnTo>
                    <a:lnTo>
                      <a:pt x="57" y="83"/>
                    </a:lnTo>
                    <a:lnTo>
                      <a:pt x="57" y="83"/>
                    </a:lnTo>
                    <a:lnTo>
                      <a:pt x="56" y="82"/>
                    </a:lnTo>
                    <a:lnTo>
                      <a:pt x="53" y="80"/>
                    </a:lnTo>
                    <a:lnTo>
                      <a:pt x="50" y="78"/>
                    </a:lnTo>
                    <a:lnTo>
                      <a:pt x="50" y="76"/>
                    </a:lnTo>
                    <a:lnTo>
                      <a:pt x="52" y="72"/>
                    </a:lnTo>
                    <a:lnTo>
                      <a:pt x="50" y="72"/>
                    </a:lnTo>
                    <a:lnTo>
                      <a:pt x="49" y="74"/>
                    </a:lnTo>
                    <a:lnTo>
                      <a:pt x="42" y="69"/>
                    </a:lnTo>
                    <a:lnTo>
                      <a:pt x="41" y="69"/>
                    </a:lnTo>
                    <a:lnTo>
                      <a:pt x="41" y="71"/>
                    </a:lnTo>
                    <a:lnTo>
                      <a:pt x="43" y="72"/>
                    </a:lnTo>
                    <a:lnTo>
                      <a:pt x="43" y="75"/>
                    </a:lnTo>
                    <a:lnTo>
                      <a:pt x="39" y="79"/>
                    </a:lnTo>
                    <a:lnTo>
                      <a:pt x="35" y="79"/>
                    </a:lnTo>
                    <a:lnTo>
                      <a:pt x="33" y="83"/>
                    </a:lnTo>
                    <a:lnTo>
                      <a:pt x="33" y="83"/>
                    </a:lnTo>
                    <a:lnTo>
                      <a:pt x="28" y="80"/>
                    </a:lnTo>
                    <a:lnTo>
                      <a:pt x="24" y="80"/>
                    </a:lnTo>
                    <a:lnTo>
                      <a:pt x="23" y="76"/>
                    </a:lnTo>
                    <a:lnTo>
                      <a:pt x="22" y="75"/>
                    </a:lnTo>
                    <a:lnTo>
                      <a:pt x="20" y="74"/>
                    </a:lnTo>
                    <a:lnTo>
                      <a:pt x="24" y="69"/>
                    </a:lnTo>
                    <a:lnTo>
                      <a:pt x="23" y="67"/>
                    </a:lnTo>
                    <a:lnTo>
                      <a:pt x="22" y="65"/>
                    </a:lnTo>
                    <a:lnTo>
                      <a:pt x="20" y="65"/>
                    </a:lnTo>
                    <a:lnTo>
                      <a:pt x="20" y="67"/>
                    </a:lnTo>
                    <a:lnTo>
                      <a:pt x="22" y="68"/>
                    </a:lnTo>
                    <a:lnTo>
                      <a:pt x="22" y="71"/>
                    </a:lnTo>
                    <a:lnTo>
                      <a:pt x="20" y="71"/>
                    </a:lnTo>
                    <a:lnTo>
                      <a:pt x="20" y="71"/>
                    </a:lnTo>
                    <a:lnTo>
                      <a:pt x="15" y="69"/>
                    </a:lnTo>
                    <a:lnTo>
                      <a:pt x="12" y="67"/>
                    </a:lnTo>
                    <a:lnTo>
                      <a:pt x="9" y="68"/>
                    </a:lnTo>
                    <a:lnTo>
                      <a:pt x="7" y="67"/>
                    </a:lnTo>
                    <a:lnTo>
                      <a:pt x="7" y="63"/>
                    </a:lnTo>
                    <a:lnTo>
                      <a:pt x="4" y="60"/>
                    </a:lnTo>
                    <a:lnTo>
                      <a:pt x="1" y="61"/>
                    </a:lnTo>
                    <a:lnTo>
                      <a:pt x="0" y="60"/>
                    </a:lnTo>
                    <a:lnTo>
                      <a:pt x="1" y="57"/>
                    </a:lnTo>
                    <a:lnTo>
                      <a:pt x="4" y="56"/>
                    </a:lnTo>
                    <a:lnTo>
                      <a:pt x="7" y="56"/>
                    </a:lnTo>
                    <a:lnTo>
                      <a:pt x="7" y="59"/>
                    </a:lnTo>
                    <a:lnTo>
                      <a:pt x="9" y="60"/>
                    </a:lnTo>
                    <a:lnTo>
                      <a:pt x="9" y="60"/>
                    </a:lnTo>
                    <a:lnTo>
                      <a:pt x="11" y="55"/>
                    </a:lnTo>
                    <a:lnTo>
                      <a:pt x="12" y="52"/>
                    </a:lnTo>
                    <a:lnTo>
                      <a:pt x="12" y="49"/>
                    </a:lnTo>
                    <a:lnTo>
                      <a:pt x="9" y="48"/>
                    </a:lnTo>
                    <a:lnTo>
                      <a:pt x="12" y="48"/>
                    </a:lnTo>
                    <a:lnTo>
                      <a:pt x="12" y="45"/>
                    </a:lnTo>
                    <a:lnTo>
                      <a:pt x="14" y="45"/>
                    </a:lnTo>
                    <a:lnTo>
                      <a:pt x="16" y="46"/>
                    </a:lnTo>
                    <a:lnTo>
                      <a:pt x="19" y="42"/>
                    </a:lnTo>
                    <a:lnTo>
                      <a:pt x="18" y="38"/>
                    </a:lnTo>
                    <a:lnTo>
                      <a:pt x="22" y="34"/>
                    </a:lnTo>
                    <a:lnTo>
                      <a:pt x="22" y="32"/>
                    </a:lnTo>
                    <a:lnTo>
                      <a:pt x="23" y="29"/>
                    </a:lnTo>
                    <a:lnTo>
                      <a:pt x="22" y="26"/>
                    </a:lnTo>
                    <a:lnTo>
                      <a:pt x="26" y="22"/>
                    </a:lnTo>
                    <a:lnTo>
                      <a:pt x="26" y="22"/>
                    </a:lnTo>
                    <a:lnTo>
                      <a:pt x="33" y="23"/>
                    </a:lnTo>
                    <a:lnTo>
                      <a:pt x="38" y="22"/>
                    </a:lnTo>
                    <a:lnTo>
                      <a:pt x="38" y="23"/>
                    </a:lnTo>
                    <a:lnTo>
                      <a:pt x="39" y="26"/>
                    </a:lnTo>
                    <a:lnTo>
                      <a:pt x="42" y="29"/>
                    </a:lnTo>
                    <a:lnTo>
                      <a:pt x="46" y="29"/>
                    </a:lnTo>
                    <a:lnTo>
                      <a:pt x="47" y="30"/>
                    </a:lnTo>
                    <a:lnTo>
                      <a:pt x="47" y="33"/>
                    </a:lnTo>
                    <a:lnTo>
                      <a:pt x="50" y="34"/>
                    </a:lnTo>
                    <a:lnTo>
                      <a:pt x="52" y="36"/>
                    </a:lnTo>
                    <a:lnTo>
                      <a:pt x="50" y="37"/>
                    </a:lnTo>
                    <a:lnTo>
                      <a:pt x="56" y="37"/>
                    </a:lnTo>
                    <a:lnTo>
                      <a:pt x="61" y="41"/>
                    </a:lnTo>
                    <a:lnTo>
                      <a:pt x="64" y="37"/>
                    </a:lnTo>
                    <a:lnTo>
                      <a:pt x="64" y="33"/>
                    </a:lnTo>
                    <a:lnTo>
                      <a:pt x="65" y="32"/>
                    </a:lnTo>
                    <a:lnTo>
                      <a:pt x="66" y="29"/>
                    </a:lnTo>
                    <a:lnTo>
                      <a:pt x="64" y="26"/>
                    </a:lnTo>
                    <a:lnTo>
                      <a:pt x="64" y="25"/>
                    </a:lnTo>
                    <a:lnTo>
                      <a:pt x="75" y="21"/>
                    </a:lnTo>
                    <a:lnTo>
                      <a:pt x="77" y="17"/>
                    </a:lnTo>
                    <a:lnTo>
                      <a:pt x="77" y="14"/>
                    </a:lnTo>
                    <a:lnTo>
                      <a:pt x="76" y="14"/>
                    </a:lnTo>
                    <a:lnTo>
                      <a:pt x="76" y="13"/>
                    </a:lnTo>
                    <a:lnTo>
                      <a:pt x="79" y="11"/>
                    </a:lnTo>
                    <a:lnTo>
                      <a:pt x="80" y="8"/>
                    </a:lnTo>
                    <a:lnTo>
                      <a:pt x="83" y="10"/>
                    </a:lnTo>
                    <a:lnTo>
                      <a:pt x="84" y="3"/>
                    </a:lnTo>
                    <a:lnTo>
                      <a:pt x="87" y="3"/>
                    </a:lnTo>
                    <a:lnTo>
                      <a:pt x="88" y="6"/>
                    </a:lnTo>
                    <a:lnTo>
                      <a:pt x="88" y="7"/>
                    </a:lnTo>
                    <a:lnTo>
                      <a:pt x="83" y="10"/>
                    </a:lnTo>
                    <a:lnTo>
                      <a:pt x="83" y="11"/>
                    </a:lnTo>
                    <a:lnTo>
                      <a:pt x="87" y="21"/>
                    </a:lnTo>
                    <a:lnTo>
                      <a:pt x="85" y="21"/>
                    </a:lnTo>
                    <a:lnTo>
                      <a:pt x="84" y="17"/>
                    </a:lnTo>
                    <a:lnTo>
                      <a:pt x="81" y="17"/>
                    </a:lnTo>
                    <a:lnTo>
                      <a:pt x="79" y="22"/>
                    </a:lnTo>
                    <a:lnTo>
                      <a:pt x="77" y="25"/>
                    </a:lnTo>
                    <a:lnTo>
                      <a:pt x="81" y="26"/>
                    </a:lnTo>
                    <a:lnTo>
                      <a:pt x="84" y="25"/>
                    </a:lnTo>
                    <a:lnTo>
                      <a:pt x="85" y="26"/>
                    </a:lnTo>
                    <a:lnTo>
                      <a:pt x="87" y="27"/>
                    </a:lnTo>
                    <a:lnTo>
                      <a:pt x="84" y="27"/>
                    </a:lnTo>
                    <a:lnTo>
                      <a:pt x="84" y="29"/>
                    </a:lnTo>
                    <a:lnTo>
                      <a:pt x="85" y="29"/>
                    </a:lnTo>
                    <a:lnTo>
                      <a:pt x="85" y="29"/>
                    </a:lnTo>
                    <a:lnTo>
                      <a:pt x="90" y="27"/>
                    </a:lnTo>
                    <a:lnTo>
                      <a:pt x="94" y="27"/>
                    </a:lnTo>
                    <a:lnTo>
                      <a:pt x="94" y="29"/>
                    </a:lnTo>
                    <a:lnTo>
                      <a:pt x="94" y="33"/>
                    </a:lnTo>
                    <a:lnTo>
                      <a:pt x="95" y="36"/>
                    </a:lnTo>
                    <a:lnTo>
                      <a:pt x="95" y="36"/>
                    </a:lnTo>
                    <a:lnTo>
                      <a:pt x="98" y="36"/>
                    </a:lnTo>
                    <a:lnTo>
                      <a:pt x="96" y="33"/>
                    </a:lnTo>
                    <a:lnTo>
                      <a:pt x="99" y="30"/>
                    </a:lnTo>
                    <a:lnTo>
                      <a:pt x="96" y="30"/>
                    </a:lnTo>
                    <a:lnTo>
                      <a:pt x="98" y="27"/>
                    </a:lnTo>
                    <a:lnTo>
                      <a:pt x="100" y="29"/>
                    </a:lnTo>
                    <a:lnTo>
                      <a:pt x="103" y="32"/>
                    </a:lnTo>
                    <a:lnTo>
                      <a:pt x="107" y="29"/>
                    </a:lnTo>
                    <a:lnTo>
                      <a:pt x="106" y="27"/>
                    </a:lnTo>
                    <a:lnTo>
                      <a:pt x="109" y="26"/>
                    </a:lnTo>
                    <a:lnTo>
                      <a:pt x="114" y="29"/>
                    </a:lnTo>
                    <a:lnTo>
                      <a:pt x="114" y="27"/>
                    </a:lnTo>
                    <a:lnTo>
                      <a:pt x="115" y="27"/>
                    </a:lnTo>
                    <a:lnTo>
                      <a:pt x="110" y="25"/>
                    </a:lnTo>
                    <a:lnTo>
                      <a:pt x="110" y="25"/>
                    </a:lnTo>
                    <a:lnTo>
                      <a:pt x="107" y="25"/>
                    </a:lnTo>
                    <a:lnTo>
                      <a:pt x="104" y="25"/>
                    </a:lnTo>
                    <a:lnTo>
                      <a:pt x="102" y="23"/>
                    </a:lnTo>
                    <a:lnTo>
                      <a:pt x="99" y="22"/>
                    </a:lnTo>
                    <a:lnTo>
                      <a:pt x="102" y="21"/>
                    </a:lnTo>
                    <a:lnTo>
                      <a:pt x="106" y="21"/>
                    </a:lnTo>
                    <a:lnTo>
                      <a:pt x="106" y="21"/>
                    </a:lnTo>
                    <a:lnTo>
                      <a:pt x="109" y="18"/>
                    </a:lnTo>
                    <a:lnTo>
                      <a:pt x="113" y="17"/>
                    </a:lnTo>
                    <a:lnTo>
                      <a:pt x="114" y="11"/>
                    </a:lnTo>
                    <a:lnTo>
                      <a:pt x="119" y="8"/>
                    </a:lnTo>
                    <a:lnTo>
                      <a:pt x="121" y="6"/>
                    </a:lnTo>
                    <a:lnTo>
                      <a:pt x="122" y="6"/>
                    </a:lnTo>
                    <a:lnTo>
                      <a:pt x="123" y="8"/>
                    </a:lnTo>
                    <a:lnTo>
                      <a:pt x="125" y="8"/>
                    </a:lnTo>
                    <a:lnTo>
                      <a:pt x="125" y="8"/>
                    </a:lnTo>
                    <a:lnTo>
                      <a:pt x="126" y="4"/>
                    </a:lnTo>
                    <a:lnTo>
                      <a:pt x="128" y="2"/>
                    </a:lnTo>
                    <a:lnTo>
                      <a:pt x="130" y="0"/>
                    </a:lnTo>
                    <a:lnTo>
                      <a:pt x="133" y="2"/>
                    </a:lnTo>
                    <a:lnTo>
                      <a:pt x="130" y="4"/>
                    </a:lnTo>
                    <a:lnTo>
                      <a:pt x="132" y="6"/>
                    </a:lnTo>
                    <a:lnTo>
                      <a:pt x="137" y="8"/>
                    </a:lnTo>
                    <a:lnTo>
                      <a:pt x="138" y="10"/>
                    </a:lnTo>
                    <a:lnTo>
                      <a:pt x="134" y="11"/>
                    </a:lnTo>
                    <a:lnTo>
                      <a:pt x="138" y="11"/>
                    </a:lnTo>
                    <a:lnTo>
                      <a:pt x="141" y="14"/>
                    </a:lnTo>
                    <a:lnTo>
                      <a:pt x="144" y="14"/>
                    </a:lnTo>
                    <a:lnTo>
                      <a:pt x="142" y="18"/>
                    </a:lnTo>
                    <a:lnTo>
                      <a:pt x="140" y="19"/>
                    </a:lnTo>
                    <a:lnTo>
                      <a:pt x="138" y="18"/>
                    </a:lnTo>
                    <a:lnTo>
                      <a:pt x="138" y="18"/>
                    </a:lnTo>
                    <a:lnTo>
                      <a:pt x="137" y="21"/>
                    </a:lnTo>
                    <a:lnTo>
                      <a:pt x="136" y="23"/>
                    </a:lnTo>
                    <a:lnTo>
                      <a:pt x="136" y="23"/>
                    </a:lnTo>
                    <a:lnTo>
                      <a:pt x="138" y="23"/>
                    </a:lnTo>
                    <a:lnTo>
                      <a:pt x="140" y="25"/>
                    </a:lnTo>
                    <a:lnTo>
                      <a:pt x="140" y="25"/>
                    </a:lnTo>
                    <a:lnTo>
                      <a:pt x="137" y="25"/>
                    </a:lnTo>
                    <a:lnTo>
                      <a:pt x="133" y="25"/>
                    </a:lnTo>
                    <a:lnTo>
                      <a:pt x="126" y="23"/>
                    </a:lnTo>
                    <a:lnTo>
                      <a:pt x="123" y="25"/>
                    </a:lnTo>
                    <a:lnTo>
                      <a:pt x="126" y="26"/>
                    </a:lnTo>
                    <a:lnTo>
                      <a:pt x="128" y="26"/>
                    </a:lnTo>
                    <a:lnTo>
                      <a:pt x="132" y="27"/>
                    </a:lnTo>
                    <a:lnTo>
                      <a:pt x="132" y="30"/>
                    </a:lnTo>
                    <a:lnTo>
                      <a:pt x="133" y="30"/>
                    </a:lnTo>
                    <a:lnTo>
                      <a:pt x="136" y="32"/>
                    </a:lnTo>
                    <a:lnTo>
                      <a:pt x="140" y="30"/>
                    </a:lnTo>
                    <a:lnTo>
                      <a:pt x="140" y="27"/>
                    </a:lnTo>
                    <a:lnTo>
                      <a:pt x="142" y="27"/>
                    </a:lnTo>
                    <a:lnTo>
                      <a:pt x="145" y="30"/>
                    </a:lnTo>
                    <a:lnTo>
                      <a:pt x="149" y="29"/>
                    </a:lnTo>
                    <a:lnTo>
                      <a:pt x="148" y="27"/>
                    </a:lnTo>
                    <a:lnTo>
                      <a:pt x="148" y="27"/>
                    </a:lnTo>
                    <a:lnTo>
                      <a:pt x="149" y="25"/>
                    </a:lnTo>
                    <a:lnTo>
                      <a:pt x="152" y="22"/>
                    </a:lnTo>
                    <a:lnTo>
                      <a:pt x="153" y="21"/>
                    </a:lnTo>
                    <a:lnTo>
                      <a:pt x="153" y="23"/>
                    </a:lnTo>
                    <a:lnTo>
                      <a:pt x="152" y="23"/>
                    </a:lnTo>
                    <a:lnTo>
                      <a:pt x="153" y="25"/>
                    </a:lnTo>
                    <a:lnTo>
                      <a:pt x="151" y="26"/>
                    </a:lnTo>
                    <a:lnTo>
                      <a:pt x="152" y="29"/>
                    </a:lnTo>
                    <a:lnTo>
                      <a:pt x="149" y="29"/>
                    </a:lnTo>
                    <a:lnTo>
                      <a:pt x="148" y="32"/>
                    </a:lnTo>
                    <a:lnTo>
                      <a:pt x="149" y="34"/>
                    </a:lnTo>
                    <a:lnTo>
                      <a:pt x="151" y="36"/>
                    </a:lnTo>
                    <a:lnTo>
                      <a:pt x="153" y="33"/>
                    </a:lnTo>
                    <a:lnTo>
                      <a:pt x="156" y="33"/>
                    </a:lnTo>
                    <a:lnTo>
                      <a:pt x="157" y="32"/>
                    </a:lnTo>
                    <a:lnTo>
                      <a:pt x="153" y="32"/>
                    </a:lnTo>
                    <a:lnTo>
                      <a:pt x="152" y="30"/>
                    </a:lnTo>
                    <a:lnTo>
                      <a:pt x="153" y="29"/>
                    </a:lnTo>
                    <a:lnTo>
                      <a:pt x="161" y="32"/>
                    </a:lnTo>
                    <a:lnTo>
                      <a:pt x="163" y="30"/>
                    </a:lnTo>
                    <a:lnTo>
                      <a:pt x="161" y="27"/>
                    </a:lnTo>
                    <a:lnTo>
                      <a:pt x="157" y="27"/>
                    </a:lnTo>
                    <a:lnTo>
                      <a:pt x="157" y="27"/>
                    </a:lnTo>
                    <a:lnTo>
                      <a:pt x="156" y="23"/>
                    </a:lnTo>
                    <a:lnTo>
                      <a:pt x="159" y="23"/>
                    </a:lnTo>
                    <a:lnTo>
                      <a:pt x="164" y="27"/>
                    </a:lnTo>
                    <a:lnTo>
                      <a:pt x="167" y="33"/>
                    </a:lnTo>
                    <a:lnTo>
                      <a:pt x="168" y="32"/>
                    </a:lnTo>
                    <a:lnTo>
                      <a:pt x="171" y="33"/>
                    </a:lnTo>
                    <a:lnTo>
                      <a:pt x="172" y="32"/>
                    </a:lnTo>
                    <a:lnTo>
                      <a:pt x="176" y="34"/>
                    </a:lnTo>
                    <a:lnTo>
                      <a:pt x="176" y="37"/>
                    </a:lnTo>
                    <a:lnTo>
                      <a:pt x="176" y="37"/>
                    </a:lnTo>
                    <a:lnTo>
                      <a:pt x="172" y="41"/>
                    </a:lnTo>
                    <a:lnTo>
                      <a:pt x="171" y="44"/>
                    </a:lnTo>
                    <a:lnTo>
                      <a:pt x="171" y="45"/>
                    </a:lnTo>
                    <a:lnTo>
                      <a:pt x="167" y="49"/>
                    </a:lnTo>
                    <a:lnTo>
                      <a:pt x="167" y="49"/>
                    </a:lnTo>
                    <a:lnTo>
                      <a:pt x="166" y="53"/>
                    </a:lnTo>
                    <a:lnTo>
                      <a:pt x="164" y="56"/>
                    </a:lnTo>
                    <a:lnTo>
                      <a:pt x="164" y="56"/>
                    </a:lnTo>
                    <a:lnTo>
                      <a:pt x="160" y="53"/>
                    </a:lnTo>
                    <a:lnTo>
                      <a:pt x="156" y="49"/>
                    </a:lnTo>
                    <a:lnTo>
                      <a:pt x="153" y="46"/>
                    </a:lnTo>
                    <a:lnTo>
                      <a:pt x="151" y="44"/>
                    </a:lnTo>
                    <a:lnTo>
                      <a:pt x="151" y="44"/>
                    </a:lnTo>
                    <a:lnTo>
                      <a:pt x="148" y="44"/>
                    </a:lnTo>
                    <a:lnTo>
                      <a:pt x="145" y="44"/>
                    </a:lnTo>
                    <a:lnTo>
                      <a:pt x="141" y="41"/>
                    </a:lnTo>
                    <a:lnTo>
                      <a:pt x="140" y="41"/>
                    </a:lnTo>
                    <a:lnTo>
                      <a:pt x="140" y="40"/>
                    </a:lnTo>
                    <a:lnTo>
                      <a:pt x="141" y="36"/>
                    </a:lnTo>
                    <a:lnTo>
                      <a:pt x="140" y="34"/>
                    </a:lnTo>
                    <a:lnTo>
                      <a:pt x="134" y="36"/>
                    </a:lnTo>
                    <a:lnTo>
                      <a:pt x="133" y="34"/>
                    </a:lnTo>
                    <a:lnTo>
                      <a:pt x="130" y="34"/>
                    </a:lnTo>
                    <a:lnTo>
                      <a:pt x="129" y="37"/>
                    </a:lnTo>
                    <a:lnTo>
                      <a:pt x="122" y="37"/>
                    </a:lnTo>
                    <a:lnTo>
                      <a:pt x="122" y="37"/>
                    </a:lnTo>
                    <a:lnTo>
                      <a:pt x="125" y="40"/>
                    </a:lnTo>
                    <a:lnTo>
                      <a:pt x="130" y="41"/>
                    </a:lnTo>
                    <a:lnTo>
                      <a:pt x="132" y="42"/>
                    </a:lnTo>
                    <a:lnTo>
                      <a:pt x="130" y="46"/>
                    </a:lnTo>
                    <a:lnTo>
                      <a:pt x="128" y="46"/>
                    </a:lnTo>
                    <a:lnTo>
                      <a:pt x="126" y="48"/>
                    </a:lnTo>
                    <a:lnTo>
                      <a:pt x="128" y="49"/>
                    </a:lnTo>
                    <a:lnTo>
                      <a:pt x="130" y="49"/>
                    </a:lnTo>
                    <a:lnTo>
                      <a:pt x="133" y="50"/>
                    </a:lnTo>
                    <a:lnTo>
                      <a:pt x="133" y="50"/>
                    </a:lnTo>
                    <a:lnTo>
                      <a:pt x="138" y="52"/>
                    </a:lnTo>
                    <a:lnTo>
                      <a:pt x="142" y="52"/>
                    </a:lnTo>
                    <a:lnTo>
                      <a:pt x="145" y="55"/>
                    </a:lnTo>
                    <a:lnTo>
                      <a:pt x="142" y="55"/>
                    </a:lnTo>
                    <a:lnTo>
                      <a:pt x="142" y="55"/>
                    </a:lnTo>
                    <a:lnTo>
                      <a:pt x="140" y="53"/>
                    </a:lnTo>
                    <a:lnTo>
                      <a:pt x="137" y="53"/>
                    </a:lnTo>
                    <a:lnTo>
                      <a:pt x="140" y="57"/>
                    </a:lnTo>
                    <a:lnTo>
                      <a:pt x="142" y="56"/>
                    </a:lnTo>
                    <a:lnTo>
                      <a:pt x="144" y="57"/>
                    </a:lnTo>
                    <a:lnTo>
                      <a:pt x="141" y="60"/>
                    </a:lnTo>
                    <a:lnTo>
                      <a:pt x="144" y="63"/>
                    </a:lnTo>
                    <a:lnTo>
                      <a:pt x="144" y="63"/>
                    </a:lnTo>
                    <a:lnTo>
                      <a:pt x="140" y="64"/>
                    </a:lnTo>
                    <a:lnTo>
                      <a:pt x="136" y="64"/>
                    </a:lnTo>
                    <a:lnTo>
                      <a:pt x="134" y="67"/>
                    </a:lnTo>
                    <a:lnTo>
                      <a:pt x="140" y="67"/>
                    </a:lnTo>
                    <a:lnTo>
                      <a:pt x="140" y="65"/>
                    </a:lnTo>
                    <a:lnTo>
                      <a:pt x="142" y="64"/>
                    </a:lnTo>
                    <a:lnTo>
                      <a:pt x="141" y="67"/>
                    </a:lnTo>
                    <a:lnTo>
                      <a:pt x="142" y="68"/>
                    </a:lnTo>
                    <a:lnTo>
                      <a:pt x="144" y="69"/>
                    </a:lnTo>
                    <a:lnTo>
                      <a:pt x="149" y="65"/>
                    </a:lnTo>
                    <a:lnTo>
                      <a:pt x="152" y="68"/>
                    </a:lnTo>
                    <a:lnTo>
                      <a:pt x="153" y="68"/>
                    </a:lnTo>
                    <a:lnTo>
                      <a:pt x="155" y="65"/>
                    </a:lnTo>
                    <a:lnTo>
                      <a:pt x="157" y="65"/>
                    </a:lnTo>
                    <a:lnTo>
                      <a:pt x="157" y="64"/>
                    </a:lnTo>
                    <a:lnTo>
                      <a:pt x="159" y="64"/>
                    </a:lnTo>
                    <a:lnTo>
                      <a:pt x="163" y="64"/>
                    </a:lnTo>
                    <a:lnTo>
                      <a:pt x="163" y="68"/>
                    </a:lnTo>
                    <a:lnTo>
                      <a:pt x="160" y="71"/>
                    </a:lnTo>
                    <a:lnTo>
                      <a:pt x="160" y="71"/>
                    </a:lnTo>
                    <a:lnTo>
                      <a:pt x="159" y="76"/>
                    </a:lnTo>
                    <a:lnTo>
                      <a:pt x="156" y="83"/>
                    </a:lnTo>
                    <a:lnTo>
                      <a:pt x="155" y="83"/>
                    </a:lnTo>
                    <a:lnTo>
                      <a:pt x="155" y="84"/>
                    </a:lnTo>
                    <a:lnTo>
                      <a:pt x="155" y="84"/>
                    </a:lnTo>
                    <a:lnTo>
                      <a:pt x="152" y="86"/>
                    </a:lnTo>
                    <a:lnTo>
                      <a:pt x="149" y="87"/>
                    </a:lnTo>
                    <a:lnTo>
                      <a:pt x="144" y="88"/>
                    </a:lnTo>
                    <a:lnTo>
                      <a:pt x="140" y="87"/>
                    </a:lnTo>
                    <a:lnTo>
                      <a:pt x="138" y="84"/>
                    </a:lnTo>
                    <a:lnTo>
                      <a:pt x="134" y="84"/>
                    </a:lnTo>
                    <a:lnTo>
                      <a:pt x="134" y="86"/>
                    </a:lnTo>
                    <a:lnTo>
                      <a:pt x="132" y="87"/>
                    </a:lnTo>
                    <a:lnTo>
                      <a:pt x="130" y="86"/>
                    </a:lnTo>
                    <a:lnTo>
                      <a:pt x="129" y="86"/>
                    </a:lnTo>
                    <a:lnTo>
                      <a:pt x="129" y="86"/>
                    </a:lnTo>
                    <a:lnTo>
                      <a:pt x="123" y="84"/>
                    </a:lnTo>
                    <a:lnTo>
                      <a:pt x="119" y="83"/>
                    </a:lnTo>
                    <a:lnTo>
                      <a:pt x="119" y="84"/>
                    </a:lnTo>
                    <a:lnTo>
                      <a:pt x="119" y="84"/>
                    </a:lnTo>
                    <a:lnTo>
                      <a:pt x="122" y="86"/>
                    </a:lnTo>
                    <a:lnTo>
                      <a:pt x="125" y="87"/>
                    </a:lnTo>
                    <a:lnTo>
                      <a:pt x="125" y="87"/>
                    </a:lnTo>
                    <a:lnTo>
                      <a:pt x="122" y="88"/>
                    </a:lnTo>
                    <a:lnTo>
                      <a:pt x="119" y="87"/>
                    </a:lnTo>
                    <a:lnTo>
                      <a:pt x="118" y="88"/>
                    </a:lnTo>
                    <a:lnTo>
                      <a:pt x="115" y="90"/>
                    </a:lnTo>
                    <a:lnTo>
                      <a:pt x="115" y="91"/>
                    </a:lnTo>
                    <a:lnTo>
                      <a:pt x="115" y="91"/>
                    </a:lnTo>
                    <a:lnTo>
                      <a:pt x="123" y="91"/>
                    </a:lnTo>
                    <a:lnTo>
                      <a:pt x="132" y="91"/>
                    </a:lnTo>
                    <a:lnTo>
                      <a:pt x="133" y="91"/>
                    </a:lnTo>
                    <a:lnTo>
                      <a:pt x="133" y="91"/>
                    </a:lnTo>
                    <a:lnTo>
                      <a:pt x="137" y="93"/>
                    </a:lnTo>
                    <a:lnTo>
                      <a:pt x="141" y="94"/>
                    </a:lnTo>
                    <a:lnTo>
                      <a:pt x="140" y="90"/>
                    </a:lnTo>
                    <a:lnTo>
                      <a:pt x="140" y="90"/>
                    </a:lnTo>
                    <a:lnTo>
                      <a:pt x="145" y="88"/>
                    </a:lnTo>
                    <a:lnTo>
                      <a:pt x="148" y="88"/>
                    </a:lnTo>
                    <a:lnTo>
                      <a:pt x="151" y="90"/>
                    </a:lnTo>
                    <a:lnTo>
                      <a:pt x="152" y="94"/>
                    </a:lnTo>
                    <a:lnTo>
                      <a:pt x="149" y="95"/>
                    </a:lnTo>
                    <a:lnTo>
                      <a:pt x="149" y="98"/>
                    </a:lnTo>
                    <a:lnTo>
                      <a:pt x="152" y="99"/>
                    </a:lnTo>
                    <a:lnTo>
                      <a:pt x="152" y="99"/>
                    </a:lnTo>
                    <a:lnTo>
                      <a:pt x="151" y="102"/>
                    </a:lnTo>
                    <a:lnTo>
                      <a:pt x="151" y="106"/>
                    </a:lnTo>
                    <a:lnTo>
                      <a:pt x="148" y="107"/>
                    </a:lnTo>
                    <a:lnTo>
                      <a:pt x="147" y="116"/>
                    </a:lnTo>
                    <a:lnTo>
                      <a:pt x="137" y="117"/>
                    </a:lnTo>
                    <a:lnTo>
                      <a:pt x="137" y="117"/>
                    </a:lnTo>
                    <a:lnTo>
                      <a:pt x="132" y="116"/>
                    </a:lnTo>
                    <a:lnTo>
                      <a:pt x="129" y="114"/>
                    </a:lnTo>
                    <a:lnTo>
                      <a:pt x="126" y="114"/>
                    </a:lnTo>
                    <a:lnTo>
                      <a:pt x="128" y="113"/>
                    </a:lnTo>
                    <a:lnTo>
                      <a:pt x="126" y="110"/>
                    </a:lnTo>
                    <a:lnTo>
                      <a:pt x="126" y="103"/>
                    </a:lnTo>
                    <a:lnTo>
                      <a:pt x="129" y="102"/>
                    </a:lnTo>
                    <a:lnTo>
                      <a:pt x="142" y="102"/>
                    </a:lnTo>
                    <a:lnTo>
                      <a:pt x="141" y="99"/>
                    </a:lnTo>
                    <a:lnTo>
                      <a:pt x="137" y="97"/>
                    </a:lnTo>
                    <a:lnTo>
                      <a:pt x="137" y="95"/>
                    </a:lnTo>
                    <a:lnTo>
                      <a:pt x="130" y="93"/>
                    </a:lnTo>
                    <a:lnTo>
                      <a:pt x="129" y="93"/>
                    </a:lnTo>
                    <a:lnTo>
                      <a:pt x="126" y="99"/>
                    </a:lnTo>
                    <a:lnTo>
                      <a:pt x="122" y="101"/>
                    </a:lnTo>
                    <a:lnTo>
                      <a:pt x="122" y="102"/>
                    </a:lnTo>
                    <a:lnTo>
                      <a:pt x="123" y="103"/>
                    </a:lnTo>
                    <a:lnTo>
                      <a:pt x="123" y="103"/>
                    </a:lnTo>
                    <a:lnTo>
                      <a:pt x="123" y="106"/>
                    </a:lnTo>
                    <a:lnTo>
                      <a:pt x="123" y="109"/>
                    </a:lnTo>
                    <a:lnTo>
                      <a:pt x="125" y="109"/>
                    </a:lnTo>
                    <a:lnTo>
                      <a:pt x="123" y="113"/>
                    </a:lnTo>
                    <a:lnTo>
                      <a:pt x="122" y="112"/>
                    </a:lnTo>
                    <a:lnTo>
                      <a:pt x="118" y="112"/>
                    </a:lnTo>
                    <a:lnTo>
                      <a:pt x="119" y="113"/>
                    </a:lnTo>
                    <a:lnTo>
                      <a:pt x="126" y="116"/>
                    </a:lnTo>
                    <a:lnTo>
                      <a:pt x="128" y="117"/>
                    </a:lnTo>
                    <a:lnTo>
                      <a:pt x="119" y="118"/>
                    </a:lnTo>
                    <a:lnTo>
                      <a:pt x="118" y="117"/>
                    </a:lnTo>
                    <a:lnTo>
                      <a:pt x="118" y="114"/>
                    </a:lnTo>
                    <a:lnTo>
                      <a:pt x="114" y="114"/>
                    </a:lnTo>
                    <a:lnTo>
                      <a:pt x="114" y="117"/>
                    </a:lnTo>
                    <a:lnTo>
                      <a:pt x="117" y="117"/>
                    </a:lnTo>
                    <a:lnTo>
                      <a:pt x="117" y="117"/>
                    </a:lnTo>
                    <a:lnTo>
                      <a:pt x="114" y="117"/>
                    </a:lnTo>
                    <a:lnTo>
                      <a:pt x="109" y="117"/>
                    </a:lnTo>
                    <a:lnTo>
                      <a:pt x="106" y="117"/>
                    </a:lnTo>
                    <a:lnTo>
                      <a:pt x="103" y="114"/>
                    </a:lnTo>
                    <a:lnTo>
                      <a:pt x="100" y="116"/>
                    </a:lnTo>
                    <a:lnTo>
                      <a:pt x="99" y="113"/>
                    </a:lnTo>
                    <a:lnTo>
                      <a:pt x="94" y="114"/>
                    </a:lnTo>
                    <a:lnTo>
                      <a:pt x="94" y="114"/>
                    </a:lnTo>
                    <a:lnTo>
                      <a:pt x="91" y="112"/>
                    </a:lnTo>
                    <a:lnTo>
                      <a:pt x="87" y="110"/>
                    </a:lnTo>
                    <a:lnTo>
                      <a:pt x="91" y="114"/>
                    </a:lnTo>
                    <a:lnTo>
                      <a:pt x="91" y="117"/>
                    </a:lnTo>
                    <a:lnTo>
                      <a:pt x="88" y="118"/>
                    </a:lnTo>
                    <a:lnTo>
                      <a:pt x="84" y="117"/>
                    </a:lnTo>
                    <a:lnTo>
                      <a:pt x="83" y="11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89" name="Freeform 118">
                <a:extLst>
                  <a:ext uri="{FF2B5EF4-FFF2-40B4-BE49-F238E27FC236}">
                    <a16:creationId xmlns:a16="http://schemas.microsoft.com/office/drawing/2014/main" id="{8E9E1D27-8252-4CA4-9FBF-10EECF42044E}"/>
                  </a:ext>
                </a:extLst>
              </p:cNvPr>
              <p:cNvSpPr>
                <a:spLocks/>
              </p:cNvSpPr>
              <p:nvPr/>
            </p:nvSpPr>
            <p:spPr bwMode="auto">
              <a:xfrm>
                <a:off x="2181225" y="2525781"/>
                <a:ext cx="4763" cy="4763"/>
              </a:xfrm>
              <a:custGeom>
                <a:avLst/>
                <a:gdLst>
                  <a:gd name="T0" fmla="*/ 6 w 6"/>
                  <a:gd name="T1" fmla="*/ 4 h 5"/>
                  <a:gd name="T2" fmla="*/ 6 w 6"/>
                  <a:gd name="T3" fmla="*/ 5 h 5"/>
                  <a:gd name="T4" fmla="*/ 5 w 6"/>
                  <a:gd name="T5" fmla="*/ 5 h 5"/>
                  <a:gd name="T6" fmla="*/ 5 w 6"/>
                  <a:gd name="T7" fmla="*/ 5 h 5"/>
                  <a:gd name="T8" fmla="*/ 2 w 6"/>
                  <a:gd name="T9" fmla="*/ 4 h 5"/>
                  <a:gd name="T10" fmla="*/ 1 w 6"/>
                  <a:gd name="T11" fmla="*/ 1 h 5"/>
                  <a:gd name="T12" fmla="*/ 0 w 6"/>
                  <a:gd name="T13" fmla="*/ 1 h 5"/>
                  <a:gd name="T14" fmla="*/ 2 w 6"/>
                  <a:gd name="T15" fmla="*/ 0 h 5"/>
                  <a:gd name="T16" fmla="*/ 6 w 6"/>
                  <a:gd name="T17" fmla="*/ 3 h 5"/>
                  <a:gd name="T18" fmla="*/ 6 w 6"/>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4"/>
                    </a:moveTo>
                    <a:lnTo>
                      <a:pt x="6" y="5"/>
                    </a:lnTo>
                    <a:lnTo>
                      <a:pt x="5" y="5"/>
                    </a:lnTo>
                    <a:lnTo>
                      <a:pt x="5" y="5"/>
                    </a:lnTo>
                    <a:lnTo>
                      <a:pt x="2" y="4"/>
                    </a:lnTo>
                    <a:lnTo>
                      <a:pt x="1" y="1"/>
                    </a:lnTo>
                    <a:lnTo>
                      <a:pt x="0" y="1"/>
                    </a:lnTo>
                    <a:lnTo>
                      <a:pt x="2" y="0"/>
                    </a:lnTo>
                    <a:lnTo>
                      <a:pt x="6" y="3"/>
                    </a:lnTo>
                    <a:lnTo>
                      <a:pt x="6"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0" name="Freeform 119">
                <a:extLst>
                  <a:ext uri="{FF2B5EF4-FFF2-40B4-BE49-F238E27FC236}">
                    <a16:creationId xmlns:a16="http://schemas.microsoft.com/office/drawing/2014/main" id="{B792E758-87A8-4B09-9C43-431B2C05FDF8}"/>
                  </a:ext>
                </a:extLst>
              </p:cNvPr>
              <p:cNvSpPr>
                <a:spLocks/>
              </p:cNvSpPr>
              <p:nvPr/>
            </p:nvSpPr>
            <p:spPr bwMode="auto">
              <a:xfrm>
                <a:off x="1779588" y="2509906"/>
                <a:ext cx="17463" cy="25400"/>
              </a:xfrm>
              <a:custGeom>
                <a:avLst/>
                <a:gdLst>
                  <a:gd name="T0" fmla="*/ 7 w 22"/>
                  <a:gd name="T1" fmla="*/ 6 h 32"/>
                  <a:gd name="T2" fmla="*/ 8 w 22"/>
                  <a:gd name="T3" fmla="*/ 2 h 32"/>
                  <a:gd name="T4" fmla="*/ 12 w 22"/>
                  <a:gd name="T5" fmla="*/ 0 h 32"/>
                  <a:gd name="T6" fmla="*/ 13 w 22"/>
                  <a:gd name="T7" fmla="*/ 1 h 32"/>
                  <a:gd name="T8" fmla="*/ 15 w 22"/>
                  <a:gd name="T9" fmla="*/ 2 h 32"/>
                  <a:gd name="T10" fmla="*/ 12 w 22"/>
                  <a:gd name="T11" fmla="*/ 4 h 32"/>
                  <a:gd name="T12" fmla="*/ 13 w 22"/>
                  <a:gd name="T13" fmla="*/ 5 h 32"/>
                  <a:gd name="T14" fmla="*/ 15 w 22"/>
                  <a:gd name="T15" fmla="*/ 5 h 32"/>
                  <a:gd name="T16" fmla="*/ 16 w 22"/>
                  <a:gd name="T17" fmla="*/ 5 h 32"/>
                  <a:gd name="T18" fmla="*/ 19 w 22"/>
                  <a:gd name="T19" fmla="*/ 5 h 32"/>
                  <a:gd name="T20" fmla="*/ 19 w 22"/>
                  <a:gd name="T21" fmla="*/ 5 h 32"/>
                  <a:gd name="T22" fmla="*/ 20 w 22"/>
                  <a:gd name="T23" fmla="*/ 8 h 32"/>
                  <a:gd name="T24" fmla="*/ 22 w 22"/>
                  <a:gd name="T25" fmla="*/ 10 h 32"/>
                  <a:gd name="T26" fmla="*/ 20 w 22"/>
                  <a:gd name="T27" fmla="*/ 12 h 32"/>
                  <a:gd name="T28" fmla="*/ 16 w 22"/>
                  <a:gd name="T29" fmla="*/ 14 h 32"/>
                  <a:gd name="T30" fmla="*/ 20 w 22"/>
                  <a:gd name="T31" fmla="*/ 20 h 32"/>
                  <a:gd name="T32" fmla="*/ 20 w 22"/>
                  <a:gd name="T33" fmla="*/ 23 h 32"/>
                  <a:gd name="T34" fmla="*/ 20 w 22"/>
                  <a:gd name="T35" fmla="*/ 23 h 32"/>
                  <a:gd name="T36" fmla="*/ 19 w 22"/>
                  <a:gd name="T37" fmla="*/ 25 h 32"/>
                  <a:gd name="T38" fmla="*/ 18 w 22"/>
                  <a:gd name="T39" fmla="*/ 28 h 32"/>
                  <a:gd name="T40" fmla="*/ 19 w 22"/>
                  <a:gd name="T41" fmla="*/ 31 h 32"/>
                  <a:gd name="T42" fmla="*/ 18 w 22"/>
                  <a:gd name="T43" fmla="*/ 32 h 32"/>
                  <a:gd name="T44" fmla="*/ 13 w 22"/>
                  <a:gd name="T45" fmla="*/ 29 h 32"/>
                  <a:gd name="T46" fmla="*/ 13 w 22"/>
                  <a:gd name="T47" fmla="*/ 29 h 32"/>
                  <a:gd name="T48" fmla="*/ 12 w 22"/>
                  <a:gd name="T49" fmla="*/ 21 h 32"/>
                  <a:gd name="T50" fmla="*/ 8 w 22"/>
                  <a:gd name="T51" fmla="*/ 14 h 32"/>
                  <a:gd name="T52" fmla="*/ 0 w 22"/>
                  <a:gd name="T53" fmla="*/ 2 h 32"/>
                  <a:gd name="T54" fmla="*/ 0 w 22"/>
                  <a:gd name="T55" fmla="*/ 0 h 32"/>
                  <a:gd name="T56" fmla="*/ 1 w 22"/>
                  <a:gd name="T57" fmla="*/ 0 h 32"/>
                  <a:gd name="T58" fmla="*/ 3 w 22"/>
                  <a:gd name="T59" fmla="*/ 4 h 32"/>
                  <a:gd name="T60" fmla="*/ 3 w 22"/>
                  <a:gd name="T61" fmla="*/ 4 h 32"/>
                  <a:gd name="T62" fmla="*/ 7 w 22"/>
                  <a:gd name="T63" fmla="*/ 6 h 32"/>
                  <a:gd name="T64" fmla="*/ 7 w 22"/>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2">
                    <a:moveTo>
                      <a:pt x="7" y="6"/>
                    </a:moveTo>
                    <a:lnTo>
                      <a:pt x="8" y="2"/>
                    </a:lnTo>
                    <a:lnTo>
                      <a:pt x="12" y="0"/>
                    </a:lnTo>
                    <a:lnTo>
                      <a:pt x="13" y="1"/>
                    </a:lnTo>
                    <a:lnTo>
                      <a:pt x="15" y="2"/>
                    </a:lnTo>
                    <a:lnTo>
                      <a:pt x="12" y="4"/>
                    </a:lnTo>
                    <a:lnTo>
                      <a:pt x="13" y="5"/>
                    </a:lnTo>
                    <a:lnTo>
                      <a:pt x="15" y="5"/>
                    </a:lnTo>
                    <a:lnTo>
                      <a:pt x="16" y="5"/>
                    </a:lnTo>
                    <a:lnTo>
                      <a:pt x="19" y="5"/>
                    </a:lnTo>
                    <a:lnTo>
                      <a:pt x="19" y="5"/>
                    </a:lnTo>
                    <a:lnTo>
                      <a:pt x="20" y="8"/>
                    </a:lnTo>
                    <a:lnTo>
                      <a:pt x="22" y="10"/>
                    </a:lnTo>
                    <a:lnTo>
                      <a:pt x="20" y="12"/>
                    </a:lnTo>
                    <a:lnTo>
                      <a:pt x="16" y="14"/>
                    </a:lnTo>
                    <a:lnTo>
                      <a:pt x="20" y="20"/>
                    </a:lnTo>
                    <a:lnTo>
                      <a:pt x="20" y="23"/>
                    </a:lnTo>
                    <a:lnTo>
                      <a:pt x="20" y="23"/>
                    </a:lnTo>
                    <a:lnTo>
                      <a:pt x="19" y="25"/>
                    </a:lnTo>
                    <a:lnTo>
                      <a:pt x="18" y="28"/>
                    </a:lnTo>
                    <a:lnTo>
                      <a:pt x="19" y="31"/>
                    </a:lnTo>
                    <a:lnTo>
                      <a:pt x="18" y="32"/>
                    </a:lnTo>
                    <a:lnTo>
                      <a:pt x="13" y="29"/>
                    </a:lnTo>
                    <a:lnTo>
                      <a:pt x="13" y="29"/>
                    </a:lnTo>
                    <a:lnTo>
                      <a:pt x="12" y="21"/>
                    </a:lnTo>
                    <a:lnTo>
                      <a:pt x="8" y="14"/>
                    </a:lnTo>
                    <a:lnTo>
                      <a:pt x="0" y="2"/>
                    </a:lnTo>
                    <a:lnTo>
                      <a:pt x="0" y="0"/>
                    </a:lnTo>
                    <a:lnTo>
                      <a:pt x="1" y="0"/>
                    </a:lnTo>
                    <a:lnTo>
                      <a:pt x="3" y="4"/>
                    </a:lnTo>
                    <a:lnTo>
                      <a:pt x="3" y="4"/>
                    </a:lnTo>
                    <a:lnTo>
                      <a:pt x="7" y="6"/>
                    </a:lnTo>
                    <a:lnTo>
                      <a:pt x="7" y="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1" name="Freeform 120">
                <a:extLst>
                  <a:ext uri="{FF2B5EF4-FFF2-40B4-BE49-F238E27FC236}">
                    <a16:creationId xmlns:a16="http://schemas.microsoft.com/office/drawing/2014/main" id="{905AE6B7-21EB-4608-8770-B996E66B1C8A}"/>
                  </a:ext>
                </a:extLst>
              </p:cNvPr>
              <p:cNvSpPr>
                <a:spLocks/>
              </p:cNvSpPr>
              <p:nvPr/>
            </p:nvSpPr>
            <p:spPr bwMode="auto">
              <a:xfrm>
                <a:off x="1851025" y="2532131"/>
                <a:ext cx="6350" cy="3175"/>
              </a:xfrm>
              <a:custGeom>
                <a:avLst/>
                <a:gdLst>
                  <a:gd name="T0" fmla="*/ 0 w 8"/>
                  <a:gd name="T1" fmla="*/ 4 h 4"/>
                  <a:gd name="T2" fmla="*/ 0 w 8"/>
                  <a:gd name="T3" fmla="*/ 1 h 4"/>
                  <a:gd name="T4" fmla="*/ 3 w 8"/>
                  <a:gd name="T5" fmla="*/ 0 h 4"/>
                  <a:gd name="T6" fmla="*/ 7 w 8"/>
                  <a:gd name="T7" fmla="*/ 0 h 4"/>
                  <a:gd name="T8" fmla="*/ 8 w 8"/>
                  <a:gd name="T9" fmla="*/ 1 h 4"/>
                  <a:gd name="T10" fmla="*/ 4 w 8"/>
                  <a:gd name="T11" fmla="*/ 4 h 4"/>
                  <a:gd name="T12" fmla="*/ 4 w 8"/>
                  <a:gd name="T13" fmla="*/ 4 h 4"/>
                  <a:gd name="T14" fmla="*/ 3 w 8"/>
                  <a:gd name="T15" fmla="*/ 4 h 4"/>
                  <a:gd name="T16" fmla="*/ 0 w 8"/>
                  <a:gd name="T17" fmla="*/ 4 h 4"/>
                  <a:gd name="T18" fmla="*/ 0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0" y="4"/>
                    </a:moveTo>
                    <a:lnTo>
                      <a:pt x="0" y="1"/>
                    </a:lnTo>
                    <a:lnTo>
                      <a:pt x="3" y="0"/>
                    </a:lnTo>
                    <a:lnTo>
                      <a:pt x="7" y="0"/>
                    </a:lnTo>
                    <a:lnTo>
                      <a:pt x="8" y="1"/>
                    </a:lnTo>
                    <a:lnTo>
                      <a:pt x="4" y="4"/>
                    </a:lnTo>
                    <a:lnTo>
                      <a:pt x="4" y="4"/>
                    </a:lnTo>
                    <a:lnTo>
                      <a:pt x="3" y="4"/>
                    </a:lnTo>
                    <a:lnTo>
                      <a:pt x="0" y="4"/>
                    </a:lnTo>
                    <a:lnTo>
                      <a:pt x="0"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2" name="Freeform 121">
                <a:extLst>
                  <a:ext uri="{FF2B5EF4-FFF2-40B4-BE49-F238E27FC236}">
                    <a16:creationId xmlns:a16="http://schemas.microsoft.com/office/drawing/2014/main" id="{1468D0A1-1BCF-410E-8CA7-4E8E735FAA0C}"/>
                  </a:ext>
                </a:extLst>
              </p:cNvPr>
              <p:cNvSpPr>
                <a:spLocks/>
              </p:cNvSpPr>
              <p:nvPr/>
            </p:nvSpPr>
            <p:spPr bwMode="auto">
              <a:xfrm>
                <a:off x="2174875" y="2536894"/>
                <a:ext cx="3175" cy="7938"/>
              </a:xfrm>
              <a:custGeom>
                <a:avLst/>
                <a:gdLst>
                  <a:gd name="T0" fmla="*/ 4 w 4"/>
                  <a:gd name="T1" fmla="*/ 0 h 11"/>
                  <a:gd name="T2" fmla="*/ 4 w 4"/>
                  <a:gd name="T3" fmla="*/ 3 h 11"/>
                  <a:gd name="T4" fmla="*/ 1 w 4"/>
                  <a:gd name="T5" fmla="*/ 11 h 11"/>
                  <a:gd name="T6" fmla="*/ 1 w 4"/>
                  <a:gd name="T7" fmla="*/ 11 h 11"/>
                  <a:gd name="T8" fmla="*/ 0 w 4"/>
                  <a:gd name="T9" fmla="*/ 10 h 11"/>
                  <a:gd name="T10" fmla="*/ 0 w 4"/>
                  <a:gd name="T11" fmla="*/ 7 h 11"/>
                  <a:gd name="T12" fmla="*/ 0 w 4"/>
                  <a:gd name="T13" fmla="*/ 2 h 11"/>
                  <a:gd name="T14" fmla="*/ 1 w 4"/>
                  <a:gd name="T15" fmla="*/ 2 h 11"/>
                  <a:gd name="T16" fmla="*/ 1 w 4"/>
                  <a:gd name="T17" fmla="*/ 0 h 11"/>
                  <a:gd name="T18" fmla="*/ 4 w 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1">
                    <a:moveTo>
                      <a:pt x="4" y="0"/>
                    </a:moveTo>
                    <a:lnTo>
                      <a:pt x="4" y="3"/>
                    </a:lnTo>
                    <a:lnTo>
                      <a:pt x="1" y="11"/>
                    </a:lnTo>
                    <a:lnTo>
                      <a:pt x="1" y="11"/>
                    </a:lnTo>
                    <a:lnTo>
                      <a:pt x="0" y="10"/>
                    </a:lnTo>
                    <a:lnTo>
                      <a:pt x="0" y="7"/>
                    </a:lnTo>
                    <a:lnTo>
                      <a:pt x="0" y="2"/>
                    </a:lnTo>
                    <a:lnTo>
                      <a:pt x="1" y="2"/>
                    </a:lnTo>
                    <a:lnTo>
                      <a:pt x="1" y="0"/>
                    </a:lnTo>
                    <a:lnTo>
                      <a:pt x="4"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3" name="Freeform 122">
                <a:extLst>
                  <a:ext uri="{FF2B5EF4-FFF2-40B4-BE49-F238E27FC236}">
                    <a16:creationId xmlns:a16="http://schemas.microsoft.com/office/drawing/2014/main" id="{03554F60-FB3C-48FA-A439-8191FB2F9A74}"/>
                  </a:ext>
                </a:extLst>
              </p:cNvPr>
              <p:cNvSpPr>
                <a:spLocks/>
              </p:cNvSpPr>
              <p:nvPr/>
            </p:nvSpPr>
            <p:spPr bwMode="auto">
              <a:xfrm>
                <a:off x="1817688" y="2530544"/>
                <a:ext cx="22225" cy="15875"/>
              </a:xfrm>
              <a:custGeom>
                <a:avLst/>
                <a:gdLst>
                  <a:gd name="T0" fmla="*/ 11 w 28"/>
                  <a:gd name="T1" fmla="*/ 4 h 19"/>
                  <a:gd name="T2" fmla="*/ 15 w 28"/>
                  <a:gd name="T3" fmla="*/ 2 h 19"/>
                  <a:gd name="T4" fmla="*/ 19 w 28"/>
                  <a:gd name="T5" fmla="*/ 4 h 19"/>
                  <a:gd name="T6" fmla="*/ 19 w 28"/>
                  <a:gd name="T7" fmla="*/ 4 h 19"/>
                  <a:gd name="T8" fmla="*/ 21 w 28"/>
                  <a:gd name="T9" fmla="*/ 0 h 19"/>
                  <a:gd name="T10" fmla="*/ 22 w 28"/>
                  <a:gd name="T11" fmla="*/ 0 h 19"/>
                  <a:gd name="T12" fmla="*/ 22 w 28"/>
                  <a:gd name="T13" fmla="*/ 0 h 19"/>
                  <a:gd name="T14" fmla="*/ 21 w 28"/>
                  <a:gd name="T15" fmla="*/ 5 h 19"/>
                  <a:gd name="T16" fmla="*/ 21 w 28"/>
                  <a:gd name="T17" fmla="*/ 11 h 19"/>
                  <a:gd name="T18" fmla="*/ 26 w 28"/>
                  <a:gd name="T19" fmla="*/ 12 h 19"/>
                  <a:gd name="T20" fmla="*/ 26 w 28"/>
                  <a:gd name="T21" fmla="*/ 13 h 19"/>
                  <a:gd name="T22" fmla="*/ 25 w 28"/>
                  <a:gd name="T23" fmla="*/ 16 h 19"/>
                  <a:gd name="T24" fmla="*/ 28 w 28"/>
                  <a:gd name="T25" fmla="*/ 17 h 19"/>
                  <a:gd name="T26" fmla="*/ 26 w 28"/>
                  <a:gd name="T27" fmla="*/ 19 h 19"/>
                  <a:gd name="T28" fmla="*/ 25 w 28"/>
                  <a:gd name="T29" fmla="*/ 17 h 19"/>
                  <a:gd name="T30" fmla="*/ 23 w 28"/>
                  <a:gd name="T31" fmla="*/ 19 h 19"/>
                  <a:gd name="T32" fmla="*/ 18 w 28"/>
                  <a:gd name="T33" fmla="*/ 15 h 19"/>
                  <a:gd name="T34" fmla="*/ 17 w 28"/>
                  <a:gd name="T35" fmla="*/ 13 h 19"/>
                  <a:gd name="T36" fmla="*/ 14 w 28"/>
                  <a:gd name="T37" fmla="*/ 12 h 19"/>
                  <a:gd name="T38" fmla="*/ 14 w 28"/>
                  <a:gd name="T39" fmla="*/ 16 h 19"/>
                  <a:gd name="T40" fmla="*/ 11 w 28"/>
                  <a:gd name="T41" fmla="*/ 16 h 19"/>
                  <a:gd name="T42" fmla="*/ 11 w 28"/>
                  <a:gd name="T43" fmla="*/ 16 h 19"/>
                  <a:gd name="T44" fmla="*/ 9 w 28"/>
                  <a:gd name="T45" fmla="*/ 13 h 19"/>
                  <a:gd name="T46" fmla="*/ 6 w 28"/>
                  <a:gd name="T47" fmla="*/ 9 h 19"/>
                  <a:gd name="T48" fmla="*/ 3 w 28"/>
                  <a:gd name="T49" fmla="*/ 8 h 19"/>
                  <a:gd name="T50" fmla="*/ 0 w 28"/>
                  <a:gd name="T51" fmla="*/ 4 h 19"/>
                  <a:gd name="T52" fmla="*/ 0 w 28"/>
                  <a:gd name="T53" fmla="*/ 4 h 19"/>
                  <a:gd name="T54" fmla="*/ 6 w 28"/>
                  <a:gd name="T55" fmla="*/ 2 h 19"/>
                  <a:gd name="T56" fmla="*/ 11 w 28"/>
                  <a:gd name="T5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 h="19">
                    <a:moveTo>
                      <a:pt x="11" y="4"/>
                    </a:moveTo>
                    <a:lnTo>
                      <a:pt x="15" y="2"/>
                    </a:lnTo>
                    <a:lnTo>
                      <a:pt x="19" y="4"/>
                    </a:lnTo>
                    <a:lnTo>
                      <a:pt x="19" y="4"/>
                    </a:lnTo>
                    <a:lnTo>
                      <a:pt x="21" y="0"/>
                    </a:lnTo>
                    <a:lnTo>
                      <a:pt x="22" y="0"/>
                    </a:lnTo>
                    <a:lnTo>
                      <a:pt x="22" y="0"/>
                    </a:lnTo>
                    <a:lnTo>
                      <a:pt x="21" y="5"/>
                    </a:lnTo>
                    <a:lnTo>
                      <a:pt x="21" y="11"/>
                    </a:lnTo>
                    <a:lnTo>
                      <a:pt x="26" y="12"/>
                    </a:lnTo>
                    <a:lnTo>
                      <a:pt x="26" y="13"/>
                    </a:lnTo>
                    <a:lnTo>
                      <a:pt x="25" y="16"/>
                    </a:lnTo>
                    <a:lnTo>
                      <a:pt x="28" y="17"/>
                    </a:lnTo>
                    <a:lnTo>
                      <a:pt x="26" y="19"/>
                    </a:lnTo>
                    <a:lnTo>
                      <a:pt x="25" y="17"/>
                    </a:lnTo>
                    <a:lnTo>
                      <a:pt x="23" y="19"/>
                    </a:lnTo>
                    <a:lnTo>
                      <a:pt x="18" y="15"/>
                    </a:lnTo>
                    <a:lnTo>
                      <a:pt x="17" y="13"/>
                    </a:lnTo>
                    <a:lnTo>
                      <a:pt x="14" y="12"/>
                    </a:lnTo>
                    <a:lnTo>
                      <a:pt x="14" y="16"/>
                    </a:lnTo>
                    <a:lnTo>
                      <a:pt x="11" y="16"/>
                    </a:lnTo>
                    <a:lnTo>
                      <a:pt x="11" y="16"/>
                    </a:lnTo>
                    <a:lnTo>
                      <a:pt x="9" y="13"/>
                    </a:lnTo>
                    <a:lnTo>
                      <a:pt x="6" y="9"/>
                    </a:lnTo>
                    <a:lnTo>
                      <a:pt x="3" y="8"/>
                    </a:lnTo>
                    <a:lnTo>
                      <a:pt x="0" y="4"/>
                    </a:lnTo>
                    <a:lnTo>
                      <a:pt x="0" y="4"/>
                    </a:lnTo>
                    <a:lnTo>
                      <a:pt x="6" y="2"/>
                    </a:lnTo>
                    <a:lnTo>
                      <a:pt x="11"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4" name="Freeform 123">
                <a:extLst>
                  <a:ext uri="{FF2B5EF4-FFF2-40B4-BE49-F238E27FC236}">
                    <a16:creationId xmlns:a16="http://schemas.microsoft.com/office/drawing/2014/main" id="{17CB729A-1D30-4E93-B42F-F4D8A3DC0654}"/>
                  </a:ext>
                </a:extLst>
              </p:cNvPr>
              <p:cNvSpPr>
                <a:spLocks/>
              </p:cNvSpPr>
              <p:nvPr/>
            </p:nvSpPr>
            <p:spPr bwMode="auto">
              <a:xfrm>
                <a:off x="1817688" y="2543244"/>
                <a:ext cx="6350" cy="4763"/>
              </a:xfrm>
              <a:custGeom>
                <a:avLst/>
                <a:gdLst>
                  <a:gd name="T0" fmla="*/ 0 w 7"/>
                  <a:gd name="T1" fmla="*/ 1 h 6"/>
                  <a:gd name="T2" fmla="*/ 0 w 7"/>
                  <a:gd name="T3" fmla="*/ 0 h 6"/>
                  <a:gd name="T4" fmla="*/ 4 w 7"/>
                  <a:gd name="T5" fmla="*/ 1 h 6"/>
                  <a:gd name="T6" fmla="*/ 6 w 7"/>
                  <a:gd name="T7" fmla="*/ 1 h 6"/>
                  <a:gd name="T8" fmla="*/ 7 w 7"/>
                  <a:gd name="T9" fmla="*/ 5 h 6"/>
                  <a:gd name="T10" fmla="*/ 4 w 7"/>
                  <a:gd name="T11" fmla="*/ 6 h 6"/>
                  <a:gd name="T12" fmla="*/ 3 w 7"/>
                  <a:gd name="T13" fmla="*/ 5 h 6"/>
                  <a:gd name="T14" fmla="*/ 3 w 7"/>
                  <a:gd name="T15" fmla="*/ 2 h 6"/>
                  <a:gd name="T16" fmla="*/ 0 w 7"/>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0" y="1"/>
                    </a:moveTo>
                    <a:lnTo>
                      <a:pt x="0" y="0"/>
                    </a:lnTo>
                    <a:lnTo>
                      <a:pt x="4" y="1"/>
                    </a:lnTo>
                    <a:lnTo>
                      <a:pt x="6" y="1"/>
                    </a:lnTo>
                    <a:lnTo>
                      <a:pt x="7" y="5"/>
                    </a:lnTo>
                    <a:lnTo>
                      <a:pt x="4" y="6"/>
                    </a:lnTo>
                    <a:lnTo>
                      <a:pt x="3" y="5"/>
                    </a:lnTo>
                    <a:lnTo>
                      <a:pt x="3" y="2"/>
                    </a:lnTo>
                    <a:lnTo>
                      <a:pt x="0"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5" name="Freeform 124">
                <a:extLst>
                  <a:ext uri="{FF2B5EF4-FFF2-40B4-BE49-F238E27FC236}">
                    <a16:creationId xmlns:a16="http://schemas.microsoft.com/office/drawing/2014/main" id="{55BB69C0-1E9E-4273-B14B-8A0F1E067109}"/>
                  </a:ext>
                </a:extLst>
              </p:cNvPr>
              <p:cNvSpPr>
                <a:spLocks/>
              </p:cNvSpPr>
              <p:nvPr/>
            </p:nvSpPr>
            <p:spPr bwMode="auto">
              <a:xfrm>
                <a:off x="1836738" y="2532131"/>
                <a:ext cx="14288" cy="15875"/>
              </a:xfrm>
              <a:custGeom>
                <a:avLst/>
                <a:gdLst>
                  <a:gd name="T0" fmla="*/ 16 w 17"/>
                  <a:gd name="T1" fmla="*/ 4 h 20"/>
                  <a:gd name="T2" fmla="*/ 13 w 17"/>
                  <a:gd name="T3" fmla="*/ 10 h 20"/>
                  <a:gd name="T4" fmla="*/ 16 w 17"/>
                  <a:gd name="T5" fmla="*/ 11 h 20"/>
                  <a:gd name="T6" fmla="*/ 17 w 17"/>
                  <a:gd name="T7" fmla="*/ 12 h 20"/>
                  <a:gd name="T8" fmla="*/ 15 w 17"/>
                  <a:gd name="T9" fmla="*/ 14 h 20"/>
                  <a:gd name="T10" fmla="*/ 13 w 17"/>
                  <a:gd name="T11" fmla="*/ 14 h 20"/>
                  <a:gd name="T12" fmla="*/ 13 w 17"/>
                  <a:gd name="T13" fmla="*/ 18 h 20"/>
                  <a:gd name="T14" fmla="*/ 12 w 17"/>
                  <a:gd name="T15" fmla="*/ 19 h 20"/>
                  <a:gd name="T16" fmla="*/ 11 w 17"/>
                  <a:gd name="T17" fmla="*/ 20 h 20"/>
                  <a:gd name="T18" fmla="*/ 9 w 17"/>
                  <a:gd name="T19" fmla="*/ 20 h 20"/>
                  <a:gd name="T20" fmla="*/ 5 w 17"/>
                  <a:gd name="T21" fmla="*/ 16 h 20"/>
                  <a:gd name="T22" fmla="*/ 8 w 17"/>
                  <a:gd name="T23" fmla="*/ 15 h 20"/>
                  <a:gd name="T24" fmla="*/ 7 w 17"/>
                  <a:gd name="T25" fmla="*/ 12 h 20"/>
                  <a:gd name="T26" fmla="*/ 4 w 17"/>
                  <a:gd name="T27" fmla="*/ 11 h 20"/>
                  <a:gd name="T28" fmla="*/ 1 w 17"/>
                  <a:gd name="T29" fmla="*/ 10 h 20"/>
                  <a:gd name="T30" fmla="*/ 1 w 17"/>
                  <a:gd name="T31" fmla="*/ 8 h 20"/>
                  <a:gd name="T32" fmla="*/ 0 w 17"/>
                  <a:gd name="T33" fmla="*/ 8 h 20"/>
                  <a:gd name="T34" fmla="*/ 1 w 17"/>
                  <a:gd name="T35" fmla="*/ 5 h 20"/>
                  <a:gd name="T36" fmla="*/ 1 w 17"/>
                  <a:gd name="T37" fmla="*/ 4 h 20"/>
                  <a:gd name="T38" fmla="*/ 3 w 17"/>
                  <a:gd name="T39" fmla="*/ 4 h 20"/>
                  <a:gd name="T40" fmla="*/ 9 w 17"/>
                  <a:gd name="T41" fmla="*/ 7 h 20"/>
                  <a:gd name="T42" fmla="*/ 11 w 17"/>
                  <a:gd name="T43" fmla="*/ 7 h 20"/>
                  <a:gd name="T44" fmla="*/ 5 w 17"/>
                  <a:gd name="T45" fmla="*/ 3 h 20"/>
                  <a:gd name="T46" fmla="*/ 5 w 17"/>
                  <a:gd name="T47" fmla="*/ 1 h 20"/>
                  <a:gd name="T48" fmla="*/ 5 w 17"/>
                  <a:gd name="T49" fmla="*/ 1 h 20"/>
                  <a:gd name="T50" fmla="*/ 9 w 17"/>
                  <a:gd name="T51" fmla="*/ 0 h 20"/>
                  <a:gd name="T52" fmla="*/ 15 w 17"/>
                  <a:gd name="T53" fmla="*/ 1 h 20"/>
                  <a:gd name="T54" fmla="*/ 15 w 17"/>
                  <a:gd name="T55" fmla="*/ 4 h 20"/>
                  <a:gd name="T56" fmla="*/ 16 w 17"/>
                  <a:gd name="T5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20">
                    <a:moveTo>
                      <a:pt x="16" y="4"/>
                    </a:moveTo>
                    <a:lnTo>
                      <a:pt x="13" y="10"/>
                    </a:lnTo>
                    <a:lnTo>
                      <a:pt x="16" y="11"/>
                    </a:lnTo>
                    <a:lnTo>
                      <a:pt x="17" y="12"/>
                    </a:lnTo>
                    <a:lnTo>
                      <a:pt x="15" y="14"/>
                    </a:lnTo>
                    <a:lnTo>
                      <a:pt x="13" y="14"/>
                    </a:lnTo>
                    <a:lnTo>
                      <a:pt x="13" y="18"/>
                    </a:lnTo>
                    <a:lnTo>
                      <a:pt x="12" y="19"/>
                    </a:lnTo>
                    <a:lnTo>
                      <a:pt x="11" y="20"/>
                    </a:lnTo>
                    <a:lnTo>
                      <a:pt x="9" y="20"/>
                    </a:lnTo>
                    <a:lnTo>
                      <a:pt x="5" y="16"/>
                    </a:lnTo>
                    <a:lnTo>
                      <a:pt x="8" y="15"/>
                    </a:lnTo>
                    <a:lnTo>
                      <a:pt x="7" y="12"/>
                    </a:lnTo>
                    <a:lnTo>
                      <a:pt x="4" y="11"/>
                    </a:lnTo>
                    <a:lnTo>
                      <a:pt x="1" y="10"/>
                    </a:lnTo>
                    <a:lnTo>
                      <a:pt x="1" y="8"/>
                    </a:lnTo>
                    <a:lnTo>
                      <a:pt x="0" y="8"/>
                    </a:lnTo>
                    <a:lnTo>
                      <a:pt x="1" y="5"/>
                    </a:lnTo>
                    <a:lnTo>
                      <a:pt x="1" y="4"/>
                    </a:lnTo>
                    <a:lnTo>
                      <a:pt x="3" y="4"/>
                    </a:lnTo>
                    <a:lnTo>
                      <a:pt x="9" y="7"/>
                    </a:lnTo>
                    <a:lnTo>
                      <a:pt x="11" y="7"/>
                    </a:lnTo>
                    <a:lnTo>
                      <a:pt x="5" y="3"/>
                    </a:lnTo>
                    <a:lnTo>
                      <a:pt x="5" y="1"/>
                    </a:lnTo>
                    <a:lnTo>
                      <a:pt x="5" y="1"/>
                    </a:lnTo>
                    <a:lnTo>
                      <a:pt x="9" y="0"/>
                    </a:lnTo>
                    <a:lnTo>
                      <a:pt x="15" y="1"/>
                    </a:lnTo>
                    <a:lnTo>
                      <a:pt x="15" y="4"/>
                    </a:lnTo>
                    <a:lnTo>
                      <a:pt x="16"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6" name="Freeform 125">
                <a:extLst>
                  <a:ext uri="{FF2B5EF4-FFF2-40B4-BE49-F238E27FC236}">
                    <a16:creationId xmlns:a16="http://schemas.microsoft.com/office/drawing/2014/main" id="{E4004A18-F72F-43E4-83C7-F3773EF09796}"/>
                  </a:ext>
                </a:extLst>
              </p:cNvPr>
              <p:cNvSpPr>
                <a:spLocks/>
              </p:cNvSpPr>
              <p:nvPr/>
            </p:nvSpPr>
            <p:spPr bwMode="auto">
              <a:xfrm>
                <a:off x="1830388" y="2554356"/>
                <a:ext cx="3175" cy="1588"/>
              </a:xfrm>
              <a:custGeom>
                <a:avLst/>
                <a:gdLst>
                  <a:gd name="T0" fmla="*/ 0 w 2"/>
                  <a:gd name="T1" fmla="*/ 0 h 1"/>
                  <a:gd name="T2" fmla="*/ 0 w 2"/>
                  <a:gd name="T3" fmla="*/ 0 h 1"/>
                  <a:gd name="T4" fmla="*/ 2 w 2"/>
                  <a:gd name="T5" fmla="*/ 0 h 1"/>
                  <a:gd name="T6" fmla="*/ 2 w 2"/>
                  <a:gd name="T7" fmla="*/ 1 h 1"/>
                  <a:gd name="T8" fmla="*/ 1 w 2"/>
                  <a:gd name="T9" fmla="*/ 1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lnTo>
                      <a:pt x="0" y="0"/>
                    </a:lnTo>
                    <a:lnTo>
                      <a:pt x="2" y="0"/>
                    </a:lnTo>
                    <a:lnTo>
                      <a:pt x="2" y="1"/>
                    </a:lnTo>
                    <a:lnTo>
                      <a:pt x="1" y="1"/>
                    </a:lnTo>
                    <a:lnTo>
                      <a:pt x="0" y="0"/>
                    </a:lnTo>
                    <a:lnTo>
                      <a:pt x="0"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7" name="Freeform 126">
                <a:extLst>
                  <a:ext uri="{FF2B5EF4-FFF2-40B4-BE49-F238E27FC236}">
                    <a16:creationId xmlns:a16="http://schemas.microsoft.com/office/drawing/2014/main" id="{790D75D9-1227-4A83-ADC7-12214C4E5687}"/>
                  </a:ext>
                </a:extLst>
              </p:cNvPr>
              <p:cNvSpPr>
                <a:spLocks/>
              </p:cNvSpPr>
              <p:nvPr/>
            </p:nvSpPr>
            <p:spPr bwMode="auto">
              <a:xfrm>
                <a:off x="1778000" y="2536894"/>
                <a:ext cx="60325" cy="47625"/>
              </a:xfrm>
              <a:custGeom>
                <a:avLst/>
                <a:gdLst>
                  <a:gd name="T0" fmla="*/ 29 w 76"/>
                  <a:gd name="T1" fmla="*/ 6 h 60"/>
                  <a:gd name="T2" fmla="*/ 31 w 76"/>
                  <a:gd name="T3" fmla="*/ 10 h 60"/>
                  <a:gd name="T4" fmla="*/ 38 w 76"/>
                  <a:gd name="T5" fmla="*/ 7 h 60"/>
                  <a:gd name="T6" fmla="*/ 42 w 76"/>
                  <a:gd name="T7" fmla="*/ 9 h 60"/>
                  <a:gd name="T8" fmla="*/ 49 w 76"/>
                  <a:gd name="T9" fmla="*/ 10 h 60"/>
                  <a:gd name="T10" fmla="*/ 49 w 76"/>
                  <a:gd name="T11" fmla="*/ 15 h 60"/>
                  <a:gd name="T12" fmla="*/ 54 w 76"/>
                  <a:gd name="T13" fmla="*/ 18 h 60"/>
                  <a:gd name="T14" fmla="*/ 60 w 76"/>
                  <a:gd name="T15" fmla="*/ 21 h 60"/>
                  <a:gd name="T16" fmla="*/ 59 w 76"/>
                  <a:gd name="T17" fmla="*/ 13 h 60"/>
                  <a:gd name="T18" fmla="*/ 61 w 76"/>
                  <a:gd name="T19" fmla="*/ 17 h 60"/>
                  <a:gd name="T20" fmla="*/ 67 w 76"/>
                  <a:gd name="T21" fmla="*/ 19 h 60"/>
                  <a:gd name="T22" fmla="*/ 68 w 76"/>
                  <a:gd name="T23" fmla="*/ 15 h 60"/>
                  <a:gd name="T24" fmla="*/ 76 w 76"/>
                  <a:gd name="T25" fmla="*/ 22 h 60"/>
                  <a:gd name="T26" fmla="*/ 64 w 76"/>
                  <a:gd name="T27" fmla="*/ 24 h 60"/>
                  <a:gd name="T28" fmla="*/ 63 w 76"/>
                  <a:gd name="T29" fmla="*/ 28 h 60"/>
                  <a:gd name="T30" fmla="*/ 72 w 76"/>
                  <a:gd name="T31" fmla="*/ 29 h 60"/>
                  <a:gd name="T32" fmla="*/ 60 w 76"/>
                  <a:gd name="T33" fmla="*/ 24 h 60"/>
                  <a:gd name="T34" fmla="*/ 60 w 76"/>
                  <a:gd name="T35" fmla="*/ 32 h 60"/>
                  <a:gd name="T36" fmla="*/ 52 w 76"/>
                  <a:gd name="T37" fmla="*/ 30 h 60"/>
                  <a:gd name="T38" fmla="*/ 53 w 76"/>
                  <a:gd name="T39" fmla="*/ 33 h 60"/>
                  <a:gd name="T40" fmla="*/ 54 w 76"/>
                  <a:gd name="T41" fmla="*/ 37 h 60"/>
                  <a:gd name="T42" fmla="*/ 59 w 76"/>
                  <a:gd name="T43" fmla="*/ 40 h 60"/>
                  <a:gd name="T44" fmla="*/ 69 w 76"/>
                  <a:gd name="T45" fmla="*/ 40 h 60"/>
                  <a:gd name="T46" fmla="*/ 71 w 76"/>
                  <a:gd name="T47" fmla="*/ 36 h 60"/>
                  <a:gd name="T48" fmla="*/ 75 w 76"/>
                  <a:gd name="T49" fmla="*/ 40 h 60"/>
                  <a:gd name="T50" fmla="*/ 71 w 76"/>
                  <a:gd name="T51" fmla="*/ 43 h 60"/>
                  <a:gd name="T52" fmla="*/ 75 w 76"/>
                  <a:gd name="T53" fmla="*/ 49 h 60"/>
                  <a:gd name="T54" fmla="*/ 65 w 76"/>
                  <a:gd name="T55" fmla="*/ 49 h 60"/>
                  <a:gd name="T56" fmla="*/ 61 w 76"/>
                  <a:gd name="T57" fmla="*/ 52 h 60"/>
                  <a:gd name="T58" fmla="*/ 64 w 76"/>
                  <a:gd name="T59" fmla="*/ 57 h 60"/>
                  <a:gd name="T60" fmla="*/ 52 w 76"/>
                  <a:gd name="T61" fmla="*/ 53 h 60"/>
                  <a:gd name="T62" fmla="*/ 41 w 76"/>
                  <a:gd name="T63" fmla="*/ 51 h 60"/>
                  <a:gd name="T64" fmla="*/ 53 w 76"/>
                  <a:gd name="T65" fmla="*/ 56 h 60"/>
                  <a:gd name="T66" fmla="*/ 54 w 76"/>
                  <a:gd name="T67" fmla="*/ 60 h 60"/>
                  <a:gd name="T68" fmla="*/ 45 w 76"/>
                  <a:gd name="T69" fmla="*/ 53 h 60"/>
                  <a:gd name="T70" fmla="*/ 40 w 76"/>
                  <a:gd name="T71" fmla="*/ 55 h 60"/>
                  <a:gd name="T72" fmla="*/ 41 w 76"/>
                  <a:gd name="T73" fmla="*/ 60 h 60"/>
                  <a:gd name="T74" fmla="*/ 34 w 76"/>
                  <a:gd name="T75" fmla="*/ 56 h 60"/>
                  <a:gd name="T76" fmla="*/ 27 w 76"/>
                  <a:gd name="T77" fmla="*/ 51 h 60"/>
                  <a:gd name="T78" fmla="*/ 22 w 76"/>
                  <a:gd name="T79" fmla="*/ 47 h 60"/>
                  <a:gd name="T80" fmla="*/ 15 w 76"/>
                  <a:gd name="T81" fmla="*/ 45 h 60"/>
                  <a:gd name="T82" fmla="*/ 7 w 76"/>
                  <a:gd name="T83" fmla="*/ 45 h 60"/>
                  <a:gd name="T84" fmla="*/ 2 w 76"/>
                  <a:gd name="T85" fmla="*/ 29 h 60"/>
                  <a:gd name="T86" fmla="*/ 4 w 76"/>
                  <a:gd name="T87" fmla="*/ 21 h 60"/>
                  <a:gd name="T88" fmla="*/ 2 w 76"/>
                  <a:gd name="T89" fmla="*/ 14 h 60"/>
                  <a:gd name="T90" fmla="*/ 10 w 76"/>
                  <a:gd name="T91" fmla="*/ 14 h 60"/>
                  <a:gd name="T92" fmla="*/ 21 w 76"/>
                  <a:gd name="T9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60">
                    <a:moveTo>
                      <a:pt x="23" y="2"/>
                    </a:moveTo>
                    <a:lnTo>
                      <a:pt x="25" y="7"/>
                    </a:lnTo>
                    <a:lnTo>
                      <a:pt x="29" y="6"/>
                    </a:lnTo>
                    <a:lnTo>
                      <a:pt x="30" y="7"/>
                    </a:lnTo>
                    <a:lnTo>
                      <a:pt x="29" y="9"/>
                    </a:lnTo>
                    <a:lnTo>
                      <a:pt x="31" y="10"/>
                    </a:lnTo>
                    <a:lnTo>
                      <a:pt x="33" y="9"/>
                    </a:lnTo>
                    <a:lnTo>
                      <a:pt x="37" y="10"/>
                    </a:lnTo>
                    <a:lnTo>
                      <a:pt x="38" y="7"/>
                    </a:lnTo>
                    <a:lnTo>
                      <a:pt x="42" y="6"/>
                    </a:lnTo>
                    <a:lnTo>
                      <a:pt x="45" y="7"/>
                    </a:lnTo>
                    <a:lnTo>
                      <a:pt x="42" y="9"/>
                    </a:lnTo>
                    <a:lnTo>
                      <a:pt x="42" y="10"/>
                    </a:lnTo>
                    <a:lnTo>
                      <a:pt x="44" y="9"/>
                    </a:lnTo>
                    <a:lnTo>
                      <a:pt x="49" y="10"/>
                    </a:lnTo>
                    <a:lnTo>
                      <a:pt x="50" y="13"/>
                    </a:lnTo>
                    <a:lnTo>
                      <a:pt x="49" y="14"/>
                    </a:lnTo>
                    <a:lnTo>
                      <a:pt x="49" y="15"/>
                    </a:lnTo>
                    <a:lnTo>
                      <a:pt x="52" y="17"/>
                    </a:lnTo>
                    <a:lnTo>
                      <a:pt x="53" y="19"/>
                    </a:lnTo>
                    <a:lnTo>
                      <a:pt x="54" y="18"/>
                    </a:lnTo>
                    <a:lnTo>
                      <a:pt x="57" y="18"/>
                    </a:lnTo>
                    <a:lnTo>
                      <a:pt x="59" y="22"/>
                    </a:lnTo>
                    <a:lnTo>
                      <a:pt x="60" y="21"/>
                    </a:lnTo>
                    <a:lnTo>
                      <a:pt x="59" y="17"/>
                    </a:lnTo>
                    <a:lnTo>
                      <a:pt x="60" y="15"/>
                    </a:lnTo>
                    <a:lnTo>
                      <a:pt x="59" y="13"/>
                    </a:lnTo>
                    <a:lnTo>
                      <a:pt x="61" y="11"/>
                    </a:lnTo>
                    <a:lnTo>
                      <a:pt x="64" y="14"/>
                    </a:lnTo>
                    <a:lnTo>
                      <a:pt x="61" y="17"/>
                    </a:lnTo>
                    <a:lnTo>
                      <a:pt x="61" y="18"/>
                    </a:lnTo>
                    <a:lnTo>
                      <a:pt x="65" y="19"/>
                    </a:lnTo>
                    <a:lnTo>
                      <a:pt x="67" y="19"/>
                    </a:lnTo>
                    <a:lnTo>
                      <a:pt x="67" y="15"/>
                    </a:lnTo>
                    <a:lnTo>
                      <a:pt x="68" y="15"/>
                    </a:lnTo>
                    <a:lnTo>
                      <a:pt x="68" y="15"/>
                    </a:lnTo>
                    <a:lnTo>
                      <a:pt x="72" y="18"/>
                    </a:lnTo>
                    <a:lnTo>
                      <a:pt x="76" y="22"/>
                    </a:lnTo>
                    <a:lnTo>
                      <a:pt x="76" y="22"/>
                    </a:lnTo>
                    <a:lnTo>
                      <a:pt x="71" y="24"/>
                    </a:lnTo>
                    <a:lnTo>
                      <a:pt x="64" y="22"/>
                    </a:lnTo>
                    <a:lnTo>
                      <a:pt x="64" y="24"/>
                    </a:lnTo>
                    <a:lnTo>
                      <a:pt x="64" y="25"/>
                    </a:lnTo>
                    <a:lnTo>
                      <a:pt x="63" y="28"/>
                    </a:lnTo>
                    <a:lnTo>
                      <a:pt x="63" y="28"/>
                    </a:lnTo>
                    <a:lnTo>
                      <a:pt x="67" y="28"/>
                    </a:lnTo>
                    <a:lnTo>
                      <a:pt x="72" y="29"/>
                    </a:lnTo>
                    <a:lnTo>
                      <a:pt x="72" y="29"/>
                    </a:lnTo>
                    <a:lnTo>
                      <a:pt x="67" y="30"/>
                    </a:lnTo>
                    <a:lnTo>
                      <a:pt x="63" y="29"/>
                    </a:lnTo>
                    <a:lnTo>
                      <a:pt x="60" y="24"/>
                    </a:lnTo>
                    <a:lnTo>
                      <a:pt x="59" y="25"/>
                    </a:lnTo>
                    <a:lnTo>
                      <a:pt x="61" y="29"/>
                    </a:lnTo>
                    <a:lnTo>
                      <a:pt x="60" y="32"/>
                    </a:lnTo>
                    <a:lnTo>
                      <a:pt x="53" y="28"/>
                    </a:lnTo>
                    <a:lnTo>
                      <a:pt x="53" y="28"/>
                    </a:lnTo>
                    <a:lnTo>
                      <a:pt x="52" y="30"/>
                    </a:lnTo>
                    <a:lnTo>
                      <a:pt x="50" y="30"/>
                    </a:lnTo>
                    <a:lnTo>
                      <a:pt x="52" y="32"/>
                    </a:lnTo>
                    <a:lnTo>
                      <a:pt x="53" y="33"/>
                    </a:lnTo>
                    <a:lnTo>
                      <a:pt x="49" y="36"/>
                    </a:lnTo>
                    <a:lnTo>
                      <a:pt x="53" y="38"/>
                    </a:lnTo>
                    <a:lnTo>
                      <a:pt x="54" y="37"/>
                    </a:lnTo>
                    <a:lnTo>
                      <a:pt x="52" y="36"/>
                    </a:lnTo>
                    <a:lnTo>
                      <a:pt x="52" y="34"/>
                    </a:lnTo>
                    <a:lnTo>
                      <a:pt x="59" y="40"/>
                    </a:lnTo>
                    <a:lnTo>
                      <a:pt x="63" y="38"/>
                    </a:lnTo>
                    <a:lnTo>
                      <a:pt x="65" y="40"/>
                    </a:lnTo>
                    <a:lnTo>
                      <a:pt x="69" y="40"/>
                    </a:lnTo>
                    <a:lnTo>
                      <a:pt x="65" y="38"/>
                    </a:lnTo>
                    <a:lnTo>
                      <a:pt x="64" y="37"/>
                    </a:lnTo>
                    <a:lnTo>
                      <a:pt x="71" y="36"/>
                    </a:lnTo>
                    <a:lnTo>
                      <a:pt x="71" y="36"/>
                    </a:lnTo>
                    <a:lnTo>
                      <a:pt x="73" y="37"/>
                    </a:lnTo>
                    <a:lnTo>
                      <a:pt x="75" y="40"/>
                    </a:lnTo>
                    <a:lnTo>
                      <a:pt x="76" y="44"/>
                    </a:lnTo>
                    <a:lnTo>
                      <a:pt x="72" y="43"/>
                    </a:lnTo>
                    <a:lnTo>
                      <a:pt x="71" y="43"/>
                    </a:lnTo>
                    <a:lnTo>
                      <a:pt x="75" y="47"/>
                    </a:lnTo>
                    <a:lnTo>
                      <a:pt x="76" y="48"/>
                    </a:lnTo>
                    <a:lnTo>
                      <a:pt x="75" y="49"/>
                    </a:lnTo>
                    <a:lnTo>
                      <a:pt x="75" y="49"/>
                    </a:lnTo>
                    <a:lnTo>
                      <a:pt x="71" y="49"/>
                    </a:lnTo>
                    <a:lnTo>
                      <a:pt x="65" y="49"/>
                    </a:lnTo>
                    <a:lnTo>
                      <a:pt x="65" y="52"/>
                    </a:lnTo>
                    <a:lnTo>
                      <a:pt x="59" y="51"/>
                    </a:lnTo>
                    <a:lnTo>
                      <a:pt x="61" y="52"/>
                    </a:lnTo>
                    <a:lnTo>
                      <a:pt x="63" y="52"/>
                    </a:lnTo>
                    <a:lnTo>
                      <a:pt x="65" y="52"/>
                    </a:lnTo>
                    <a:lnTo>
                      <a:pt x="64" y="57"/>
                    </a:lnTo>
                    <a:lnTo>
                      <a:pt x="63" y="57"/>
                    </a:lnTo>
                    <a:lnTo>
                      <a:pt x="63" y="57"/>
                    </a:lnTo>
                    <a:lnTo>
                      <a:pt x="52" y="53"/>
                    </a:lnTo>
                    <a:lnTo>
                      <a:pt x="46" y="51"/>
                    </a:lnTo>
                    <a:lnTo>
                      <a:pt x="41" y="49"/>
                    </a:lnTo>
                    <a:lnTo>
                      <a:pt x="41" y="51"/>
                    </a:lnTo>
                    <a:lnTo>
                      <a:pt x="50" y="53"/>
                    </a:lnTo>
                    <a:lnTo>
                      <a:pt x="50" y="53"/>
                    </a:lnTo>
                    <a:lnTo>
                      <a:pt x="53" y="56"/>
                    </a:lnTo>
                    <a:lnTo>
                      <a:pt x="56" y="59"/>
                    </a:lnTo>
                    <a:lnTo>
                      <a:pt x="54" y="60"/>
                    </a:lnTo>
                    <a:lnTo>
                      <a:pt x="54" y="60"/>
                    </a:lnTo>
                    <a:lnTo>
                      <a:pt x="52" y="60"/>
                    </a:lnTo>
                    <a:lnTo>
                      <a:pt x="49" y="57"/>
                    </a:lnTo>
                    <a:lnTo>
                      <a:pt x="45" y="53"/>
                    </a:lnTo>
                    <a:lnTo>
                      <a:pt x="44" y="53"/>
                    </a:lnTo>
                    <a:lnTo>
                      <a:pt x="42" y="56"/>
                    </a:lnTo>
                    <a:lnTo>
                      <a:pt x="40" y="55"/>
                    </a:lnTo>
                    <a:lnTo>
                      <a:pt x="38" y="56"/>
                    </a:lnTo>
                    <a:lnTo>
                      <a:pt x="41" y="59"/>
                    </a:lnTo>
                    <a:lnTo>
                      <a:pt x="41" y="60"/>
                    </a:lnTo>
                    <a:lnTo>
                      <a:pt x="41" y="60"/>
                    </a:lnTo>
                    <a:lnTo>
                      <a:pt x="37" y="59"/>
                    </a:lnTo>
                    <a:lnTo>
                      <a:pt x="34" y="56"/>
                    </a:lnTo>
                    <a:lnTo>
                      <a:pt x="34" y="56"/>
                    </a:lnTo>
                    <a:lnTo>
                      <a:pt x="29" y="53"/>
                    </a:lnTo>
                    <a:lnTo>
                      <a:pt x="27" y="51"/>
                    </a:lnTo>
                    <a:lnTo>
                      <a:pt x="26" y="47"/>
                    </a:lnTo>
                    <a:lnTo>
                      <a:pt x="23" y="47"/>
                    </a:lnTo>
                    <a:lnTo>
                      <a:pt x="22" y="47"/>
                    </a:lnTo>
                    <a:lnTo>
                      <a:pt x="19" y="48"/>
                    </a:lnTo>
                    <a:lnTo>
                      <a:pt x="19" y="48"/>
                    </a:lnTo>
                    <a:lnTo>
                      <a:pt x="15" y="45"/>
                    </a:lnTo>
                    <a:lnTo>
                      <a:pt x="10" y="44"/>
                    </a:lnTo>
                    <a:lnTo>
                      <a:pt x="7" y="45"/>
                    </a:lnTo>
                    <a:lnTo>
                      <a:pt x="7" y="45"/>
                    </a:lnTo>
                    <a:lnTo>
                      <a:pt x="7" y="38"/>
                    </a:lnTo>
                    <a:lnTo>
                      <a:pt x="6" y="32"/>
                    </a:lnTo>
                    <a:lnTo>
                      <a:pt x="2" y="29"/>
                    </a:lnTo>
                    <a:lnTo>
                      <a:pt x="0" y="26"/>
                    </a:lnTo>
                    <a:lnTo>
                      <a:pt x="4" y="25"/>
                    </a:lnTo>
                    <a:lnTo>
                      <a:pt x="4" y="21"/>
                    </a:lnTo>
                    <a:lnTo>
                      <a:pt x="0" y="19"/>
                    </a:lnTo>
                    <a:lnTo>
                      <a:pt x="2" y="18"/>
                    </a:lnTo>
                    <a:lnTo>
                      <a:pt x="2" y="14"/>
                    </a:lnTo>
                    <a:lnTo>
                      <a:pt x="2" y="14"/>
                    </a:lnTo>
                    <a:lnTo>
                      <a:pt x="6" y="13"/>
                    </a:lnTo>
                    <a:lnTo>
                      <a:pt x="10" y="14"/>
                    </a:lnTo>
                    <a:lnTo>
                      <a:pt x="12" y="13"/>
                    </a:lnTo>
                    <a:lnTo>
                      <a:pt x="16" y="2"/>
                    </a:lnTo>
                    <a:lnTo>
                      <a:pt x="21" y="0"/>
                    </a:lnTo>
                    <a:lnTo>
                      <a:pt x="23"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8" name="Freeform 127">
                <a:extLst>
                  <a:ext uri="{FF2B5EF4-FFF2-40B4-BE49-F238E27FC236}">
                    <a16:creationId xmlns:a16="http://schemas.microsoft.com/office/drawing/2014/main" id="{DB5A0FAF-F145-40F7-B523-31362DCE9C57}"/>
                  </a:ext>
                </a:extLst>
              </p:cNvPr>
              <p:cNvSpPr>
                <a:spLocks/>
              </p:cNvSpPr>
              <p:nvPr/>
            </p:nvSpPr>
            <p:spPr bwMode="auto">
              <a:xfrm>
                <a:off x="1789113" y="2574994"/>
                <a:ext cx="3175" cy="9525"/>
              </a:xfrm>
              <a:custGeom>
                <a:avLst/>
                <a:gdLst>
                  <a:gd name="T0" fmla="*/ 0 w 4"/>
                  <a:gd name="T1" fmla="*/ 11 h 11"/>
                  <a:gd name="T2" fmla="*/ 0 w 4"/>
                  <a:gd name="T3" fmla="*/ 11 h 11"/>
                  <a:gd name="T4" fmla="*/ 1 w 4"/>
                  <a:gd name="T5" fmla="*/ 6 h 11"/>
                  <a:gd name="T6" fmla="*/ 2 w 4"/>
                  <a:gd name="T7" fmla="*/ 0 h 11"/>
                  <a:gd name="T8" fmla="*/ 4 w 4"/>
                  <a:gd name="T9" fmla="*/ 0 h 11"/>
                  <a:gd name="T10" fmla="*/ 1 w 4"/>
                  <a:gd name="T11" fmla="*/ 10 h 11"/>
                  <a:gd name="T12" fmla="*/ 0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0" y="11"/>
                    </a:moveTo>
                    <a:lnTo>
                      <a:pt x="0" y="11"/>
                    </a:lnTo>
                    <a:lnTo>
                      <a:pt x="1" y="6"/>
                    </a:lnTo>
                    <a:lnTo>
                      <a:pt x="2" y="0"/>
                    </a:lnTo>
                    <a:lnTo>
                      <a:pt x="4" y="0"/>
                    </a:lnTo>
                    <a:lnTo>
                      <a:pt x="1" y="10"/>
                    </a:lnTo>
                    <a:lnTo>
                      <a:pt x="0" y="1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99" name="Freeform 128">
                <a:extLst>
                  <a:ext uri="{FF2B5EF4-FFF2-40B4-BE49-F238E27FC236}">
                    <a16:creationId xmlns:a16="http://schemas.microsoft.com/office/drawing/2014/main" id="{0A18EBFD-0926-4B2A-89FD-C8DD01331CD1}"/>
                  </a:ext>
                </a:extLst>
              </p:cNvPr>
              <p:cNvSpPr>
                <a:spLocks/>
              </p:cNvSpPr>
              <p:nvPr/>
            </p:nvSpPr>
            <p:spPr bwMode="auto">
              <a:xfrm>
                <a:off x="1830388" y="2578169"/>
                <a:ext cx="12700" cy="11113"/>
              </a:xfrm>
              <a:custGeom>
                <a:avLst/>
                <a:gdLst>
                  <a:gd name="T0" fmla="*/ 13 w 16"/>
                  <a:gd name="T1" fmla="*/ 0 h 15"/>
                  <a:gd name="T2" fmla="*/ 15 w 16"/>
                  <a:gd name="T3" fmla="*/ 0 h 15"/>
                  <a:gd name="T4" fmla="*/ 15 w 16"/>
                  <a:gd name="T5" fmla="*/ 1 h 15"/>
                  <a:gd name="T6" fmla="*/ 13 w 16"/>
                  <a:gd name="T7" fmla="*/ 4 h 15"/>
                  <a:gd name="T8" fmla="*/ 15 w 16"/>
                  <a:gd name="T9" fmla="*/ 5 h 15"/>
                  <a:gd name="T10" fmla="*/ 15 w 16"/>
                  <a:gd name="T11" fmla="*/ 5 h 15"/>
                  <a:gd name="T12" fmla="*/ 16 w 16"/>
                  <a:gd name="T13" fmla="*/ 4 h 15"/>
                  <a:gd name="T14" fmla="*/ 16 w 16"/>
                  <a:gd name="T15" fmla="*/ 8 h 15"/>
                  <a:gd name="T16" fmla="*/ 9 w 16"/>
                  <a:gd name="T17" fmla="*/ 12 h 15"/>
                  <a:gd name="T18" fmla="*/ 5 w 16"/>
                  <a:gd name="T19" fmla="*/ 12 h 15"/>
                  <a:gd name="T20" fmla="*/ 4 w 16"/>
                  <a:gd name="T21" fmla="*/ 12 h 15"/>
                  <a:gd name="T22" fmla="*/ 5 w 16"/>
                  <a:gd name="T23" fmla="*/ 14 h 15"/>
                  <a:gd name="T24" fmla="*/ 9 w 16"/>
                  <a:gd name="T25" fmla="*/ 14 h 15"/>
                  <a:gd name="T26" fmla="*/ 8 w 16"/>
                  <a:gd name="T27" fmla="*/ 15 h 15"/>
                  <a:gd name="T28" fmla="*/ 2 w 16"/>
                  <a:gd name="T29" fmla="*/ 15 h 15"/>
                  <a:gd name="T30" fmla="*/ 0 w 16"/>
                  <a:gd name="T31" fmla="*/ 11 h 15"/>
                  <a:gd name="T32" fmla="*/ 0 w 16"/>
                  <a:gd name="T33" fmla="*/ 11 h 15"/>
                  <a:gd name="T34" fmla="*/ 5 w 16"/>
                  <a:gd name="T35" fmla="*/ 4 h 15"/>
                  <a:gd name="T36" fmla="*/ 6 w 16"/>
                  <a:gd name="T37" fmla="*/ 4 h 15"/>
                  <a:gd name="T38" fmla="*/ 8 w 16"/>
                  <a:gd name="T39" fmla="*/ 1 h 15"/>
                  <a:gd name="T40" fmla="*/ 12 w 16"/>
                  <a:gd name="T41" fmla="*/ 1 h 15"/>
                  <a:gd name="T42" fmla="*/ 13 w 16"/>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5">
                    <a:moveTo>
                      <a:pt x="13" y="0"/>
                    </a:moveTo>
                    <a:lnTo>
                      <a:pt x="15" y="0"/>
                    </a:lnTo>
                    <a:lnTo>
                      <a:pt x="15" y="1"/>
                    </a:lnTo>
                    <a:lnTo>
                      <a:pt x="13" y="4"/>
                    </a:lnTo>
                    <a:lnTo>
                      <a:pt x="15" y="5"/>
                    </a:lnTo>
                    <a:lnTo>
                      <a:pt x="15" y="5"/>
                    </a:lnTo>
                    <a:lnTo>
                      <a:pt x="16" y="4"/>
                    </a:lnTo>
                    <a:lnTo>
                      <a:pt x="16" y="8"/>
                    </a:lnTo>
                    <a:lnTo>
                      <a:pt x="9" y="12"/>
                    </a:lnTo>
                    <a:lnTo>
                      <a:pt x="5" y="12"/>
                    </a:lnTo>
                    <a:lnTo>
                      <a:pt x="4" y="12"/>
                    </a:lnTo>
                    <a:lnTo>
                      <a:pt x="5" y="14"/>
                    </a:lnTo>
                    <a:lnTo>
                      <a:pt x="9" y="14"/>
                    </a:lnTo>
                    <a:lnTo>
                      <a:pt x="8" y="15"/>
                    </a:lnTo>
                    <a:lnTo>
                      <a:pt x="2" y="15"/>
                    </a:lnTo>
                    <a:lnTo>
                      <a:pt x="0" y="11"/>
                    </a:lnTo>
                    <a:lnTo>
                      <a:pt x="0" y="11"/>
                    </a:lnTo>
                    <a:lnTo>
                      <a:pt x="5" y="4"/>
                    </a:lnTo>
                    <a:lnTo>
                      <a:pt x="6" y="4"/>
                    </a:lnTo>
                    <a:lnTo>
                      <a:pt x="8" y="1"/>
                    </a:lnTo>
                    <a:lnTo>
                      <a:pt x="12" y="1"/>
                    </a:lnTo>
                    <a:lnTo>
                      <a:pt x="13"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0" name="Freeform 129">
                <a:extLst>
                  <a:ext uri="{FF2B5EF4-FFF2-40B4-BE49-F238E27FC236}">
                    <a16:creationId xmlns:a16="http://schemas.microsoft.com/office/drawing/2014/main" id="{B8AB203F-D89C-4E78-A4D3-B48069FF64B6}"/>
                  </a:ext>
                </a:extLst>
              </p:cNvPr>
              <p:cNvSpPr>
                <a:spLocks/>
              </p:cNvSpPr>
              <p:nvPr/>
            </p:nvSpPr>
            <p:spPr bwMode="auto">
              <a:xfrm>
                <a:off x="2228850" y="2606744"/>
                <a:ext cx="7938" cy="9525"/>
              </a:xfrm>
              <a:custGeom>
                <a:avLst/>
                <a:gdLst>
                  <a:gd name="T0" fmla="*/ 4 w 11"/>
                  <a:gd name="T1" fmla="*/ 0 h 12"/>
                  <a:gd name="T2" fmla="*/ 6 w 11"/>
                  <a:gd name="T3" fmla="*/ 0 h 12"/>
                  <a:gd name="T4" fmla="*/ 6 w 11"/>
                  <a:gd name="T5" fmla="*/ 0 h 12"/>
                  <a:gd name="T6" fmla="*/ 8 w 11"/>
                  <a:gd name="T7" fmla="*/ 4 h 12"/>
                  <a:gd name="T8" fmla="*/ 11 w 11"/>
                  <a:gd name="T9" fmla="*/ 6 h 12"/>
                  <a:gd name="T10" fmla="*/ 11 w 11"/>
                  <a:gd name="T11" fmla="*/ 8 h 12"/>
                  <a:gd name="T12" fmla="*/ 7 w 11"/>
                  <a:gd name="T13" fmla="*/ 12 h 12"/>
                  <a:gd name="T14" fmla="*/ 2 w 11"/>
                  <a:gd name="T15" fmla="*/ 8 h 12"/>
                  <a:gd name="T16" fmla="*/ 0 w 11"/>
                  <a:gd name="T17" fmla="*/ 2 h 12"/>
                  <a:gd name="T18" fmla="*/ 0 w 11"/>
                  <a:gd name="T19" fmla="*/ 2 h 12"/>
                  <a:gd name="T20" fmla="*/ 4 w 11"/>
                  <a:gd name="T21" fmla="*/ 0 h 12"/>
                  <a:gd name="T22" fmla="*/ 4 w 11"/>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2">
                    <a:moveTo>
                      <a:pt x="4" y="0"/>
                    </a:moveTo>
                    <a:lnTo>
                      <a:pt x="6" y="0"/>
                    </a:lnTo>
                    <a:lnTo>
                      <a:pt x="6" y="0"/>
                    </a:lnTo>
                    <a:lnTo>
                      <a:pt x="8" y="4"/>
                    </a:lnTo>
                    <a:lnTo>
                      <a:pt x="11" y="6"/>
                    </a:lnTo>
                    <a:lnTo>
                      <a:pt x="11" y="8"/>
                    </a:lnTo>
                    <a:lnTo>
                      <a:pt x="7" y="12"/>
                    </a:lnTo>
                    <a:lnTo>
                      <a:pt x="2" y="8"/>
                    </a:lnTo>
                    <a:lnTo>
                      <a:pt x="0" y="2"/>
                    </a:lnTo>
                    <a:lnTo>
                      <a:pt x="0" y="2"/>
                    </a:lnTo>
                    <a:lnTo>
                      <a:pt x="4" y="0"/>
                    </a:lnTo>
                    <a:lnTo>
                      <a:pt x="4"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1" name="Freeform 130">
                <a:extLst>
                  <a:ext uri="{FF2B5EF4-FFF2-40B4-BE49-F238E27FC236}">
                    <a16:creationId xmlns:a16="http://schemas.microsoft.com/office/drawing/2014/main" id="{466BEDF8-917C-45FC-A2FE-F77A19DCB535}"/>
                  </a:ext>
                </a:extLst>
              </p:cNvPr>
              <p:cNvSpPr>
                <a:spLocks/>
              </p:cNvSpPr>
              <p:nvPr/>
            </p:nvSpPr>
            <p:spPr bwMode="auto">
              <a:xfrm>
                <a:off x="2035175" y="2609919"/>
                <a:ext cx="9525" cy="7938"/>
              </a:xfrm>
              <a:custGeom>
                <a:avLst/>
                <a:gdLst>
                  <a:gd name="T0" fmla="*/ 10 w 11"/>
                  <a:gd name="T1" fmla="*/ 1 h 9"/>
                  <a:gd name="T2" fmla="*/ 11 w 11"/>
                  <a:gd name="T3" fmla="*/ 2 h 9"/>
                  <a:gd name="T4" fmla="*/ 11 w 11"/>
                  <a:gd name="T5" fmla="*/ 2 h 9"/>
                  <a:gd name="T6" fmla="*/ 10 w 11"/>
                  <a:gd name="T7" fmla="*/ 6 h 9"/>
                  <a:gd name="T8" fmla="*/ 9 w 11"/>
                  <a:gd name="T9" fmla="*/ 9 h 9"/>
                  <a:gd name="T10" fmla="*/ 6 w 11"/>
                  <a:gd name="T11" fmla="*/ 9 h 9"/>
                  <a:gd name="T12" fmla="*/ 5 w 11"/>
                  <a:gd name="T13" fmla="*/ 6 h 9"/>
                  <a:gd name="T14" fmla="*/ 2 w 11"/>
                  <a:gd name="T15" fmla="*/ 9 h 9"/>
                  <a:gd name="T16" fmla="*/ 0 w 11"/>
                  <a:gd name="T17" fmla="*/ 6 h 9"/>
                  <a:gd name="T18" fmla="*/ 2 w 11"/>
                  <a:gd name="T19" fmla="*/ 5 h 9"/>
                  <a:gd name="T20" fmla="*/ 5 w 11"/>
                  <a:gd name="T21" fmla="*/ 4 h 9"/>
                  <a:gd name="T22" fmla="*/ 5 w 11"/>
                  <a:gd name="T23" fmla="*/ 2 h 9"/>
                  <a:gd name="T24" fmla="*/ 5 w 11"/>
                  <a:gd name="T25" fmla="*/ 2 h 9"/>
                  <a:gd name="T26" fmla="*/ 6 w 11"/>
                  <a:gd name="T27" fmla="*/ 1 h 9"/>
                  <a:gd name="T28" fmla="*/ 9 w 11"/>
                  <a:gd name="T29" fmla="*/ 0 h 9"/>
                  <a:gd name="T30" fmla="*/ 10 w 11"/>
                  <a:gd name="T3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9">
                    <a:moveTo>
                      <a:pt x="10" y="1"/>
                    </a:moveTo>
                    <a:lnTo>
                      <a:pt x="11" y="2"/>
                    </a:lnTo>
                    <a:lnTo>
                      <a:pt x="11" y="2"/>
                    </a:lnTo>
                    <a:lnTo>
                      <a:pt x="10" y="6"/>
                    </a:lnTo>
                    <a:lnTo>
                      <a:pt x="9" y="9"/>
                    </a:lnTo>
                    <a:lnTo>
                      <a:pt x="6" y="9"/>
                    </a:lnTo>
                    <a:lnTo>
                      <a:pt x="5" y="6"/>
                    </a:lnTo>
                    <a:lnTo>
                      <a:pt x="2" y="9"/>
                    </a:lnTo>
                    <a:lnTo>
                      <a:pt x="0" y="6"/>
                    </a:lnTo>
                    <a:lnTo>
                      <a:pt x="2" y="5"/>
                    </a:lnTo>
                    <a:lnTo>
                      <a:pt x="5" y="4"/>
                    </a:lnTo>
                    <a:lnTo>
                      <a:pt x="5" y="2"/>
                    </a:lnTo>
                    <a:lnTo>
                      <a:pt x="5" y="2"/>
                    </a:lnTo>
                    <a:lnTo>
                      <a:pt x="6" y="1"/>
                    </a:lnTo>
                    <a:lnTo>
                      <a:pt x="9" y="0"/>
                    </a:lnTo>
                    <a:lnTo>
                      <a:pt x="10"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2" name="Freeform 131">
                <a:extLst>
                  <a:ext uri="{FF2B5EF4-FFF2-40B4-BE49-F238E27FC236}">
                    <a16:creationId xmlns:a16="http://schemas.microsoft.com/office/drawing/2014/main" id="{886E65B3-289D-440B-9DE0-1D0935956958}"/>
                  </a:ext>
                </a:extLst>
              </p:cNvPr>
              <p:cNvSpPr>
                <a:spLocks/>
              </p:cNvSpPr>
              <p:nvPr/>
            </p:nvSpPr>
            <p:spPr bwMode="auto">
              <a:xfrm>
                <a:off x="2160588" y="2530544"/>
                <a:ext cx="31750" cy="87313"/>
              </a:xfrm>
              <a:custGeom>
                <a:avLst/>
                <a:gdLst>
                  <a:gd name="T0" fmla="*/ 34 w 39"/>
                  <a:gd name="T1" fmla="*/ 0 h 108"/>
                  <a:gd name="T2" fmla="*/ 36 w 39"/>
                  <a:gd name="T3" fmla="*/ 4 h 108"/>
                  <a:gd name="T4" fmla="*/ 39 w 39"/>
                  <a:gd name="T5" fmla="*/ 6 h 108"/>
                  <a:gd name="T6" fmla="*/ 35 w 39"/>
                  <a:gd name="T7" fmla="*/ 21 h 108"/>
                  <a:gd name="T8" fmla="*/ 28 w 39"/>
                  <a:gd name="T9" fmla="*/ 35 h 108"/>
                  <a:gd name="T10" fmla="*/ 22 w 39"/>
                  <a:gd name="T11" fmla="*/ 39 h 108"/>
                  <a:gd name="T12" fmla="*/ 19 w 39"/>
                  <a:gd name="T13" fmla="*/ 47 h 108"/>
                  <a:gd name="T14" fmla="*/ 22 w 39"/>
                  <a:gd name="T15" fmla="*/ 51 h 108"/>
                  <a:gd name="T16" fmla="*/ 24 w 39"/>
                  <a:gd name="T17" fmla="*/ 65 h 108"/>
                  <a:gd name="T18" fmla="*/ 27 w 39"/>
                  <a:gd name="T19" fmla="*/ 78 h 108"/>
                  <a:gd name="T20" fmla="*/ 34 w 39"/>
                  <a:gd name="T21" fmla="*/ 82 h 108"/>
                  <a:gd name="T22" fmla="*/ 34 w 39"/>
                  <a:gd name="T23" fmla="*/ 89 h 108"/>
                  <a:gd name="T24" fmla="*/ 32 w 39"/>
                  <a:gd name="T25" fmla="*/ 95 h 108"/>
                  <a:gd name="T26" fmla="*/ 30 w 39"/>
                  <a:gd name="T27" fmla="*/ 96 h 108"/>
                  <a:gd name="T28" fmla="*/ 23 w 39"/>
                  <a:gd name="T29" fmla="*/ 105 h 108"/>
                  <a:gd name="T30" fmla="*/ 7 w 39"/>
                  <a:gd name="T31" fmla="*/ 105 h 108"/>
                  <a:gd name="T32" fmla="*/ 5 w 39"/>
                  <a:gd name="T33" fmla="*/ 103 h 108"/>
                  <a:gd name="T34" fmla="*/ 5 w 39"/>
                  <a:gd name="T35" fmla="*/ 97 h 108"/>
                  <a:gd name="T36" fmla="*/ 0 w 39"/>
                  <a:gd name="T37" fmla="*/ 93 h 108"/>
                  <a:gd name="T38" fmla="*/ 0 w 39"/>
                  <a:gd name="T39" fmla="*/ 89 h 108"/>
                  <a:gd name="T40" fmla="*/ 0 w 39"/>
                  <a:gd name="T41" fmla="*/ 84 h 108"/>
                  <a:gd name="T42" fmla="*/ 4 w 39"/>
                  <a:gd name="T43" fmla="*/ 78 h 108"/>
                  <a:gd name="T44" fmla="*/ 0 w 39"/>
                  <a:gd name="T45" fmla="*/ 63 h 108"/>
                  <a:gd name="T46" fmla="*/ 1 w 39"/>
                  <a:gd name="T47" fmla="*/ 57 h 108"/>
                  <a:gd name="T48" fmla="*/ 0 w 39"/>
                  <a:gd name="T49" fmla="*/ 50 h 108"/>
                  <a:gd name="T50" fmla="*/ 3 w 39"/>
                  <a:gd name="T51" fmla="*/ 38 h 108"/>
                  <a:gd name="T52" fmla="*/ 9 w 39"/>
                  <a:gd name="T53" fmla="*/ 28 h 108"/>
                  <a:gd name="T54" fmla="*/ 13 w 39"/>
                  <a:gd name="T55" fmla="*/ 28 h 108"/>
                  <a:gd name="T56" fmla="*/ 20 w 39"/>
                  <a:gd name="T57" fmla="*/ 28 h 108"/>
                  <a:gd name="T58" fmla="*/ 26 w 39"/>
                  <a:gd name="T59" fmla="*/ 25 h 108"/>
                  <a:gd name="T60" fmla="*/ 20 w 39"/>
                  <a:gd name="T61" fmla="*/ 21 h 108"/>
                  <a:gd name="T62" fmla="*/ 23 w 39"/>
                  <a:gd name="T63" fmla="*/ 15 h 108"/>
                  <a:gd name="T64" fmla="*/ 24 w 39"/>
                  <a:gd name="T65" fmla="*/ 11 h 108"/>
                  <a:gd name="T66" fmla="*/ 30 w 39"/>
                  <a:gd name="T67" fmla="*/ 9 h 108"/>
                  <a:gd name="T68" fmla="*/ 34 w 39"/>
                  <a:gd name="T69" fmla="*/ 6 h 108"/>
                  <a:gd name="T70" fmla="*/ 32 w 39"/>
                  <a:gd name="T71"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108">
                    <a:moveTo>
                      <a:pt x="32" y="0"/>
                    </a:moveTo>
                    <a:lnTo>
                      <a:pt x="34" y="0"/>
                    </a:lnTo>
                    <a:lnTo>
                      <a:pt x="36" y="2"/>
                    </a:lnTo>
                    <a:lnTo>
                      <a:pt x="36" y="4"/>
                    </a:lnTo>
                    <a:lnTo>
                      <a:pt x="39" y="6"/>
                    </a:lnTo>
                    <a:lnTo>
                      <a:pt x="39" y="6"/>
                    </a:lnTo>
                    <a:lnTo>
                      <a:pt x="38" y="13"/>
                    </a:lnTo>
                    <a:lnTo>
                      <a:pt x="35" y="21"/>
                    </a:lnTo>
                    <a:lnTo>
                      <a:pt x="31" y="30"/>
                    </a:lnTo>
                    <a:lnTo>
                      <a:pt x="28" y="35"/>
                    </a:lnTo>
                    <a:lnTo>
                      <a:pt x="28" y="35"/>
                    </a:lnTo>
                    <a:lnTo>
                      <a:pt x="22" y="39"/>
                    </a:lnTo>
                    <a:lnTo>
                      <a:pt x="19" y="42"/>
                    </a:lnTo>
                    <a:lnTo>
                      <a:pt x="19" y="47"/>
                    </a:lnTo>
                    <a:lnTo>
                      <a:pt x="19" y="47"/>
                    </a:lnTo>
                    <a:lnTo>
                      <a:pt x="22" y="51"/>
                    </a:lnTo>
                    <a:lnTo>
                      <a:pt x="23" y="55"/>
                    </a:lnTo>
                    <a:lnTo>
                      <a:pt x="24" y="65"/>
                    </a:lnTo>
                    <a:lnTo>
                      <a:pt x="26" y="74"/>
                    </a:lnTo>
                    <a:lnTo>
                      <a:pt x="27" y="78"/>
                    </a:lnTo>
                    <a:lnTo>
                      <a:pt x="30" y="82"/>
                    </a:lnTo>
                    <a:lnTo>
                      <a:pt x="34" y="82"/>
                    </a:lnTo>
                    <a:lnTo>
                      <a:pt x="34" y="82"/>
                    </a:lnTo>
                    <a:lnTo>
                      <a:pt x="34" y="89"/>
                    </a:lnTo>
                    <a:lnTo>
                      <a:pt x="34" y="92"/>
                    </a:lnTo>
                    <a:lnTo>
                      <a:pt x="32" y="95"/>
                    </a:lnTo>
                    <a:lnTo>
                      <a:pt x="32" y="95"/>
                    </a:lnTo>
                    <a:lnTo>
                      <a:pt x="30" y="96"/>
                    </a:lnTo>
                    <a:lnTo>
                      <a:pt x="27" y="99"/>
                    </a:lnTo>
                    <a:lnTo>
                      <a:pt x="23" y="105"/>
                    </a:lnTo>
                    <a:lnTo>
                      <a:pt x="11" y="108"/>
                    </a:lnTo>
                    <a:lnTo>
                      <a:pt x="7" y="105"/>
                    </a:lnTo>
                    <a:lnTo>
                      <a:pt x="7" y="105"/>
                    </a:lnTo>
                    <a:lnTo>
                      <a:pt x="5" y="103"/>
                    </a:lnTo>
                    <a:lnTo>
                      <a:pt x="5" y="101"/>
                    </a:lnTo>
                    <a:lnTo>
                      <a:pt x="5" y="97"/>
                    </a:lnTo>
                    <a:lnTo>
                      <a:pt x="5" y="97"/>
                    </a:lnTo>
                    <a:lnTo>
                      <a:pt x="0" y="93"/>
                    </a:lnTo>
                    <a:lnTo>
                      <a:pt x="0" y="93"/>
                    </a:lnTo>
                    <a:lnTo>
                      <a:pt x="0" y="89"/>
                    </a:lnTo>
                    <a:lnTo>
                      <a:pt x="0" y="84"/>
                    </a:lnTo>
                    <a:lnTo>
                      <a:pt x="0" y="84"/>
                    </a:lnTo>
                    <a:lnTo>
                      <a:pt x="3" y="81"/>
                    </a:lnTo>
                    <a:lnTo>
                      <a:pt x="4" y="78"/>
                    </a:lnTo>
                    <a:lnTo>
                      <a:pt x="0" y="63"/>
                    </a:lnTo>
                    <a:lnTo>
                      <a:pt x="0" y="63"/>
                    </a:lnTo>
                    <a:lnTo>
                      <a:pt x="1" y="61"/>
                    </a:lnTo>
                    <a:lnTo>
                      <a:pt x="1" y="57"/>
                    </a:lnTo>
                    <a:lnTo>
                      <a:pt x="0" y="50"/>
                    </a:lnTo>
                    <a:lnTo>
                      <a:pt x="0" y="50"/>
                    </a:lnTo>
                    <a:lnTo>
                      <a:pt x="3" y="38"/>
                    </a:lnTo>
                    <a:lnTo>
                      <a:pt x="3" y="38"/>
                    </a:lnTo>
                    <a:lnTo>
                      <a:pt x="7" y="31"/>
                    </a:lnTo>
                    <a:lnTo>
                      <a:pt x="9" y="28"/>
                    </a:lnTo>
                    <a:lnTo>
                      <a:pt x="12" y="27"/>
                    </a:lnTo>
                    <a:lnTo>
                      <a:pt x="13" y="28"/>
                    </a:lnTo>
                    <a:lnTo>
                      <a:pt x="17" y="27"/>
                    </a:lnTo>
                    <a:lnTo>
                      <a:pt x="20" y="28"/>
                    </a:lnTo>
                    <a:lnTo>
                      <a:pt x="23" y="28"/>
                    </a:lnTo>
                    <a:lnTo>
                      <a:pt x="26" y="25"/>
                    </a:lnTo>
                    <a:lnTo>
                      <a:pt x="24" y="23"/>
                    </a:lnTo>
                    <a:lnTo>
                      <a:pt x="20" y="21"/>
                    </a:lnTo>
                    <a:lnTo>
                      <a:pt x="23" y="19"/>
                    </a:lnTo>
                    <a:lnTo>
                      <a:pt x="23" y="15"/>
                    </a:lnTo>
                    <a:lnTo>
                      <a:pt x="24" y="13"/>
                    </a:lnTo>
                    <a:lnTo>
                      <a:pt x="24" y="11"/>
                    </a:lnTo>
                    <a:lnTo>
                      <a:pt x="24" y="11"/>
                    </a:lnTo>
                    <a:lnTo>
                      <a:pt x="30" y="9"/>
                    </a:lnTo>
                    <a:lnTo>
                      <a:pt x="32" y="8"/>
                    </a:lnTo>
                    <a:lnTo>
                      <a:pt x="34" y="6"/>
                    </a:lnTo>
                    <a:lnTo>
                      <a:pt x="32" y="5"/>
                    </a:lnTo>
                    <a:lnTo>
                      <a:pt x="32" y="2"/>
                    </a:lnTo>
                    <a:lnTo>
                      <a:pt x="3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3" name="Freeform 132">
                <a:extLst>
                  <a:ext uri="{FF2B5EF4-FFF2-40B4-BE49-F238E27FC236}">
                    <a16:creationId xmlns:a16="http://schemas.microsoft.com/office/drawing/2014/main" id="{8412ABAE-CB27-4E95-B930-37513CB053FF}"/>
                  </a:ext>
                </a:extLst>
              </p:cNvPr>
              <p:cNvSpPr>
                <a:spLocks/>
              </p:cNvSpPr>
              <p:nvPr/>
            </p:nvSpPr>
            <p:spPr bwMode="auto">
              <a:xfrm>
                <a:off x="1825625" y="2617856"/>
                <a:ext cx="1588" cy="3175"/>
              </a:xfrm>
              <a:custGeom>
                <a:avLst/>
                <a:gdLst>
                  <a:gd name="T0" fmla="*/ 1 w 3"/>
                  <a:gd name="T1" fmla="*/ 0 h 4"/>
                  <a:gd name="T2" fmla="*/ 3 w 3"/>
                  <a:gd name="T3" fmla="*/ 3 h 4"/>
                  <a:gd name="T4" fmla="*/ 1 w 3"/>
                  <a:gd name="T5" fmla="*/ 4 h 4"/>
                  <a:gd name="T6" fmla="*/ 0 w 3"/>
                  <a:gd name="T7" fmla="*/ 3 h 4"/>
                  <a:gd name="T8" fmla="*/ 0 w 3"/>
                  <a:gd name="T9" fmla="*/ 2 h 4"/>
                  <a:gd name="T10" fmla="*/ 1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1" y="0"/>
                    </a:moveTo>
                    <a:lnTo>
                      <a:pt x="3" y="3"/>
                    </a:lnTo>
                    <a:lnTo>
                      <a:pt x="1" y="4"/>
                    </a:lnTo>
                    <a:lnTo>
                      <a:pt x="0" y="3"/>
                    </a:lnTo>
                    <a:lnTo>
                      <a:pt x="0" y="2"/>
                    </a:lnTo>
                    <a:lnTo>
                      <a:pt x="1"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4" name="Freeform 133">
                <a:extLst>
                  <a:ext uri="{FF2B5EF4-FFF2-40B4-BE49-F238E27FC236}">
                    <a16:creationId xmlns:a16="http://schemas.microsoft.com/office/drawing/2014/main" id="{71746C3C-E29C-4969-980F-C48ACF1B1C0C}"/>
                  </a:ext>
                </a:extLst>
              </p:cNvPr>
              <p:cNvSpPr>
                <a:spLocks/>
              </p:cNvSpPr>
              <p:nvPr/>
            </p:nvSpPr>
            <p:spPr bwMode="auto">
              <a:xfrm>
                <a:off x="2178050" y="2619444"/>
                <a:ext cx="30163" cy="25400"/>
              </a:xfrm>
              <a:custGeom>
                <a:avLst/>
                <a:gdLst>
                  <a:gd name="T0" fmla="*/ 38 w 38"/>
                  <a:gd name="T1" fmla="*/ 18 h 32"/>
                  <a:gd name="T2" fmla="*/ 34 w 38"/>
                  <a:gd name="T3" fmla="*/ 23 h 32"/>
                  <a:gd name="T4" fmla="*/ 35 w 38"/>
                  <a:gd name="T5" fmla="*/ 26 h 32"/>
                  <a:gd name="T6" fmla="*/ 34 w 38"/>
                  <a:gd name="T7" fmla="*/ 28 h 32"/>
                  <a:gd name="T8" fmla="*/ 32 w 38"/>
                  <a:gd name="T9" fmla="*/ 27 h 32"/>
                  <a:gd name="T10" fmla="*/ 32 w 38"/>
                  <a:gd name="T11" fmla="*/ 27 h 32"/>
                  <a:gd name="T12" fmla="*/ 28 w 38"/>
                  <a:gd name="T13" fmla="*/ 31 h 32"/>
                  <a:gd name="T14" fmla="*/ 23 w 38"/>
                  <a:gd name="T15" fmla="*/ 32 h 32"/>
                  <a:gd name="T16" fmla="*/ 16 w 38"/>
                  <a:gd name="T17" fmla="*/ 32 h 32"/>
                  <a:gd name="T18" fmla="*/ 12 w 38"/>
                  <a:gd name="T19" fmla="*/ 30 h 32"/>
                  <a:gd name="T20" fmla="*/ 12 w 38"/>
                  <a:gd name="T21" fmla="*/ 30 h 32"/>
                  <a:gd name="T22" fmla="*/ 9 w 38"/>
                  <a:gd name="T23" fmla="*/ 26 h 32"/>
                  <a:gd name="T24" fmla="*/ 9 w 38"/>
                  <a:gd name="T25" fmla="*/ 26 h 32"/>
                  <a:gd name="T26" fmla="*/ 5 w 38"/>
                  <a:gd name="T27" fmla="*/ 23 h 32"/>
                  <a:gd name="T28" fmla="*/ 5 w 38"/>
                  <a:gd name="T29" fmla="*/ 23 h 32"/>
                  <a:gd name="T30" fmla="*/ 3 w 38"/>
                  <a:gd name="T31" fmla="*/ 19 h 32"/>
                  <a:gd name="T32" fmla="*/ 0 w 38"/>
                  <a:gd name="T33" fmla="*/ 15 h 32"/>
                  <a:gd name="T34" fmla="*/ 0 w 38"/>
                  <a:gd name="T35" fmla="*/ 9 h 32"/>
                  <a:gd name="T36" fmla="*/ 1 w 38"/>
                  <a:gd name="T37" fmla="*/ 4 h 32"/>
                  <a:gd name="T38" fmla="*/ 3 w 38"/>
                  <a:gd name="T39" fmla="*/ 3 h 32"/>
                  <a:gd name="T40" fmla="*/ 5 w 38"/>
                  <a:gd name="T41" fmla="*/ 3 h 32"/>
                  <a:gd name="T42" fmla="*/ 5 w 38"/>
                  <a:gd name="T43" fmla="*/ 1 h 32"/>
                  <a:gd name="T44" fmla="*/ 7 w 38"/>
                  <a:gd name="T45" fmla="*/ 0 h 32"/>
                  <a:gd name="T46" fmla="*/ 11 w 38"/>
                  <a:gd name="T47" fmla="*/ 1 h 32"/>
                  <a:gd name="T48" fmla="*/ 13 w 38"/>
                  <a:gd name="T49" fmla="*/ 0 h 32"/>
                  <a:gd name="T50" fmla="*/ 19 w 38"/>
                  <a:gd name="T51" fmla="*/ 4 h 32"/>
                  <a:gd name="T52" fmla="*/ 22 w 38"/>
                  <a:gd name="T53" fmla="*/ 3 h 32"/>
                  <a:gd name="T54" fmla="*/ 26 w 38"/>
                  <a:gd name="T55" fmla="*/ 4 h 32"/>
                  <a:gd name="T56" fmla="*/ 27 w 38"/>
                  <a:gd name="T57" fmla="*/ 4 h 32"/>
                  <a:gd name="T58" fmla="*/ 27 w 38"/>
                  <a:gd name="T59" fmla="*/ 4 h 32"/>
                  <a:gd name="T60" fmla="*/ 31 w 38"/>
                  <a:gd name="T61" fmla="*/ 7 h 32"/>
                  <a:gd name="T62" fmla="*/ 34 w 38"/>
                  <a:gd name="T63" fmla="*/ 11 h 32"/>
                  <a:gd name="T64" fmla="*/ 38 w 38"/>
                  <a:gd name="T65" fmla="*/ 18 h 32"/>
                  <a:gd name="T66" fmla="*/ 38 w 38"/>
                  <a:gd name="T6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2">
                    <a:moveTo>
                      <a:pt x="38" y="18"/>
                    </a:moveTo>
                    <a:lnTo>
                      <a:pt x="34" y="23"/>
                    </a:lnTo>
                    <a:lnTo>
                      <a:pt x="35" y="26"/>
                    </a:lnTo>
                    <a:lnTo>
                      <a:pt x="34" y="28"/>
                    </a:lnTo>
                    <a:lnTo>
                      <a:pt x="32" y="27"/>
                    </a:lnTo>
                    <a:lnTo>
                      <a:pt x="32" y="27"/>
                    </a:lnTo>
                    <a:lnTo>
                      <a:pt x="28" y="31"/>
                    </a:lnTo>
                    <a:lnTo>
                      <a:pt x="23" y="32"/>
                    </a:lnTo>
                    <a:lnTo>
                      <a:pt x="16" y="32"/>
                    </a:lnTo>
                    <a:lnTo>
                      <a:pt x="12" y="30"/>
                    </a:lnTo>
                    <a:lnTo>
                      <a:pt x="12" y="30"/>
                    </a:lnTo>
                    <a:lnTo>
                      <a:pt x="9" y="26"/>
                    </a:lnTo>
                    <a:lnTo>
                      <a:pt x="9" y="26"/>
                    </a:lnTo>
                    <a:lnTo>
                      <a:pt x="5" y="23"/>
                    </a:lnTo>
                    <a:lnTo>
                      <a:pt x="5" y="23"/>
                    </a:lnTo>
                    <a:lnTo>
                      <a:pt x="3" y="19"/>
                    </a:lnTo>
                    <a:lnTo>
                      <a:pt x="0" y="15"/>
                    </a:lnTo>
                    <a:lnTo>
                      <a:pt x="0" y="9"/>
                    </a:lnTo>
                    <a:lnTo>
                      <a:pt x="1" y="4"/>
                    </a:lnTo>
                    <a:lnTo>
                      <a:pt x="3" y="3"/>
                    </a:lnTo>
                    <a:lnTo>
                      <a:pt x="5" y="3"/>
                    </a:lnTo>
                    <a:lnTo>
                      <a:pt x="5" y="1"/>
                    </a:lnTo>
                    <a:lnTo>
                      <a:pt x="7" y="0"/>
                    </a:lnTo>
                    <a:lnTo>
                      <a:pt x="11" y="1"/>
                    </a:lnTo>
                    <a:lnTo>
                      <a:pt x="13" y="0"/>
                    </a:lnTo>
                    <a:lnTo>
                      <a:pt x="19" y="4"/>
                    </a:lnTo>
                    <a:lnTo>
                      <a:pt x="22" y="3"/>
                    </a:lnTo>
                    <a:lnTo>
                      <a:pt x="26" y="4"/>
                    </a:lnTo>
                    <a:lnTo>
                      <a:pt x="27" y="4"/>
                    </a:lnTo>
                    <a:lnTo>
                      <a:pt x="27" y="4"/>
                    </a:lnTo>
                    <a:lnTo>
                      <a:pt x="31" y="7"/>
                    </a:lnTo>
                    <a:lnTo>
                      <a:pt x="34" y="11"/>
                    </a:lnTo>
                    <a:lnTo>
                      <a:pt x="38" y="18"/>
                    </a:lnTo>
                    <a:lnTo>
                      <a:pt x="38" y="1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5" name="Freeform 134">
                <a:extLst>
                  <a:ext uri="{FF2B5EF4-FFF2-40B4-BE49-F238E27FC236}">
                    <a16:creationId xmlns:a16="http://schemas.microsoft.com/office/drawing/2014/main" id="{D07D5B4A-C7C4-48A3-A4E8-38A32CE06D8D}"/>
                  </a:ext>
                </a:extLst>
              </p:cNvPr>
              <p:cNvSpPr>
                <a:spLocks/>
              </p:cNvSpPr>
              <p:nvPr/>
            </p:nvSpPr>
            <p:spPr bwMode="auto">
              <a:xfrm>
                <a:off x="2222500" y="2641669"/>
                <a:ext cx="6350" cy="6350"/>
              </a:xfrm>
              <a:custGeom>
                <a:avLst/>
                <a:gdLst>
                  <a:gd name="T0" fmla="*/ 0 w 8"/>
                  <a:gd name="T1" fmla="*/ 3 h 8"/>
                  <a:gd name="T2" fmla="*/ 5 w 8"/>
                  <a:gd name="T3" fmla="*/ 0 h 8"/>
                  <a:gd name="T4" fmla="*/ 5 w 8"/>
                  <a:gd name="T5" fmla="*/ 1 h 8"/>
                  <a:gd name="T6" fmla="*/ 8 w 8"/>
                  <a:gd name="T7" fmla="*/ 5 h 8"/>
                  <a:gd name="T8" fmla="*/ 2 w 8"/>
                  <a:gd name="T9" fmla="*/ 8 h 8"/>
                  <a:gd name="T10" fmla="*/ 1 w 8"/>
                  <a:gd name="T11" fmla="*/ 8 h 8"/>
                  <a:gd name="T12" fmla="*/ 1 w 8"/>
                  <a:gd name="T13" fmla="*/ 8 h 8"/>
                  <a:gd name="T14" fmla="*/ 0 w 8"/>
                  <a:gd name="T15" fmla="*/ 5 h 8"/>
                  <a:gd name="T16" fmla="*/ 0 w 8"/>
                  <a:gd name="T17" fmla="*/ 3 h 8"/>
                  <a:gd name="T18" fmla="*/ 0 w 8"/>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0" y="3"/>
                    </a:moveTo>
                    <a:lnTo>
                      <a:pt x="5" y="0"/>
                    </a:lnTo>
                    <a:lnTo>
                      <a:pt x="5" y="1"/>
                    </a:lnTo>
                    <a:lnTo>
                      <a:pt x="8" y="5"/>
                    </a:lnTo>
                    <a:lnTo>
                      <a:pt x="2" y="8"/>
                    </a:lnTo>
                    <a:lnTo>
                      <a:pt x="1" y="8"/>
                    </a:lnTo>
                    <a:lnTo>
                      <a:pt x="1" y="8"/>
                    </a:lnTo>
                    <a:lnTo>
                      <a:pt x="0" y="5"/>
                    </a:lnTo>
                    <a:lnTo>
                      <a:pt x="0" y="3"/>
                    </a:lnTo>
                    <a:lnTo>
                      <a:pt x="0"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6" name="Freeform 135">
                <a:extLst>
                  <a:ext uri="{FF2B5EF4-FFF2-40B4-BE49-F238E27FC236}">
                    <a16:creationId xmlns:a16="http://schemas.microsoft.com/office/drawing/2014/main" id="{12C6FA0E-CD6C-4969-82CD-85EE2866D4B3}"/>
                  </a:ext>
                </a:extLst>
              </p:cNvPr>
              <p:cNvSpPr>
                <a:spLocks/>
              </p:cNvSpPr>
              <p:nvPr/>
            </p:nvSpPr>
            <p:spPr bwMode="auto">
              <a:xfrm>
                <a:off x="1800225" y="2701994"/>
                <a:ext cx="3175" cy="3175"/>
              </a:xfrm>
              <a:custGeom>
                <a:avLst/>
                <a:gdLst>
                  <a:gd name="T0" fmla="*/ 4 w 4"/>
                  <a:gd name="T1" fmla="*/ 3 h 3"/>
                  <a:gd name="T2" fmla="*/ 0 w 4"/>
                  <a:gd name="T3" fmla="*/ 3 h 3"/>
                  <a:gd name="T4" fmla="*/ 0 w 4"/>
                  <a:gd name="T5" fmla="*/ 0 h 3"/>
                  <a:gd name="T6" fmla="*/ 1 w 4"/>
                  <a:gd name="T7" fmla="*/ 0 h 3"/>
                  <a:gd name="T8" fmla="*/ 1 w 4"/>
                  <a:gd name="T9" fmla="*/ 0 h 3"/>
                  <a:gd name="T10" fmla="*/ 2 w 4"/>
                  <a:gd name="T11" fmla="*/ 2 h 3"/>
                  <a:gd name="T12" fmla="*/ 4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0" y="3"/>
                    </a:lnTo>
                    <a:lnTo>
                      <a:pt x="0" y="0"/>
                    </a:lnTo>
                    <a:lnTo>
                      <a:pt x="1" y="0"/>
                    </a:lnTo>
                    <a:lnTo>
                      <a:pt x="1" y="0"/>
                    </a:lnTo>
                    <a:lnTo>
                      <a:pt x="2" y="2"/>
                    </a:lnTo>
                    <a:lnTo>
                      <a:pt x="4" y="3"/>
                    </a:lnTo>
                    <a:lnTo>
                      <a:pt x="4"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7" name="Freeform 136">
                <a:extLst>
                  <a:ext uri="{FF2B5EF4-FFF2-40B4-BE49-F238E27FC236}">
                    <a16:creationId xmlns:a16="http://schemas.microsoft.com/office/drawing/2014/main" id="{C0C65F9D-1983-4577-A299-B1C0E4CB0ECF}"/>
                  </a:ext>
                </a:extLst>
              </p:cNvPr>
              <p:cNvSpPr>
                <a:spLocks/>
              </p:cNvSpPr>
              <p:nvPr/>
            </p:nvSpPr>
            <p:spPr bwMode="auto">
              <a:xfrm>
                <a:off x="2244725" y="2705169"/>
                <a:ext cx="3175" cy="3175"/>
              </a:xfrm>
              <a:custGeom>
                <a:avLst/>
                <a:gdLst>
                  <a:gd name="T0" fmla="*/ 4 w 4"/>
                  <a:gd name="T1" fmla="*/ 5 h 5"/>
                  <a:gd name="T2" fmla="*/ 2 w 4"/>
                  <a:gd name="T3" fmla="*/ 3 h 5"/>
                  <a:gd name="T4" fmla="*/ 1 w 4"/>
                  <a:gd name="T5" fmla="*/ 5 h 5"/>
                  <a:gd name="T6" fmla="*/ 0 w 4"/>
                  <a:gd name="T7" fmla="*/ 3 h 5"/>
                  <a:gd name="T8" fmla="*/ 1 w 4"/>
                  <a:gd name="T9" fmla="*/ 0 h 5"/>
                  <a:gd name="T10" fmla="*/ 4 w 4"/>
                  <a:gd name="T11" fmla="*/ 0 h 5"/>
                  <a:gd name="T12" fmla="*/ 4 w 4"/>
                  <a:gd name="T13" fmla="*/ 0 h 5"/>
                  <a:gd name="T14" fmla="*/ 4 w 4"/>
                  <a:gd name="T15" fmla="*/ 5 h 5"/>
                  <a:gd name="T16" fmla="*/ 4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4" y="5"/>
                    </a:moveTo>
                    <a:lnTo>
                      <a:pt x="2" y="3"/>
                    </a:lnTo>
                    <a:lnTo>
                      <a:pt x="1" y="5"/>
                    </a:lnTo>
                    <a:lnTo>
                      <a:pt x="0" y="3"/>
                    </a:lnTo>
                    <a:lnTo>
                      <a:pt x="1" y="0"/>
                    </a:lnTo>
                    <a:lnTo>
                      <a:pt x="4" y="0"/>
                    </a:lnTo>
                    <a:lnTo>
                      <a:pt x="4" y="0"/>
                    </a:lnTo>
                    <a:lnTo>
                      <a:pt x="4" y="5"/>
                    </a:lnTo>
                    <a:lnTo>
                      <a:pt x="4"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8" name="Freeform 137">
                <a:extLst>
                  <a:ext uri="{FF2B5EF4-FFF2-40B4-BE49-F238E27FC236}">
                    <a16:creationId xmlns:a16="http://schemas.microsoft.com/office/drawing/2014/main" id="{F795A17B-BC77-4F0A-9337-03B97B4F1C73}"/>
                  </a:ext>
                </a:extLst>
              </p:cNvPr>
              <p:cNvSpPr>
                <a:spLocks/>
              </p:cNvSpPr>
              <p:nvPr/>
            </p:nvSpPr>
            <p:spPr bwMode="auto">
              <a:xfrm>
                <a:off x="1806575" y="2708344"/>
                <a:ext cx="3175" cy="0"/>
              </a:xfrm>
              <a:custGeom>
                <a:avLst/>
                <a:gdLst>
                  <a:gd name="T0" fmla="*/ 4 w 4"/>
                  <a:gd name="T1" fmla="*/ 2 h 2"/>
                  <a:gd name="T2" fmla="*/ 1 w 4"/>
                  <a:gd name="T3" fmla="*/ 2 h 2"/>
                  <a:gd name="T4" fmla="*/ 0 w 4"/>
                  <a:gd name="T5" fmla="*/ 0 h 2"/>
                  <a:gd name="T6" fmla="*/ 1 w 4"/>
                  <a:gd name="T7" fmla="*/ 0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1" y="2"/>
                    </a:lnTo>
                    <a:lnTo>
                      <a:pt x="0" y="0"/>
                    </a:lnTo>
                    <a:lnTo>
                      <a:pt x="1" y="0"/>
                    </a:lnTo>
                    <a:lnTo>
                      <a:pt x="4"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09" name="Freeform 138">
                <a:extLst>
                  <a:ext uri="{FF2B5EF4-FFF2-40B4-BE49-F238E27FC236}">
                    <a16:creationId xmlns:a16="http://schemas.microsoft.com/office/drawing/2014/main" id="{08D47C6F-CCD8-4378-B17B-618F3DA11BA7}"/>
                  </a:ext>
                </a:extLst>
              </p:cNvPr>
              <p:cNvSpPr>
                <a:spLocks/>
              </p:cNvSpPr>
              <p:nvPr/>
            </p:nvSpPr>
            <p:spPr bwMode="auto">
              <a:xfrm>
                <a:off x="1820863" y="2708344"/>
                <a:ext cx="3175" cy="1588"/>
              </a:xfrm>
              <a:custGeom>
                <a:avLst/>
                <a:gdLst>
                  <a:gd name="T0" fmla="*/ 5 w 5"/>
                  <a:gd name="T1" fmla="*/ 1 h 1"/>
                  <a:gd name="T2" fmla="*/ 2 w 5"/>
                  <a:gd name="T3" fmla="*/ 1 h 1"/>
                  <a:gd name="T4" fmla="*/ 0 w 5"/>
                  <a:gd name="T5" fmla="*/ 0 h 1"/>
                  <a:gd name="T6" fmla="*/ 3 w 5"/>
                  <a:gd name="T7" fmla="*/ 0 h 1"/>
                  <a:gd name="T8" fmla="*/ 5 w 5"/>
                  <a:gd name="T9" fmla="*/ 1 h 1"/>
                </a:gdLst>
                <a:ahLst/>
                <a:cxnLst>
                  <a:cxn ang="0">
                    <a:pos x="T0" y="T1"/>
                  </a:cxn>
                  <a:cxn ang="0">
                    <a:pos x="T2" y="T3"/>
                  </a:cxn>
                  <a:cxn ang="0">
                    <a:pos x="T4" y="T5"/>
                  </a:cxn>
                  <a:cxn ang="0">
                    <a:pos x="T6" y="T7"/>
                  </a:cxn>
                  <a:cxn ang="0">
                    <a:pos x="T8" y="T9"/>
                  </a:cxn>
                </a:cxnLst>
                <a:rect l="0" t="0" r="r" b="b"/>
                <a:pathLst>
                  <a:path w="5" h="1">
                    <a:moveTo>
                      <a:pt x="5" y="1"/>
                    </a:moveTo>
                    <a:lnTo>
                      <a:pt x="2" y="1"/>
                    </a:lnTo>
                    <a:lnTo>
                      <a:pt x="0" y="0"/>
                    </a:lnTo>
                    <a:lnTo>
                      <a:pt x="3" y="0"/>
                    </a:lnTo>
                    <a:lnTo>
                      <a:pt x="5"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0" name="Freeform 139">
                <a:extLst>
                  <a:ext uri="{FF2B5EF4-FFF2-40B4-BE49-F238E27FC236}">
                    <a16:creationId xmlns:a16="http://schemas.microsoft.com/office/drawing/2014/main" id="{BB91DD14-373D-4CA0-92A7-6AA3EE9C7B0E}"/>
                  </a:ext>
                </a:extLst>
              </p:cNvPr>
              <p:cNvSpPr>
                <a:spLocks/>
              </p:cNvSpPr>
              <p:nvPr/>
            </p:nvSpPr>
            <p:spPr bwMode="auto">
              <a:xfrm>
                <a:off x="2111375" y="2697231"/>
                <a:ext cx="20638" cy="17463"/>
              </a:xfrm>
              <a:custGeom>
                <a:avLst/>
                <a:gdLst>
                  <a:gd name="T0" fmla="*/ 14 w 28"/>
                  <a:gd name="T1" fmla="*/ 4 h 22"/>
                  <a:gd name="T2" fmla="*/ 15 w 28"/>
                  <a:gd name="T3" fmla="*/ 0 h 22"/>
                  <a:gd name="T4" fmla="*/ 15 w 28"/>
                  <a:gd name="T5" fmla="*/ 0 h 22"/>
                  <a:gd name="T6" fmla="*/ 22 w 28"/>
                  <a:gd name="T7" fmla="*/ 0 h 22"/>
                  <a:gd name="T8" fmla="*/ 25 w 28"/>
                  <a:gd name="T9" fmla="*/ 1 h 22"/>
                  <a:gd name="T10" fmla="*/ 28 w 28"/>
                  <a:gd name="T11" fmla="*/ 3 h 22"/>
                  <a:gd name="T12" fmla="*/ 28 w 28"/>
                  <a:gd name="T13" fmla="*/ 3 h 22"/>
                  <a:gd name="T14" fmla="*/ 28 w 28"/>
                  <a:gd name="T15" fmla="*/ 5 h 22"/>
                  <a:gd name="T16" fmla="*/ 26 w 28"/>
                  <a:gd name="T17" fmla="*/ 8 h 22"/>
                  <a:gd name="T18" fmla="*/ 26 w 28"/>
                  <a:gd name="T19" fmla="*/ 8 h 22"/>
                  <a:gd name="T20" fmla="*/ 23 w 28"/>
                  <a:gd name="T21" fmla="*/ 11 h 22"/>
                  <a:gd name="T22" fmla="*/ 21 w 28"/>
                  <a:gd name="T23" fmla="*/ 11 h 22"/>
                  <a:gd name="T24" fmla="*/ 17 w 28"/>
                  <a:gd name="T25" fmla="*/ 9 h 22"/>
                  <a:gd name="T26" fmla="*/ 17 w 28"/>
                  <a:gd name="T27" fmla="*/ 14 h 22"/>
                  <a:gd name="T28" fmla="*/ 19 w 28"/>
                  <a:gd name="T29" fmla="*/ 16 h 22"/>
                  <a:gd name="T30" fmla="*/ 14 w 28"/>
                  <a:gd name="T31" fmla="*/ 22 h 22"/>
                  <a:gd name="T32" fmla="*/ 9 w 28"/>
                  <a:gd name="T33" fmla="*/ 22 h 22"/>
                  <a:gd name="T34" fmla="*/ 9 w 28"/>
                  <a:gd name="T35" fmla="*/ 22 h 22"/>
                  <a:gd name="T36" fmla="*/ 4 w 28"/>
                  <a:gd name="T37" fmla="*/ 18 h 22"/>
                  <a:gd name="T38" fmla="*/ 0 w 28"/>
                  <a:gd name="T39" fmla="*/ 14 h 22"/>
                  <a:gd name="T40" fmla="*/ 0 w 28"/>
                  <a:gd name="T41" fmla="*/ 9 h 22"/>
                  <a:gd name="T42" fmla="*/ 0 w 28"/>
                  <a:gd name="T43" fmla="*/ 9 h 22"/>
                  <a:gd name="T44" fmla="*/ 6 w 28"/>
                  <a:gd name="T45" fmla="*/ 7 h 22"/>
                  <a:gd name="T46" fmla="*/ 10 w 28"/>
                  <a:gd name="T47" fmla="*/ 5 h 22"/>
                  <a:gd name="T48" fmla="*/ 13 w 28"/>
                  <a:gd name="T49" fmla="*/ 5 h 22"/>
                  <a:gd name="T50" fmla="*/ 14 w 28"/>
                  <a:gd name="T51" fmla="*/ 7 h 22"/>
                  <a:gd name="T52" fmla="*/ 15 w 28"/>
                  <a:gd name="T53" fmla="*/ 7 h 22"/>
                  <a:gd name="T54" fmla="*/ 14 w 28"/>
                  <a:gd name="T5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2">
                    <a:moveTo>
                      <a:pt x="14" y="4"/>
                    </a:moveTo>
                    <a:lnTo>
                      <a:pt x="15" y="0"/>
                    </a:lnTo>
                    <a:lnTo>
                      <a:pt x="15" y="0"/>
                    </a:lnTo>
                    <a:lnTo>
                      <a:pt x="22" y="0"/>
                    </a:lnTo>
                    <a:lnTo>
                      <a:pt x="25" y="1"/>
                    </a:lnTo>
                    <a:lnTo>
                      <a:pt x="28" y="3"/>
                    </a:lnTo>
                    <a:lnTo>
                      <a:pt x="28" y="3"/>
                    </a:lnTo>
                    <a:lnTo>
                      <a:pt x="28" y="5"/>
                    </a:lnTo>
                    <a:lnTo>
                      <a:pt x="26" y="8"/>
                    </a:lnTo>
                    <a:lnTo>
                      <a:pt x="26" y="8"/>
                    </a:lnTo>
                    <a:lnTo>
                      <a:pt x="23" y="11"/>
                    </a:lnTo>
                    <a:lnTo>
                      <a:pt x="21" y="11"/>
                    </a:lnTo>
                    <a:lnTo>
                      <a:pt x="17" y="9"/>
                    </a:lnTo>
                    <a:lnTo>
                      <a:pt x="17" y="14"/>
                    </a:lnTo>
                    <a:lnTo>
                      <a:pt x="19" y="16"/>
                    </a:lnTo>
                    <a:lnTo>
                      <a:pt x="14" y="22"/>
                    </a:lnTo>
                    <a:lnTo>
                      <a:pt x="9" y="22"/>
                    </a:lnTo>
                    <a:lnTo>
                      <a:pt x="9" y="22"/>
                    </a:lnTo>
                    <a:lnTo>
                      <a:pt x="4" y="18"/>
                    </a:lnTo>
                    <a:lnTo>
                      <a:pt x="0" y="14"/>
                    </a:lnTo>
                    <a:lnTo>
                      <a:pt x="0" y="9"/>
                    </a:lnTo>
                    <a:lnTo>
                      <a:pt x="0" y="9"/>
                    </a:lnTo>
                    <a:lnTo>
                      <a:pt x="6" y="7"/>
                    </a:lnTo>
                    <a:lnTo>
                      <a:pt x="10" y="5"/>
                    </a:lnTo>
                    <a:lnTo>
                      <a:pt x="13" y="5"/>
                    </a:lnTo>
                    <a:lnTo>
                      <a:pt x="14" y="7"/>
                    </a:lnTo>
                    <a:lnTo>
                      <a:pt x="15" y="7"/>
                    </a:lnTo>
                    <a:lnTo>
                      <a:pt x="14"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1" name="Freeform 140">
                <a:extLst>
                  <a:ext uri="{FF2B5EF4-FFF2-40B4-BE49-F238E27FC236}">
                    <a16:creationId xmlns:a16="http://schemas.microsoft.com/office/drawing/2014/main" id="{094D4DA2-E6DD-4AD8-ABBA-DD665C0F1F0C}"/>
                  </a:ext>
                </a:extLst>
              </p:cNvPr>
              <p:cNvSpPr>
                <a:spLocks/>
              </p:cNvSpPr>
              <p:nvPr/>
            </p:nvSpPr>
            <p:spPr bwMode="auto">
              <a:xfrm>
                <a:off x="1765300" y="2581344"/>
                <a:ext cx="76200" cy="150813"/>
              </a:xfrm>
              <a:custGeom>
                <a:avLst/>
                <a:gdLst>
                  <a:gd name="T0" fmla="*/ 22 w 96"/>
                  <a:gd name="T1" fmla="*/ 2 h 190"/>
                  <a:gd name="T2" fmla="*/ 31 w 96"/>
                  <a:gd name="T3" fmla="*/ 5 h 190"/>
                  <a:gd name="T4" fmla="*/ 47 w 96"/>
                  <a:gd name="T5" fmla="*/ 3 h 190"/>
                  <a:gd name="T6" fmla="*/ 49 w 96"/>
                  <a:gd name="T7" fmla="*/ 9 h 190"/>
                  <a:gd name="T8" fmla="*/ 60 w 96"/>
                  <a:gd name="T9" fmla="*/ 14 h 190"/>
                  <a:gd name="T10" fmla="*/ 69 w 96"/>
                  <a:gd name="T11" fmla="*/ 18 h 190"/>
                  <a:gd name="T12" fmla="*/ 56 w 96"/>
                  <a:gd name="T13" fmla="*/ 17 h 190"/>
                  <a:gd name="T14" fmla="*/ 69 w 96"/>
                  <a:gd name="T15" fmla="*/ 26 h 190"/>
                  <a:gd name="T16" fmla="*/ 80 w 96"/>
                  <a:gd name="T17" fmla="*/ 33 h 190"/>
                  <a:gd name="T18" fmla="*/ 72 w 96"/>
                  <a:gd name="T19" fmla="*/ 37 h 190"/>
                  <a:gd name="T20" fmla="*/ 83 w 96"/>
                  <a:gd name="T21" fmla="*/ 34 h 190"/>
                  <a:gd name="T22" fmla="*/ 81 w 96"/>
                  <a:gd name="T23" fmla="*/ 41 h 190"/>
                  <a:gd name="T24" fmla="*/ 70 w 96"/>
                  <a:gd name="T25" fmla="*/ 42 h 190"/>
                  <a:gd name="T26" fmla="*/ 58 w 96"/>
                  <a:gd name="T27" fmla="*/ 37 h 190"/>
                  <a:gd name="T28" fmla="*/ 47 w 96"/>
                  <a:gd name="T29" fmla="*/ 29 h 190"/>
                  <a:gd name="T30" fmla="*/ 42 w 96"/>
                  <a:gd name="T31" fmla="*/ 19 h 190"/>
                  <a:gd name="T32" fmla="*/ 34 w 96"/>
                  <a:gd name="T33" fmla="*/ 21 h 190"/>
                  <a:gd name="T34" fmla="*/ 32 w 96"/>
                  <a:gd name="T35" fmla="*/ 14 h 190"/>
                  <a:gd name="T36" fmla="*/ 22 w 96"/>
                  <a:gd name="T37" fmla="*/ 9 h 190"/>
                  <a:gd name="T38" fmla="*/ 27 w 96"/>
                  <a:gd name="T39" fmla="*/ 25 h 190"/>
                  <a:gd name="T40" fmla="*/ 41 w 96"/>
                  <a:gd name="T41" fmla="*/ 29 h 190"/>
                  <a:gd name="T42" fmla="*/ 43 w 96"/>
                  <a:gd name="T43" fmla="*/ 29 h 190"/>
                  <a:gd name="T44" fmla="*/ 70 w 96"/>
                  <a:gd name="T45" fmla="*/ 49 h 190"/>
                  <a:gd name="T46" fmla="*/ 85 w 96"/>
                  <a:gd name="T47" fmla="*/ 51 h 190"/>
                  <a:gd name="T48" fmla="*/ 87 w 96"/>
                  <a:gd name="T49" fmla="*/ 63 h 190"/>
                  <a:gd name="T50" fmla="*/ 95 w 96"/>
                  <a:gd name="T51" fmla="*/ 70 h 190"/>
                  <a:gd name="T52" fmla="*/ 83 w 96"/>
                  <a:gd name="T53" fmla="*/ 78 h 190"/>
                  <a:gd name="T54" fmla="*/ 76 w 96"/>
                  <a:gd name="T55" fmla="*/ 90 h 190"/>
                  <a:gd name="T56" fmla="*/ 72 w 96"/>
                  <a:gd name="T57" fmla="*/ 99 h 190"/>
                  <a:gd name="T58" fmla="*/ 64 w 96"/>
                  <a:gd name="T59" fmla="*/ 110 h 190"/>
                  <a:gd name="T60" fmla="*/ 61 w 96"/>
                  <a:gd name="T61" fmla="*/ 109 h 190"/>
                  <a:gd name="T62" fmla="*/ 56 w 96"/>
                  <a:gd name="T63" fmla="*/ 102 h 190"/>
                  <a:gd name="T64" fmla="*/ 43 w 96"/>
                  <a:gd name="T65" fmla="*/ 106 h 190"/>
                  <a:gd name="T66" fmla="*/ 37 w 96"/>
                  <a:gd name="T67" fmla="*/ 105 h 190"/>
                  <a:gd name="T68" fmla="*/ 47 w 96"/>
                  <a:gd name="T69" fmla="*/ 112 h 190"/>
                  <a:gd name="T70" fmla="*/ 57 w 96"/>
                  <a:gd name="T71" fmla="*/ 112 h 190"/>
                  <a:gd name="T72" fmla="*/ 68 w 96"/>
                  <a:gd name="T73" fmla="*/ 117 h 190"/>
                  <a:gd name="T74" fmla="*/ 70 w 96"/>
                  <a:gd name="T75" fmla="*/ 129 h 190"/>
                  <a:gd name="T76" fmla="*/ 77 w 96"/>
                  <a:gd name="T77" fmla="*/ 148 h 190"/>
                  <a:gd name="T78" fmla="*/ 61 w 96"/>
                  <a:gd name="T79" fmla="*/ 155 h 190"/>
                  <a:gd name="T80" fmla="*/ 46 w 96"/>
                  <a:gd name="T81" fmla="*/ 146 h 190"/>
                  <a:gd name="T82" fmla="*/ 54 w 96"/>
                  <a:gd name="T83" fmla="*/ 152 h 190"/>
                  <a:gd name="T84" fmla="*/ 49 w 96"/>
                  <a:gd name="T85" fmla="*/ 151 h 190"/>
                  <a:gd name="T86" fmla="*/ 42 w 96"/>
                  <a:gd name="T87" fmla="*/ 158 h 190"/>
                  <a:gd name="T88" fmla="*/ 58 w 96"/>
                  <a:gd name="T89" fmla="*/ 162 h 190"/>
                  <a:gd name="T90" fmla="*/ 76 w 96"/>
                  <a:gd name="T91" fmla="*/ 170 h 190"/>
                  <a:gd name="T92" fmla="*/ 84 w 96"/>
                  <a:gd name="T93" fmla="*/ 175 h 190"/>
                  <a:gd name="T94" fmla="*/ 85 w 96"/>
                  <a:gd name="T95" fmla="*/ 184 h 190"/>
                  <a:gd name="T96" fmla="*/ 73 w 96"/>
                  <a:gd name="T97" fmla="*/ 188 h 190"/>
                  <a:gd name="T98" fmla="*/ 54 w 96"/>
                  <a:gd name="T99" fmla="*/ 184 h 190"/>
                  <a:gd name="T100" fmla="*/ 31 w 96"/>
                  <a:gd name="T101" fmla="*/ 185 h 190"/>
                  <a:gd name="T102" fmla="*/ 24 w 96"/>
                  <a:gd name="T103" fmla="*/ 173 h 190"/>
                  <a:gd name="T104" fmla="*/ 18 w 96"/>
                  <a:gd name="T105" fmla="*/ 152 h 190"/>
                  <a:gd name="T106" fmla="*/ 12 w 96"/>
                  <a:gd name="T107" fmla="*/ 131 h 190"/>
                  <a:gd name="T108" fmla="*/ 12 w 96"/>
                  <a:gd name="T109" fmla="*/ 116 h 190"/>
                  <a:gd name="T110" fmla="*/ 0 w 96"/>
                  <a:gd name="T111" fmla="*/ 102 h 190"/>
                  <a:gd name="T112" fmla="*/ 9 w 96"/>
                  <a:gd name="T113" fmla="*/ 98 h 190"/>
                  <a:gd name="T114" fmla="*/ 22 w 96"/>
                  <a:gd name="T115" fmla="*/ 63 h 190"/>
                  <a:gd name="T116" fmla="*/ 23 w 96"/>
                  <a:gd name="T117" fmla="*/ 44 h 190"/>
                  <a:gd name="T118" fmla="*/ 11 w 96"/>
                  <a:gd name="T119" fmla="*/ 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190">
                    <a:moveTo>
                      <a:pt x="12" y="7"/>
                    </a:moveTo>
                    <a:lnTo>
                      <a:pt x="15" y="10"/>
                    </a:lnTo>
                    <a:lnTo>
                      <a:pt x="18" y="10"/>
                    </a:lnTo>
                    <a:lnTo>
                      <a:pt x="18" y="10"/>
                    </a:lnTo>
                    <a:lnTo>
                      <a:pt x="20" y="6"/>
                    </a:lnTo>
                    <a:lnTo>
                      <a:pt x="22" y="2"/>
                    </a:lnTo>
                    <a:lnTo>
                      <a:pt x="23" y="3"/>
                    </a:lnTo>
                    <a:lnTo>
                      <a:pt x="26" y="2"/>
                    </a:lnTo>
                    <a:lnTo>
                      <a:pt x="28" y="5"/>
                    </a:lnTo>
                    <a:lnTo>
                      <a:pt x="26" y="6"/>
                    </a:lnTo>
                    <a:lnTo>
                      <a:pt x="27" y="6"/>
                    </a:lnTo>
                    <a:lnTo>
                      <a:pt x="31" y="5"/>
                    </a:lnTo>
                    <a:lnTo>
                      <a:pt x="31" y="3"/>
                    </a:lnTo>
                    <a:lnTo>
                      <a:pt x="37" y="0"/>
                    </a:lnTo>
                    <a:lnTo>
                      <a:pt x="37" y="0"/>
                    </a:lnTo>
                    <a:lnTo>
                      <a:pt x="41" y="2"/>
                    </a:lnTo>
                    <a:lnTo>
                      <a:pt x="43" y="0"/>
                    </a:lnTo>
                    <a:lnTo>
                      <a:pt x="47" y="3"/>
                    </a:lnTo>
                    <a:lnTo>
                      <a:pt x="47" y="5"/>
                    </a:lnTo>
                    <a:lnTo>
                      <a:pt x="47" y="6"/>
                    </a:lnTo>
                    <a:lnTo>
                      <a:pt x="47" y="7"/>
                    </a:lnTo>
                    <a:lnTo>
                      <a:pt x="49" y="6"/>
                    </a:lnTo>
                    <a:lnTo>
                      <a:pt x="51" y="7"/>
                    </a:lnTo>
                    <a:lnTo>
                      <a:pt x="49" y="9"/>
                    </a:lnTo>
                    <a:lnTo>
                      <a:pt x="50" y="11"/>
                    </a:lnTo>
                    <a:lnTo>
                      <a:pt x="51" y="11"/>
                    </a:lnTo>
                    <a:lnTo>
                      <a:pt x="53" y="10"/>
                    </a:lnTo>
                    <a:lnTo>
                      <a:pt x="54" y="10"/>
                    </a:lnTo>
                    <a:lnTo>
                      <a:pt x="57" y="10"/>
                    </a:lnTo>
                    <a:lnTo>
                      <a:pt x="60" y="14"/>
                    </a:lnTo>
                    <a:lnTo>
                      <a:pt x="61" y="11"/>
                    </a:lnTo>
                    <a:lnTo>
                      <a:pt x="61" y="11"/>
                    </a:lnTo>
                    <a:lnTo>
                      <a:pt x="66" y="13"/>
                    </a:lnTo>
                    <a:lnTo>
                      <a:pt x="68" y="15"/>
                    </a:lnTo>
                    <a:lnTo>
                      <a:pt x="69" y="17"/>
                    </a:lnTo>
                    <a:lnTo>
                      <a:pt x="69" y="18"/>
                    </a:lnTo>
                    <a:lnTo>
                      <a:pt x="65" y="18"/>
                    </a:lnTo>
                    <a:lnTo>
                      <a:pt x="64" y="15"/>
                    </a:lnTo>
                    <a:lnTo>
                      <a:pt x="62" y="14"/>
                    </a:lnTo>
                    <a:lnTo>
                      <a:pt x="58" y="18"/>
                    </a:lnTo>
                    <a:lnTo>
                      <a:pt x="58" y="18"/>
                    </a:lnTo>
                    <a:lnTo>
                      <a:pt x="56" y="17"/>
                    </a:lnTo>
                    <a:lnTo>
                      <a:pt x="53" y="18"/>
                    </a:lnTo>
                    <a:lnTo>
                      <a:pt x="53" y="18"/>
                    </a:lnTo>
                    <a:lnTo>
                      <a:pt x="62" y="21"/>
                    </a:lnTo>
                    <a:lnTo>
                      <a:pt x="70" y="23"/>
                    </a:lnTo>
                    <a:lnTo>
                      <a:pt x="69" y="26"/>
                    </a:lnTo>
                    <a:lnTo>
                      <a:pt x="69" y="26"/>
                    </a:lnTo>
                    <a:lnTo>
                      <a:pt x="72" y="28"/>
                    </a:lnTo>
                    <a:lnTo>
                      <a:pt x="75" y="30"/>
                    </a:lnTo>
                    <a:lnTo>
                      <a:pt x="77" y="30"/>
                    </a:lnTo>
                    <a:lnTo>
                      <a:pt x="79" y="32"/>
                    </a:lnTo>
                    <a:lnTo>
                      <a:pt x="80" y="33"/>
                    </a:lnTo>
                    <a:lnTo>
                      <a:pt x="80" y="33"/>
                    </a:lnTo>
                    <a:lnTo>
                      <a:pt x="75" y="34"/>
                    </a:lnTo>
                    <a:lnTo>
                      <a:pt x="72" y="33"/>
                    </a:lnTo>
                    <a:lnTo>
                      <a:pt x="68" y="34"/>
                    </a:lnTo>
                    <a:lnTo>
                      <a:pt x="68" y="36"/>
                    </a:lnTo>
                    <a:lnTo>
                      <a:pt x="70" y="36"/>
                    </a:lnTo>
                    <a:lnTo>
                      <a:pt x="72" y="37"/>
                    </a:lnTo>
                    <a:lnTo>
                      <a:pt x="76" y="37"/>
                    </a:lnTo>
                    <a:lnTo>
                      <a:pt x="77" y="36"/>
                    </a:lnTo>
                    <a:lnTo>
                      <a:pt x="80" y="37"/>
                    </a:lnTo>
                    <a:lnTo>
                      <a:pt x="81" y="37"/>
                    </a:lnTo>
                    <a:lnTo>
                      <a:pt x="81" y="34"/>
                    </a:lnTo>
                    <a:lnTo>
                      <a:pt x="83" y="34"/>
                    </a:lnTo>
                    <a:lnTo>
                      <a:pt x="85" y="33"/>
                    </a:lnTo>
                    <a:lnTo>
                      <a:pt x="87" y="37"/>
                    </a:lnTo>
                    <a:lnTo>
                      <a:pt x="84" y="38"/>
                    </a:lnTo>
                    <a:lnTo>
                      <a:pt x="81" y="38"/>
                    </a:lnTo>
                    <a:lnTo>
                      <a:pt x="83" y="40"/>
                    </a:lnTo>
                    <a:lnTo>
                      <a:pt x="81" y="41"/>
                    </a:lnTo>
                    <a:lnTo>
                      <a:pt x="81" y="41"/>
                    </a:lnTo>
                    <a:lnTo>
                      <a:pt x="77" y="42"/>
                    </a:lnTo>
                    <a:lnTo>
                      <a:pt x="73" y="45"/>
                    </a:lnTo>
                    <a:lnTo>
                      <a:pt x="73" y="45"/>
                    </a:lnTo>
                    <a:lnTo>
                      <a:pt x="72" y="42"/>
                    </a:lnTo>
                    <a:lnTo>
                      <a:pt x="70" y="42"/>
                    </a:lnTo>
                    <a:lnTo>
                      <a:pt x="70" y="45"/>
                    </a:lnTo>
                    <a:lnTo>
                      <a:pt x="66" y="45"/>
                    </a:lnTo>
                    <a:lnTo>
                      <a:pt x="68" y="44"/>
                    </a:lnTo>
                    <a:lnTo>
                      <a:pt x="68" y="44"/>
                    </a:lnTo>
                    <a:lnTo>
                      <a:pt x="61" y="40"/>
                    </a:lnTo>
                    <a:lnTo>
                      <a:pt x="58" y="37"/>
                    </a:lnTo>
                    <a:lnTo>
                      <a:pt x="56" y="34"/>
                    </a:lnTo>
                    <a:lnTo>
                      <a:pt x="50" y="32"/>
                    </a:lnTo>
                    <a:lnTo>
                      <a:pt x="54" y="30"/>
                    </a:lnTo>
                    <a:lnTo>
                      <a:pt x="53" y="29"/>
                    </a:lnTo>
                    <a:lnTo>
                      <a:pt x="50" y="30"/>
                    </a:lnTo>
                    <a:lnTo>
                      <a:pt x="47" y="29"/>
                    </a:lnTo>
                    <a:lnTo>
                      <a:pt x="43" y="26"/>
                    </a:lnTo>
                    <a:lnTo>
                      <a:pt x="43" y="26"/>
                    </a:lnTo>
                    <a:lnTo>
                      <a:pt x="45" y="23"/>
                    </a:lnTo>
                    <a:lnTo>
                      <a:pt x="45" y="19"/>
                    </a:lnTo>
                    <a:lnTo>
                      <a:pt x="43" y="19"/>
                    </a:lnTo>
                    <a:lnTo>
                      <a:pt x="42" y="19"/>
                    </a:lnTo>
                    <a:lnTo>
                      <a:pt x="43" y="22"/>
                    </a:lnTo>
                    <a:lnTo>
                      <a:pt x="42" y="23"/>
                    </a:lnTo>
                    <a:lnTo>
                      <a:pt x="38" y="25"/>
                    </a:lnTo>
                    <a:lnTo>
                      <a:pt x="38" y="25"/>
                    </a:lnTo>
                    <a:lnTo>
                      <a:pt x="37" y="23"/>
                    </a:lnTo>
                    <a:lnTo>
                      <a:pt x="34" y="21"/>
                    </a:lnTo>
                    <a:lnTo>
                      <a:pt x="34" y="21"/>
                    </a:lnTo>
                    <a:lnTo>
                      <a:pt x="35" y="17"/>
                    </a:lnTo>
                    <a:lnTo>
                      <a:pt x="39" y="14"/>
                    </a:lnTo>
                    <a:lnTo>
                      <a:pt x="37" y="13"/>
                    </a:lnTo>
                    <a:lnTo>
                      <a:pt x="32" y="14"/>
                    </a:lnTo>
                    <a:lnTo>
                      <a:pt x="32" y="14"/>
                    </a:lnTo>
                    <a:lnTo>
                      <a:pt x="30" y="14"/>
                    </a:lnTo>
                    <a:lnTo>
                      <a:pt x="28" y="13"/>
                    </a:lnTo>
                    <a:lnTo>
                      <a:pt x="28" y="9"/>
                    </a:lnTo>
                    <a:lnTo>
                      <a:pt x="27" y="7"/>
                    </a:lnTo>
                    <a:lnTo>
                      <a:pt x="23" y="10"/>
                    </a:lnTo>
                    <a:lnTo>
                      <a:pt x="22" y="9"/>
                    </a:lnTo>
                    <a:lnTo>
                      <a:pt x="22" y="10"/>
                    </a:lnTo>
                    <a:lnTo>
                      <a:pt x="26" y="11"/>
                    </a:lnTo>
                    <a:lnTo>
                      <a:pt x="26" y="11"/>
                    </a:lnTo>
                    <a:lnTo>
                      <a:pt x="27" y="15"/>
                    </a:lnTo>
                    <a:lnTo>
                      <a:pt x="27" y="19"/>
                    </a:lnTo>
                    <a:lnTo>
                      <a:pt x="27" y="25"/>
                    </a:lnTo>
                    <a:lnTo>
                      <a:pt x="30" y="29"/>
                    </a:lnTo>
                    <a:lnTo>
                      <a:pt x="30" y="29"/>
                    </a:lnTo>
                    <a:lnTo>
                      <a:pt x="31" y="29"/>
                    </a:lnTo>
                    <a:lnTo>
                      <a:pt x="32" y="29"/>
                    </a:lnTo>
                    <a:lnTo>
                      <a:pt x="37" y="28"/>
                    </a:lnTo>
                    <a:lnTo>
                      <a:pt x="41" y="29"/>
                    </a:lnTo>
                    <a:lnTo>
                      <a:pt x="41" y="30"/>
                    </a:lnTo>
                    <a:lnTo>
                      <a:pt x="39" y="32"/>
                    </a:lnTo>
                    <a:lnTo>
                      <a:pt x="43" y="34"/>
                    </a:lnTo>
                    <a:lnTo>
                      <a:pt x="45" y="32"/>
                    </a:lnTo>
                    <a:lnTo>
                      <a:pt x="42" y="30"/>
                    </a:lnTo>
                    <a:lnTo>
                      <a:pt x="43" y="29"/>
                    </a:lnTo>
                    <a:lnTo>
                      <a:pt x="43" y="29"/>
                    </a:lnTo>
                    <a:lnTo>
                      <a:pt x="56" y="38"/>
                    </a:lnTo>
                    <a:lnTo>
                      <a:pt x="68" y="48"/>
                    </a:lnTo>
                    <a:lnTo>
                      <a:pt x="68" y="49"/>
                    </a:lnTo>
                    <a:lnTo>
                      <a:pt x="68" y="49"/>
                    </a:lnTo>
                    <a:lnTo>
                      <a:pt x="70" y="49"/>
                    </a:lnTo>
                    <a:lnTo>
                      <a:pt x="73" y="48"/>
                    </a:lnTo>
                    <a:lnTo>
                      <a:pt x="75" y="51"/>
                    </a:lnTo>
                    <a:lnTo>
                      <a:pt x="77" y="49"/>
                    </a:lnTo>
                    <a:lnTo>
                      <a:pt x="80" y="52"/>
                    </a:lnTo>
                    <a:lnTo>
                      <a:pt x="81" y="48"/>
                    </a:lnTo>
                    <a:lnTo>
                      <a:pt x="85" y="51"/>
                    </a:lnTo>
                    <a:lnTo>
                      <a:pt x="84" y="52"/>
                    </a:lnTo>
                    <a:lnTo>
                      <a:pt x="84" y="52"/>
                    </a:lnTo>
                    <a:lnTo>
                      <a:pt x="84" y="55"/>
                    </a:lnTo>
                    <a:lnTo>
                      <a:pt x="85" y="57"/>
                    </a:lnTo>
                    <a:lnTo>
                      <a:pt x="87" y="63"/>
                    </a:lnTo>
                    <a:lnTo>
                      <a:pt x="87" y="63"/>
                    </a:lnTo>
                    <a:lnTo>
                      <a:pt x="89" y="61"/>
                    </a:lnTo>
                    <a:lnTo>
                      <a:pt x="92" y="60"/>
                    </a:lnTo>
                    <a:lnTo>
                      <a:pt x="96" y="61"/>
                    </a:lnTo>
                    <a:lnTo>
                      <a:pt x="96" y="64"/>
                    </a:lnTo>
                    <a:lnTo>
                      <a:pt x="94" y="67"/>
                    </a:lnTo>
                    <a:lnTo>
                      <a:pt x="95" y="70"/>
                    </a:lnTo>
                    <a:lnTo>
                      <a:pt x="94" y="71"/>
                    </a:lnTo>
                    <a:lnTo>
                      <a:pt x="92" y="75"/>
                    </a:lnTo>
                    <a:lnTo>
                      <a:pt x="92" y="75"/>
                    </a:lnTo>
                    <a:lnTo>
                      <a:pt x="88" y="76"/>
                    </a:lnTo>
                    <a:lnTo>
                      <a:pt x="85" y="76"/>
                    </a:lnTo>
                    <a:lnTo>
                      <a:pt x="83" y="78"/>
                    </a:lnTo>
                    <a:lnTo>
                      <a:pt x="83" y="80"/>
                    </a:lnTo>
                    <a:lnTo>
                      <a:pt x="80" y="80"/>
                    </a:lnTo>
                    <a:lnTo>
                      <a:pt x="80" y="83"/>
                    </a:lnTo>
                    <a:lnTo>
                      <a:pt x="80" y="83"/>
                    </a:lnTo>
                    <a:lnTo>
                      <a:pt x="77" y="86"/>
                    </a:lnTo>
                    <a:lnTo>
                      <a:pt x="76" y="90"/>
                    </a:lnTo>
                    <a:lnTo>
                      <a:pt x="79" y="91"/>
                    </a:lnTo>
                    <a:lnTo>
                      <a:pt x="76" y="93"/>
                    </a:lnTo>
                    <a:lnTo>
                      <a:pt x="79" y="95"/>
                    </a:lnTo>
                    <a:lnTo>
                      <a:pt x="79" y="95"/>
                    </a:lnTo>
                    <a:lnTo>
                      <a:pt x="75" y="98"/>
                    </a:lnTo>
                    <a:lnTo>
                      <a:pt x="72" y="99"/>
                    </a:lnTo>
                    <a:lnTo>
                      <a:pt x="72" y="102"/>
                    </a:lnTo>
                    <a:lnTo>
                      <a:pt x="73" y="105"/>
                    </a:lnTo>
                    <a:lnTo>
                      <a:pt x="72" y="105"/>
                    </a:lnTo>
                    <a:lnTo>
                      <a:pt x="72" y="109"/>
                    </a:lnTo>
                    <a:lnTo>
                      <a:pt x="69" y="110"/>
                    </a:lnTo>
                    <a:lnTo>
                      <a:pt x="64" y="110"/>
                    </a:lnTo>
                    <a:lnTo>
                      <a:pt x="62" y="113"/>
                    </a:lnTo>
                    <a:lnTo>
                      <a:pt x="62" y="113"/>
                    </a:lnTo>
                    <a:lnTo>
                      <a:pt x="60" y="112"/>
                    </a:lnTo>
                    <a:lnTo>
                      <a:pt x="56" y="109"/>
                    </a:lnTo>
                    <a:lnTo>
                      <a:pt x="58" y="106"/>
                    </a:lnTo>
                    <a:lnTo>
                      <a:pt x="61" y="109"/>
                    </a:lnTo>
                    <a:lnTo>
                      <a:pt x="64" y="109"/>
                    </a:lnTo>
                    <a:lnTo>
                      <a:pt x="62" y="108"/>
                    </a:lnTo>
                    <a:lnTo>
                      <a:pt x="62" y="108"/>
                    </a:lnTo>
                    <a:lnTo>
                      <a:pt x="60" y="105"/>
                    </a:lnTo>
                    <a:lnTo>
                      <a:pt x="57" y="102"/>
                    </a:lnTo>
                    <a:lnTo>
                      <a:pt x="56" y="102"/>
                    </a:lnTo>
                    <a:lnTo>
                      <a:pt x="56" y="105"/>
                    </a:lnTo>
                    <a:lnTo>
                      <a:pt x="51" y="105"/>
                    </a:lnTo>
                    <a:lnTo>
                      <a:pt x="50" y="106"/>
                    </a:lnTo>
                    <a:lnTo>
                      <a:pt x="50" y="106"/>
                    </a:lnTo>
                    <a:lnTo>
                      <a:pt x="47" y="106"/>
                    </a:lnTo>
                    <a:lnTo>
                      <a:pt x="43" y="106"/>
                    </a:lnTo>
                    <a:lnTo>
                      <a:pt x="42" y="104"/>
                    </a:lnTo>
                    <a:lnTo>
                      <a:pt x="39" y="104"/>
                    </a:lnTo>
                    <a:lnTo>
                      <a:pt x="35" y="99"/>
                    </a:lnTo>
                    <a:lnTo>
                      <a:pt x="34" y="98"/>
                    </a:lnTo>
                    <a:lnTo>
                      <a:pt x="34" y="99"/>
                    </a:lnTo>
                    <a:lnTo>
                      <a:pt x="37" y="105"/>
                    </a:lnTo>
                    <a:lnTo>
                      <a:pt x="37" y="106"/>
                    </a:lnTo>
                    <a:lnTo>
                      <a:pt x="39" y="109"/>
                    </a:lnTo>
                    <a:lnTo>
                      <a:pt x="42" y="109"/>
                    </a:lnTo>
                    <a:lnTo>
                      <a:pt x="45" y="112"/>
                    </a:lnTo>
                    <a:lnTo>
                      <a:pt x="46" y="109"/>
                    </a:lnTo>
                    <a:lnTo>
                      <a:pt x="47" y="112"/>
                    </a:lnTo>
                    <a:lnTo>
                      <a:pt x="49" y="112"/>
                    </a:lnTo>
                    <a:lnTo>
                      <a:pt x="49" y="109"/>
                    </a:lnTo>
                    <a:lnTo>
                      <a:pt x="51" y="108"/>
                    </a:lnTo>
                    <a:lnTo>
                      <a:pt x="54" y="109"/>
                    </a:lnTo>
                    <a:lnTo>
                      <a:pt x="53" y="110"/>
                    </a:lnTo>
                    <a:lnTo>
                      <a:pt x="57" y="112"/>
                    </a:lnTo>
                    <a:lnTo>
                      <a:pt x="57" y="114"/>
                    </a:lnTo>
                    <a:lnTo>
                      <a:pt x="57" y="117"/>
                    </a:lnTo>
                    <a:lnTo>
                      <a:pt x="57" y="117"/>
                    </a:lnTo>
                    <a:lnTo>
                      <a:pt x="62" y="117"/>
                    </a:lnTo>
                    <a:lnTo>
                      <a:pt x="66" y="116"/>
                    </a:lnTo>
                    <a:lnTo>
                      <a:pt x="68" y="117"/>
                    </a:lnTo>
                    <a:lnTo>
                      <a:pt x="68" y="120"/>
                    </a:lnTo>
                    <a:lnTo>
                      <a:pt x="70" y="121"/>
                    </a:lnTo>
                    <a:lnTo>
                      <a:pt x="70" y="121"/>
                    </a:lnTo>
                    <a:lnTo>
                      <a:pt x="70" y="125"/>
                    </a:lnTo>
                    <a:lnTo>
                      <a:pt x="70" y="129"/>
                    </a:lnTo>
                    <a:lnTo>
                      <a:pt x="70" y="129"/>
                    </a:lnTo>
                    <a:lnTo>
                      <a:pt x="73" y="133"/>
                    </a:lnTo>
                    <a:lnTo>
                      <a:pt x="76" y="139"/>
                    </a:lnTo>
                    <a:lnTo>
                      <a:pt x="77" y="144"/>
                    </a:lnTo>
                    <a:lnTo>
                      <a:pt x="76" y="147"/>
                    </a:lnTo>
                    <a:lnTo>
                      <a:pt x="77" y="148"/>
                    </a:lnTo>
                    <a:lnTo>
                      <a:pt x="77" y="148"/>
                    </a:lnTo>
                    <a:lnTo>
                      <a:pt x="75" y="151"/>
                    </a:lnTo>
                    <a:lnTo>
                      <a:pt x="72" y="155"/>
                    </a:lnTo>
                    <a:lnTo>
                      <a:pt x="72" y="155"/>
                    </a:lnTo>
                    <a:lnTo>
                      <a:pt x="69" y="156"/>
                    </a:lnTo>
                    <a:lnTo>
                      <a:pt x="66" y="158"/>
                    </a:lnTo>
                    <a:lnTo>
                      <a:pt x="61" y="155"/>
                    </a:lnTo>
                    <a:lnTo>
                      <a:pt x="56" y="152"/>
                    </a:lnTo>
                    <a:lnTo>
                      <a:pt x="54" y="150"/>
                    </a:lnTo>
                    <a:lnTo>
                      <a:pt x="54" y="150"/>
                    </a:lnTo>
                    <a:lnTo>
                      <a:pt x="50" y="148"/>
                    </a:lnTo>
                    <a:lnTo>
                      <a:pt x="47" y="146"/>
                    </a:lnTo>
                    <a:lnTo>
                      <a:pt x="46" y="146"/>
                    </a:lnTo>
                    <a:lnTo>
                      <a:pt x="45" y="150"/>
                    </a:lnTo>
                    <a:lnTo>
                      <a:pt x="47" y="150"/>
                    </a:lnTo>
                    <a:lnTo>
                      <a:pt x="49" y="148"/>
                    </a:lnTo>
                    <a:lnTo>
                      <a:pt x="50" y="150"/>
                    </a:lnTo>
                    <a:lnTo>
                      <a:pt x="51" y="150"/>
                    </a:lnTo>
                    <a:lnTo>
                      <a:pt x="54" y="152"/>
                    </a:lnTo>
                    <a:lnTo>
                      <a:pt x="51" y="154"/>
                    </a:lnTo>
                    <a:lnTo>
                      <a:pt x="56" y="155"/>
                    </a:lnTo>
                    <a:lnTo>
                      <a:pt x="56" y="158"/>
                    </a:lnTo>
                    <a:lnTo>
                      <a:pt x="50" y="155"/>
                    </a:lnTo>
                    <a:lnTo>
                      <a:pt x="51" y="154"/>
                    </a:lnTo>
                    <a:lnTo>
                      <a:pt x="49" y="151"/>
                    </a:lnTo>
                    <a:lnTo>
                      <a:pt x="46" y="151"/>
                    </a:lnTo>
                    <a:lnTo>
                      <a:pt x="43" y="154"/>
                    </a:lnTo>
                    <a:lnTo>
                      <a:pt x="38" y="154"/>
                    </a:lnTo>
                    <a:lnTo>
                      <a:pt x="39" y="156"/>
                    </a:lnTo>
                    <a:lnTo>
                      <a:pt x="41" y="156"/>
                    </a:lnTo>
                    <a:lnTo>
                      <a:pt x="42" y="158"/>
                    </a:lnTo>
                    <a:lnTo>
                      <a:pt x="43" y="165"/>
                    </a:lnTo>
                    <a:lnTo>
                      <a:pt x="45" y="165"/>
                    </a:lnTo>
                    <a:lnTo>
                      <a:pt x="46" y="163"/>
                    </a:lnTo>
                    <a:lnTo>
                      <a:pt x="56" y="165"/>
                    </a:lnTo>
                    <a:lnTo>
                      <a:pt x="56" y="165"/>
                    </a:lnTo>
                    <a:lnTo>
                      <a:pt x="58" y="162"/>
                    </a:lnTo>
                    <a:lnTo>
                      <a:pt x="62" y="162"/>
                    </a:lnTo>
                    <a:lnTo>
                      <a:pt x="66" y="162"/>
                    </a:lnTo>
                    <a:lnTo>
                      <a:pt x="70" y="162"/>
                    </a:lnTo>
                    <a:lnTo>
                      <a:pt x="73" y="166"/>
                    </a:lnTo>
                    <a:lnTo>
                      <a:pt x="77" y="166"/>
                    </a:lnTo>
                    <a:lnTo>
                      <a:pt x="76" y="170"/>
                    </a:lnTo>
                    <a:lnTo>
                      <a:pt x="77" y="170"/>
                    </a:lnTo>
                    <a:lnTo>
                      <a:pt x="79" y="171"/>
                    </a:lnTo>
                    <a:lnTo>
                      <a:pt x="79" y="175"/>
                    </a:lnTo>
                    <a:lnTo>
                      <a:pt x="83" y="171"/>
                    </a:lnTo>
                    <a:lnTo>
                      <a:pt x="84" y="173"/>
                    </a:lnTo>
                    <a:lnTo>
                      <a:pt x="84" y="175"/>
                    </a:lnTo>
                    <a:lnTo>
                      <a:pt x="89" y="177"/>
                    </a:lnTo>
                    <a:lnTo>
                      <a:pt x="89" y="179"/>
                    </a:lnTo>
                    <a:lnTo>
                      <a:pt x="88" y="181"/>
                    </a:lnTo>
                    <a:lnTo>
                      <a:pt x="84" y="179"/>
                    </a:lnTo>
                    <a:lnTo>
                      <a:pt x="85" y="181"/>
                    </a:lnTo>
                    <a:lnTo>
                      <a:pt x="85" y="184"/>
                    </a:lnTo>
                    <a:lnTo>
                      <a:pt x="83" y="186"/>
                    </a:lnTo>
                    <a:lnTo>
                      <a:pt x="84" y="189"/>
                    </a:lnTo>
                    <a:lnTo>
                      <a:pt x="83" y="190"/>
                    </a:lnTo>
                    <a:lnTo>
                      <a:pt x="83" y="190"/>
                    </a:lnTo>
                    <a:lnTo>
                      <a:pt x="79" y="189"/>
                    </a:lnTo>
                    <a:lnTo>
                      <a:pt x="73" y="188"/>
                    </a:lnTo>
                    <a:lnTo>
                      <a:pt x="69" y="185"/>
                    </a:lnTo>
                    <a:lnTo>
                      <a:pt x="66" y="182"/>
                    </a:lnTo>
                    <a:lnTo>
                      <a:pt x="58" y="182"/>
                    </a:lnTo>
                    <a:lnTo>
                      <a:pt x="58" y="181"/>
                    </a:lnTo>
                    <a:lnTo>
                      <a:pt x="57" y="181"/>
                    </a:lnTo>
                    <a:lnTo>
                      <a:pt x="54" y="184"/>
                    </a:lnTo>
                    <a:lnTo>
                      <a:pt x="54" y="184"/>
                    </a:lnTo>
                    <a:lnTo>
                      <a:pt x="46" y="186"/>
                    </a:lnTo>
                    <a:lnTo>
                      <a:pt x="38" y="186"/>
                    </a:lnTo>
                    <a:lnTo>
                      <a:pt x="38" y="186"/>
                    </a:lnTo>
                    <a:lnTo>
                      <a:pt x="35" y="186"/>
                    </a:lnTo>
                    <a:lnTo>
                      <a:pt x="31" y="185"/>
                    </a:lnTo>
                    <a:lnTo>
                      <a:pt x="30" y="184"/>
                    </a:lnTo>
                    <a:lnTo>
                      <a:pt x="27" y="179"/>
                    </a:lnTo>
                    <a:lnTo>
                      <a:pt x="23" y="179"/>
                    </a:lnTo>
                    <a:lnTo>
                      <a:pt x="23" y="178"/>
                    </a:lnTo>
                    <a:lnTo>
                      <a:pt x="24" y="177"/>
                    </a:lnTo>
                    <a:lnTo>
                      <a:pt x="24" y="173"/>
                    </a:lnTo>
                    <a:lnTo>
                      <a:pt x="19" y="167"/>
                    </a:lnTo>
                    <a:lnTo>
                      <a:pt x="20" y="162"/>
                    </a:lnTo>
                    <a:lnTo>
                      <a:pt x="20" y="162"/>
                    </a:lnTo>
                    <a:lnTo>
                      <a:pt x="18" y="159"/>
                    </a:lnTo>
                    <a:lnTo>
                      <a:pt x="18" y="155"/>
                    </a:lnTo>
                    <a:lnTo>
                      <a:pt x="18" y="152"/>
                    </a:lnTo>
                    <a:lnTo>
                      <a:pt x="18" y="150"/>
                    </a:lnTo>
                    <a:lnTo>
                      <a:pt x="18" y="150"/>
                    </a:lnTo>
                    <a:lnTo>
                      <a:pt x="15" y="142"/>
                    </a:lnTo>
                    <a:lnTo>
                      <a:pt x="12" y="133"/>
                    </a:lnTo>
                    <a:lnTo>
                      <a:pt x="12" y="133"/>
                    </a:lnTo>
                    <a:lnTo>
                      <a:pt x="12" y="131"/>
                    </a:lnTo>
                    <a:lnTo>
                      <a:pt x="12" y="128"/>
                    </a:lnTo>
                    <a:lnTo>
                      <a:pt x="11" y="123"/>
                    </a:lnTo>
                    <a:lnTo>
                      <a:pt x="11" y="123"/>
                    </a:lnTo>
                    <a:lnTo>
                      <a:pt x="12" y="120"/>
                    </a:lnTo>
                    <a:lnTo>
                      <a:pt x="13" y="117"/>
                    </a:lnTo>
                    <a:lnTo>
                      <a:pt x="12" y="116"/>
                    </a:lnTo>
                    <a:lnTo>
                      <a:pt x="11" y="114"/>
                    </a:lnTo>
                    <a:lnTo>
                      <a:pt x="11" y="114"/>
                    </a:lnTo>
                    <a:lnTo>
                      <a:pt x="9" y="109"/>
                    </a:lnTo>
                    <a:lnTo>
                      <a:pt x="8" y="104"/>
                    </a:lnTo>
                    <a:lnTo>
                      <a:pt x="4" y="101"/>
                    </a:lnTo>
                    <a:lnTo>
                      <a:pt x="0" y="102"/>
                    </a:lnTo>
                    <a:lnTo>
                      <a:pt x="0" y="101"/>
                    </a:lnTo>
                    <a:lnTo>
                      <a:pt x="1" y="99"/>
                    </a:lnTo>
                    <a:lnTo>
                      <a:pt x="1" y="99"/>
                    </a:lnTo>
                    <a:lnTo>
                      <a:pt x="5" y="99"/>
                    </a:lnTo>
                    <a:lnTo>
                      <a:pt x="9" y="98"/>
                    </a:lnTo>
                    <a:lnTo>
                      <a:pt x="9" y="98"/>
                    </a:lnTo>
                    <a:lnTo>
                      <a:pt x="12" y="90"/>
                    </a:lnTo>
                    <a:lnTo>
                      <a:pt x="12" y="83"/>
                    </a:lnTo>
                    <a:lnTo>
                      <a:pt x="11" y="80"/>
                    </a:lnTo>
                    <a:lnTo>
                      <a:pt x="13" y="79"/>
                    </a:lnTo>
                    <a:lnTo>
                      <a:pt x="13" y="72"/>
                    </a:lnTo>
                    <a:lnTo>
                      <a:pt x="22" y="63"/>
                    </a:lnTo>
                    <a:lnTo>
                      <a:pt x="22" y="63"/>
                    </a:lnTo>
                    <a:lnTo>
                      <a:pt x="22" y="59"/>
                    </a:lnTo>
                    <a:lnTo>
                      <a:pt x="20" y="55"/>
                    </a:lnTo>
                    <a:lnTo>
                      <a:pt x="20" y="55"/>
                    </a:lnTo>
                    <a:lnTo>
                      <a:pt x="23" y="44"/>
                    </a:lnTo>
                    <a:lnTo>
                      <a:pt x="23" y="44"/>
                    </a:lnTo>
                    <a:lnTo>
                      <a:pt x="22" y="37"/>
                    </a:lnTo>
                    <a:lnTo>
                      <a:pt x="19" y="26"/>
                    </a:lnTo>
                    <a:lnTo>
                      <a:pt x="15" y="17"/>
                    </a:lnTo>
                    <a:lnTo>
                      <a:pt x="12" y="14"/>
                    </a:lnTo>
                    <a:lnTo>
                      <a:pt x="9" y="11"/>
                    </a:lnTo>
                    <a:lnTo>
                      <a:pt x="11" y="9"/>
                    </a:lnTo>
                    <a:lnTo>
                      <a:pt x="12" y="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2" name="Freeform 141">
                <a:extLst>
                  <a:ext uri="{FF2B5EF4-FFF2-40B4-BE49-F238E27FC236}">
                    <a16:creationId xmlns:a16="http://schemas.microsoft.com/office/drawing/2014/main" id="{E4C49206-0647-453B-9348-D450C8421240}"/>
                  </a:ext>
                </a:extLst>
              </p:cNvPr>
              <p:cNvSpPr>
                <a:spLocks/>
              </p:cNvSpPr>
              <p:nvPr/>
            </p:nvSpPr>
            <p:spPr bwMode="auto">
              <a:xfrm>
                <a:off x="1806575" y="2735331"/>
                <a:ext cx="12700" cy="17463"/>
              </a:xfrm>
              <a:custGeom>
                <a:avLst/>
                <a:gdLst>
                  <a:gd name="T0" fmla="*/ 12 w 15"/>
                  <a:gd name="T1" fmla="*/ 18 h 23"/>
                  <a:gd name="T2" fmla="*/ 9 w 15"/>
                  <a:gd name="T3" fmla="*/ 23 h 23"/>
                  <a:gd name="T4" fmla="*/ 5 w 15"/>
                  <a:gd name="T5" fmla="*/ 23 h 23"/>
                  <a:gd name="T6" fmla="*/ 1 w 15"/>
                  <a:gd name="T7" fmla="*/ 20 h 23"/>
                  <a:gd name="T8" fmla="*/ 1 w 15"/>
                  <a:gd name="T9" fmla="*/ 20 h 23"/>
                  <a:gd name="T10" fmla="*/ 1 w 15"/>
                  <a:gd name="T11" fmla="*/ 15 h 23"/>
                  <a:gd name="T12" fmla="*/ 3 w 15"/>
                  <a:gd name="T13" fmla="*/ 11 h 23"/>
                  <a:gd name="T14" fmla="*/ 0 w 15"/>
                  <a:gd name="T15" fmla="*/ 8 h 23"/>
                  <a:gd name="T16" fmla="*/ 0 w 15"/>
                  <a:gd name="T17" fmla="*/ 3 h 23"/>
                  <a:gd name="T18" fmla="*/ 4 w 15"/>
                  <a:gd name="T19" fmla="*/ 3 h 23"/>
                  <a:gd name="T20" fmla="*/ 7 w 15"/>
                  <a:gd name="T21" fmla="*/ 1 h 23"/>
                  <a:gd name="T22" fmla="*/ 8 w 15"/>
                  <a:gd name="T23" fmla="*/ 1 h 23"/>
                  <a:gd name="T24" fmla="*/ 8 w 15"/>
                  <a:gd name="T25" fmla="*/ 1 h 23"/>
                  <a:gd name="T26" fmla="*/ 11 w 15"/>
                  <a:gd name="T27" fmla="*/ 0 h 23"/>
                  <a:gd name="T28" fmla="*/ 13 w 15"/>
                  <a:gd name="T29" fmla="*/ 0 h 23"/>
                  <a:gd name="T30" fmla="*/ 15 w 15"/>
                  <a:gd name="T31" fmla="*/ 1 h 23"/>
                  <a:gd name="T32" fmla="*/ 15 w 15"/>
                  <a:gd name="T33" fmla="*/ 4 h 23"/>
                  <a:gd name="T34" fmla="*/ 13 w 15"/>
                  <a:gd name="T35" fmla="*/ 4 h 23"/>
                  <a:gd name="T36" fmla="*/ 13 w 15"/>
                  <a:gd name="T37" fmla="*/ 8 h 23"/>
                  <a:gd name="T38" fmla="*/ 12 w 15"/>
                  <a:gd name="T39" fmla="*/ 11 h 23"/>
                  <a:gd name="T40" fmla="*/ 12 w 15"/>
                  <a:gd name="T41" fmla="*/ 15 h 23"/>
                  <a:gd name="T42" fmla="*/ 12 w 15"/>
                  <a:gd name="T43" fmla="*/ 15 h 23"/>
                  <a:gd name="T44" fmla="*/ 8 w 15"/>
                  <a:gd name="T45" fmla="*/ 15 h 23"/>
                  <a:gd name="T46" fmla="*/ 5 w 15"/>
                  <a:gd name="T47" fmla="*/ 15 h 23"/>
                  <a:gd name="T48" fmla="*/ 5 w 15"/>
                  <a:gd name="T49" fmla="*/ 16 h 23"/>
                  <a:gd name="T50" fmla="*/ 5 w 15"/>
                  <a:gd name="T51" fmla="*/ 16 h 23"/>
                  <a:gd name="T52" fmla="*/ 8 w 15"/>
                  <a:gd name="T53" fmla="*/ 16 h 23"/>
                  <a:gd name="T54" fmla="*/ 12 w 15"/>
                  <a:gd name="T55" fmla="*/ 18 h 23"/>
                  <a:gd name="T56" fmla="*/ 12 w 15"/>
                  <a:gd name="T57"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23">
                    <a:moveTo>
                      <a:pt x="12" y="18"/>
                    </a:moveTo>
                    <a:lnTo>
                      <a:pt x="9" y="23"/>
                    </a:lnTo>
                    <a:lnTo>
                      <a:pt x="5" y="23"/>
                    </a:lnTo>
                    <a:lnTo>
                      <a:pt x="1" y="20"/>
                    </a:lnTo>
                    <a:lnTo>
                      <a:pt x="1" y="20"/>
                    </a:lnTo>
                    <a:lnTo>
                      <a:pt x="1" y="15"/>
                    </a:lnTo>
                    <a:lnTo>
                      <a:pt x="3" y="11"/>
                    </a:lnTo>
                    <a:lnTo>
                      <a:pt x="0" y="8"/>
                    </a:lnTo>
                    <a:lnTo>
                      <a:pt x="0" y="3"/>
                    </a:lnTo>
                    <a:lnTo>
                      <a:pt x="4" y="3"/>
                    </a:lnTo>
                    <a:lnTo>
                      <a:pt x="7" y="1"/>
                    </a:lnTo>
                    <a:lnTo>
                      <a:pt x="8" y="1"/>
                    </a:lnTo>
                    <a:lnTo>
                      <a:pt x="8" y="1"/>
                    </a:lnTo>
                    <a:lnTo>
                      <a:pt x="11" y="0"/>
                    </a:lnTo>
                    <a:lnTo>
                      <a:pt x="13" y="0"/>
                    </a:lnTo>
                    <a:lnTo>
                      <a:pt x="15" y="1"/>
                    </a:lnTo>
                    <a:lnTo>
                      <a:pt x="15" y="4"/>
                    </a:lnTo>
                    <a:lnTo>
                      <a:pt x="13" y="4"/>
                    </a:lnTo>
                    <a:lnTo>
                      <a:pt x="13" y="8"/>
                    </a:lnTo>
                    <a:lnTo>
                      <a:pt x="12" y="11"/>
                    </a:lnTo>
                    <a:lnTo>
                      <a:pt x="12" y="15"/>
                    </a:lnTo>
                    <a:lnTo>
                      <a:pt x="12" y="15"/>
                    </a:lnTo>
                    <a:lnTo>
                      <a:pt x="8" y="15"/>
                    </a:lnTo>
                    <a:lnTo>
                      <a:pt x="5" y="15"/>
                    </a:lnTo>
                    <a:lnTo>
                      <a:pt x="5" y="16"/>
                    </a:lnTo>
                    <a:lnTo>
                      <a:pt x="5" y="16"/>
                    </a:lnTo>
                    <a:lnTo>
                      <a:pt x="8" y="16"/>
                    </a:lnTo>
                    <a:lnTo>
                      <a:pt x="12" y="18"/>
                    </a:lnTo>
                    <a:lnTo>
                      <a:pt x="12" y="1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3" name="Freeform 142">
                <a:extLst>
                  <a:ext uri="{FF2B5EF4-FFF2-40B4-BE49-F238E27FC236}">
                    <a16:creationId xmlns:a16="http://schemas.microsoft.com/office/drawing/2014/main" id="{88D786F2-71B4-4F45-B199-1FF81DCB7EB8}"/>
                  </a:ext>
                </a:extLst>
              </p:cNvPr>
              <p:cNvSpPr>
                <a:spLocks/>
              </p:cNvSpPr>
              <p:nvPr/>
            </p:nvSpPr>
            <p:spPr bwMode="auto">
              <a:xfrm>
                <a:off x="2035175" y="2752794"/>
                <a:ext cx="14288" cy="4763"/>
              </a:xfrm>
              <a:custGeom>
                <a:avLst/>
                <a:gdLst>
                  <a:gd name="T0" fmla="*/ 3 w 18"/>
                  <a:gd name="T1" fmla="*/ 1 h 7"/>
                  <a:gd name="T2" fmla="*/ 6 w 18"/>
                  <a:gd name="T3" fmla="*/ 3 h 7"/>
                  <a:gd name="T4" fmla="*/ 9 w 18"/>
                  <a:gd name="T5" fmla="*/ 0 h 7"/>
                  <a:gd name="T6" fmla="*/ 11 w 18"/>
                  <a:gd name="T7" fmla="*/ 3 h 7"/>
                  <a:gd name="T8" fmla="*/ 18 w 18"/>
                  <a:gd name="T9" fmla="*/ 4 h 7"/>
                  <a:gd name="T10" fmla="*/ 18 w 18"/>
                  <a:gd name="T11" fmla="*/ 7 h 7"/>
                  <a:gd name="T12" fmla="*/ 11 w 18"/>
                  <a:gd name="T13" fmla="*/ 6 h 7"/>
                  <a:gd name="T14" fmla="*/ 11 w 18"/>
                  <a:gd name="T15" fmla="*/ 4 h 7"/>
                  <a:gd name="T16" fmla="*/ 11 w 18"/>
                  <a:gd name="T17" fmla="*/ 4 h 7"/>
                  <a:gd name="T18" fmla="*/ 6 w 18"/>
                  <a:gd name="T19" fmla="*/ 6 h 7"/>
                  <a:gd name="T20" fmla="*/ 2 w 18"/>
                  <a:gd name="T21" fmla="*/ 6 h 7"/>
                  <a:gd name="T22" fmla="*/ 0 w 18"/>
                  <a:gd name="T23" fmla="*/ 3 h 7"/>
                  <a:gd name="T24" fmla="*/ 3 w 18"/>
                  <a:gd name="T2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3" y="1"/>
                    </a:moveTo>
                    <a:lnTo>
                      <a:pt x="6" y="3"/>
                    </a:lnTo>
                    <a:lnTo>
                      <a:pt x="9" y="0"/>
                    </a:lnTo>
                    <a:lnTo>
                      <a:pt x="11" y="3"/>
                    </a:lnTo>
                    <a:lnTo>
                      <a:pt x="18" y="4"/>
                    </a:lnTo>
                    <a:lnTo>
                      <a:pt x="18" y="7"/>
                    </a:lnTo>
                    <a:lnTo>
                      <a:pt x="11" y="6"/>
                    </a:lnTo>
                    <a:lnTo>
                      <a:pt x="11" y="4"/>
                    </a:lnTo>
                    <a:lnTo>
                      <a:pt x="11" y="4"/>
                    </a:lnTo>
                    <a:lnTo>
                      <a:pt x="6" y="6"/>
                    </a:lnTo>
                    <a:lnTo>
                      <a:pt x="2" y="6"/>
                    </a:lnTo>
                    <a:lnTo>
                      <a:pt x="0" y="3"/>
                    </a:lnTo>
                    <a:lnTo>
                      <a:pt x="3"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4" name="Freeform 143">
                <a:extLst>
                  <a:ext uri="{FF2B5EF4-FFF2-40B4-BE49-F238E27FC236}">
                    <a16:creationId xmlns:a16="http://schemas.microsoft.com/office/drawing/2014/main" id="{85B4BA6B-739B-4C0C-9755-0E9FE39E2871}"/>
                  </a:ext>
                </a:extLst>
              </p:cNvPr>
              <p:cNvSpPr>
                <a:spLocks/>
              </p:cNvSpPr>
              <p:nvPr/>
            </p:nvSpPr>
            <p:spPr bwMode="auto">
              <a:xfrm>
                <a:off x="2008188" y="2744856"/>
                <a:ext cx="36513" cy="12700"/>
              </a:xfrm>
              <a:custGeom>
                <a:avLst/>
                <a:gdLst>
                  <a:gd name="T0" fmla="*/ 21 w 44"/>
                  <a:gd name="T1" fmla="*/ 6 h 16"/>
                  <a:gd name="T2" fmla="*/ 20 w 44"/>
                  <a:gd name="T3" fmla="*/ 8 h 16"/>
                  <a:gd name="T4" fmla="*/ 19 w 44"/>
                  <a:gd name="T5" fmla="*/ 12 h 16"/>
                  <a:gd name="T6" fmla="*/ 13 w 44"/>
                  <a:gd name="T7" fmla="*/ 15 h 16"/>
                  <a:gd name="T8" fmla="*/ 12 w 44"/>
                  <a:gd name="T9" fmla="*/ 15 h 16"/>
                  <a:gd name="T10" fmla="*/ 6 w 44"/>
                  <a:gd name="T11" fmla="*/ 16 h 16"/>
                  <a:gd name="T12" fmla="*/ 1 w 44"/>
                  <a:gd name="T13" fmla="*/ 13 h 16"/>
                  <a:gd name="T14" fmla="*/ 0 w 44"/>
                  <a:gd name="T15" fmla="*/ 12 h 16"/>
                  <a:gd name="T16" fmla="*/ 0 w 44"/>
                  <a:gd name="T17" fmla="*/ 12 h 16"/>
                  <a:gd name="T18" fmla="*/ 4 w 44"/>
                  <a:gd name="T19" fmla="*/ 8 h 16"/>
                  <a:gd name="T20" fmla="*/ 8 w 44"/>
                  <a:gd name="T21" fmla="*/ 5 h 16"/>
                  <a:gd name="T22" fmla="*/ 13 w 44"/>
                  <a:gd name="T23" fmla="*/ 4 h 16"/>
                  <a:gd name="T24" fmla="*/ 19 w 44"/>
                  <a:gd name="T25" fmla="*/ 4 h 16"/>
                  <a:gd name="T26" fmla="*/ 20 w 44"/>
                  <a:gd name="T27" fmla="*/ 1 h 16"/>
                  <a:gd name="T28" fmla="*/ 27 w 44"/>
                  <a:gd name="T29" fmla="*/ 1 h 16"/>
                  <a:gd name="T30" fmla="*/ 29 w 44"/>
                  <a:gd name="T31" fmla="*/ 2 h 16"/>
                  <a:gd name="T32" fmla="*/ 36 w 44"/>
                  <a:gd name="T33" fmla="*/ 0 h 16"/>
                  <a:gd name="T34" fmla="*/ 36 w 44"/>
                  <a:gd name="T35" fmla="*/ 0 h 16"/>
                  <a:gd name="T36" fmla="*/ 40 w 44"/>
                  <a:gd name="T37" fmla="*/ 1 h 16"/>
                  <a:gd name="T38" fmla="*/ 43 w 44"/>
                  <a:gd name="T39" fmla="*/ 2 h 16"/>
                  <a:gd name="T40" fmla="*/ 44 w 44"/>
                  <a:gd name="T41" fmla="*/ 5 h 16"/>
                  <a:gd name="T42" fmla="*/ 43 w 44"/>
                  <a:gd name="T43" fmla="*/ 8 h 16"/>
                  <a:gd name="T44" fmla="*/ 43 w 44"/>
                  <a:gd name="T45" fmla="*/ 8 h 16"/>
                  <a:gd name="T46" fmla="*/ 36 w 44"/>
                  <a:gd name="T47" fmla="*/ 9 h 16"/>
                  <a:gd name="T48" fmla="*/ 32 w 44"/>
                  <a:gd name="T49" fmla="*/ 9 h 16"/>
                  <a:gd name="T50" fmla="*/ 28 w 44"/>
                  <a:gd name="T51" fmla="*/ 9 h 16"/>
                  <a:gd name="T52" fmla="*/ 25 w 44"/>
                  <a:gd name="T53" fmla="*/ 10 h 16"/>
                  <a:gd name="T54" fmla="*/ 21 w 44"/>
                  <a:gd name="T5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16">
                    <a:moveTo>
                      <a:pt x="21" y="6"/>
                    </a:moveTo>
                    <a:lnTo>
                      <a:pt x="20" y="8"/>
                    </a:lnTo>
                    <a:lnTo>
                      <a:pt x="19" y="12"/>
                    </a:lnTo>
                    <a:lnTo>
                      <a:pt x="13" y="15"/>
                    </a:lnTo>
                    <a:lnTo>
                      <a:pt x="12" y="15"/>
                    </a:lnTo>
                    <a:lnTo>
                      <a:pt x="6" y="16"/>
                    </a:lnTo>
                    <a:lnTo>
                      <a:pt x="1" y="13"/>
                    </a:lnTo>
                    <a:lnTo>
                      <a:pt x="0" y="12"/>
                    </a:lnTo>
                    <a:lnTo>
                      <a:pt x="0" y="12"/>
                    </a:lnTo>
                    <a:lnTo>
                      <a:pt x="4" y="8"/>
                    </a:lnTo>
                    <a:lnTo>
                      <a:pt x="8" y="5"/>
                    </a:lnTo>
                    <a:lnTo>
                      <a:pt x="13" y="4"/>
                    </a:lnTo>
                    <a:lnTo>
                      <a:pt x="19" y="4"/>
                    </a:lnTo>
                    <a:lnTo>
                      <a:pt x="20" y="1"/>
                    </a:lnTo>
                    <a:lnTo>
                      <a:pt x="27" y="1"/>
                    </a:lnTo>
                    <a:lnTo>
                      <a:pt x="29" y="2"/>
                    </a:lnTo>
                    <a:lnTo>
                      <a:pt x="36" y="0"/>
                    </a:lnTo>
                    <a:lnTo>
                      <a:pt x="36" y="0"/>
                    </a:lnTo>
                    <a:lnTo>
                      <a:pt x="40" y="1"/>
                    </a:lnTo>
                    <a:lnTo>
                      <a:pt x="43" y="2"/>
                    </a:lnTo>
                    <a:lnTo>
                      <a:pt x="44" y="5"/>
                    </a:lnTo>
                    <a:lnTo>
                      <a:pt x="43" y="8"/>
                    </a:lnTo>
                    <a:lnTo>
                      <a:pt x="43" y="8"/>
                    </a:lnTo>
                    <a:lnTo>
                      <a:pt x="36" y="9"/>
                    </a:lnTo>
                    <a:lnTo>
                      <a:pt x="32" y="9"/>
                    </a:lnTo>
                    <a:lnTo>
                      <a:pt x="28" y="9"/>
                    </a:lnTo>
                    <a:lnTo>
                      <a:pt x="25" y="10"/>
                    </a:lnTo>
                    <a:lnTo>
                      <a:pt x="21" y="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5" name="Freeform 144">
                <a:extLst>
                  <a:ext uri="{FF2B5EF4-FFF2-40B4-BE49-F238E27FC236}">
                    <a16:creationId xmlns:a16="http://schemas.microsoft.com/office/drawing/2014/main" id="{A7757E9A-E0E0-4694-9E27-582921132072}"/>
                  </a:ext>
                </a:extLst>
              </p:cNvPr>
              <p:cNvSpPr>
                <a:spLocks/>
              </p:cNvSpPr>
              <p:nvPr/>
            </p:nvSpPr>
            <p:spPr bwMode="auto">
              <a:xfrm>
                <a:off x="1781175" y="2749619"/>
                <a:ext cx="9525" cy="7938"/>
              </a:xfrm>
              <a:custGeom>
                <a:avLst/>
                <a:gdLst>
                  <a:gd name="T0" fmla="*/ 6 w 11"/>
                  <a:gd name="T1" fmla="*/ 0 h 11"/>
                  <a:gd name="T2" fmla="*/ 6 w 11"/>
                  <a:gd name="T3" fmla="*/ 0 h 11"/>
                  <a:gd name="T4" fmla="*/ 8 w 11"/>
                  <a:gd name="T5" fmla="*/ 1 h 11"/>
                  <a:gd name="T6" fmla="*/ 11 w 11"/>
                  <a:gd name="T7" fmla="*/ 3 h 11"/>
                  <a:gd name="T8" fmla="*/ 11 w 11"/>
                  <a:gd name="T9" fmla="*/ 5 h 11"/>
                  <a:gd name="T10" fmla="*/ 10 w 11"/>
                  <a:gd name="T11" fmla="*/ 7 h 11"/>
                  <a:gd name="T12" fmla="*/ 8 w 11"/>
                  <a:gd name="T13" fmla="*/ 10 h 11"/>
                  <a:gd name="T14" fmla="*/ 6 w 11"/>
                  <a:gd name="T15" fmla="*/ 11 h 11"/>
                  <a:gd name="T16" fmla="*/ 6 w 11"/>
                  <a:gd name="T17" fmla="*/ 11 h 11"/>
                  <a:gd name="T18" fmla="*/ 0 w 11"/>
                  <a:gd name="T19" fmla="*/ 11 h 11"/>
                  <a:gd name="T20" fmla="*/ 0 w 11"/>
                  <a:gd name="T21" fmla="*/ 8 h 11"/>
                  <a:gd name="T22" fmla="*/ 4 w 11"/>
                  <a:gd name="T23" fmla="*/ 4 h 11"/>
                  <a:gd name="T24" fmla="*/ 2 w 11"/>
                  <a:gd name="T25" fmla="*/ 1 h 11"/>
                  <a:gd name="T26" fmla="*/ 4 w 11"/>
                  <a:gd name="T27" fmla="*/ 0 h 11"/>
                  <a:gd name="T28" fmla="*/ 6 w 11"/>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1">
                    <a:moveTo>
                      <a:pt x="6" y="0"/>
                    </a:moveTo>
                    <a:lnTo>
                      <a:pt x="6" y="0"/>
                    </a:lnTo>
                    <a:lnTo>
                      <a:pt x="8" y="1"/>
                    </a:lnTo>
                    <a:lnTo>
                      <a:pt x="11" y="3"/>
                    </a:lnTo>
                    <a:lnTo>
                      <a:pt x="11" y="5"/>
                    </a:lnTo>
                    <a:lnTo>
                      <a:pt x="10" y="7"/>
                    </a:lnTo>
                    <a:lnTo>
                      <a:pt x="8" y="10"/>
                    </a:lnTo>
                    <a:lnTo>
                      <a:pt x="6" y="11"/>
                    </a:lnTo>
                    <a:lnTo>
                      <a:pt x="6" y="11"/>
                    </a:lnTo>
                    <a:lnTo>
                      <a:pt x="0" y="11"/>
                    </a:lnTo>
                    <a:lnTo>
                      <a:pt x="0" y="8"/>
                    </a:lnTo>
                    <a:lnTo>
                      <a:pt x="4" y="4"/>
                    </a:lnTo>
                    <a:lnTo>
                      <a:pt x="2" y="1"/>
                    </a:lnTo>
                    <a:lnTo>
                      <a:pt x="4" y="0"/>
                    </a:lnTo>
                    <a:lnTo>
                      <a:pt x="6"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6" name="Freeform 145">
                <a:extLst>
                  <a:ext uri="{FF2B5EF4-FFF2-40B4-BE49-F238E27FC236}">
                    <a16:creationId xmlns:a16="http://schemas.microsoft.com/office/drawing/2014/main" id="{EF81CB8F-E22E-4025-9A49-34E9F30475CE}"/>
                  </a:ext>
                </a:extLst>
              </p:cNvPr>
              <p:cNvSpPr>
                <a:spLocks/>
              </p:cNvSpPr>
              <p:nvPr/>
            </p:nvSpPr>
            <p:spPr bwMode="auto">
              <a:xfrm>
                <a:off x="1957388" y="2432119"/>
                <a:ext cx="330200" cy="338138"/>
              </a:xfrm>
              <a:custGeom>
                <a:avLst/>
                <a:gdLst>
                  <a:gd name="T0" fmla="*/ 2 w 417"/>
                  <a:gd name="T1" fmla="*/ 176 h 426"/>
                  <a:gd name="T2" fmla="*/ 15 w 417"/>
                  <a:gd name="T3" fmla="*/ 155 h 426"/>
                  <a:gd name="T4" fmla="*/ 32 w 417"/>
                  <a:gd name="T5" fmla="*/ 127 h 426"/>
                  <a:gd name="T6" fmla="*/ 53 w 417"/>
                  <a:gd name="T7" fmla="*/ 161 h 426"/>
                  <a:gd name="T8" fmla="*/ 78 w 417"/>
                  <a:gd name="T9" fmla="*/ 169 h 426"/>
                  <a:gd name="T10" fmla="*/ 59 w 417"/>
                  <a:gd name="T11" fmla="*/ 140 h 426"/>
                  <a:gd name="T12" fmla="*/ 78 w 417"/>
                  <a:gd name="T13" fmla="*/ 130 h 426"/>
                  <a:gd name="T14" fmla="*/ 49 w 417"/>
                  <a:gd name="T15" fmla="*/ 99 h 426"/>
                  <a:gd name="T16" fmla="*/ 60 w 417"/>
                  <a:gd name="T17" fmla="*/ 62 h 426"/>
                  <a:gd name="T18" fmla="*/ 80 w 417"/>
                  <a:gd name="T19" fmla="*/ 96 h 426"/>
                  <a:gd name="T20" fmla="*/ 120 w 417"/>
                  <a:gd name="T21" fmla="*/ 126 h 426"/>
                  <a:gd name="T22" fmla="*/ 131 w 417"/>
                  <a:gd name="T23" fmla="*/ 146 h 426"/>
                  <a:gd name="T24" fmla="*/ 148 w 417"/>
                  <a:gd name="T25" fmla="*/ 115 h 426"/>
                  <a:gd name="T26" fmla="*/ 173 w 417"/>
                  <a:gd name="T27" fmla="*/ 155 h 426"/>
                  <a:gd name="T28" fmla="*/ 167 w 417"/>
                  <a:gd name="T29" fmla="*/ 130 h 426"/>
                  <a:gd name="T30" fmla="*/ 144 w 417"/>
                  <a:gd name="T31" fmla="*/ 85 h 426"/>
                  <a:gd name="T32" fmla="*/ 143 w 417"/>
                  <a:gd name="T33" fmla="*/ 69 h 426"/>
                  <a:gd name="T34" fmla="*/ 143 w 417"/>
                  <a:gd name="T35" fmla="*/ 30 h 426"/>
                  <a:gd name="T36" fmla="*/ 159 w 417"/>
                  <a:gd name="T37" fmla="*/ 0 h 426"/>
                  <a:gd name="T38" fmla="*/ 194 w 417"/>
                  <a:gd name="T39" fmla="*/ 20 h 426"/>
                  <a:gd name="T40" fmla="*/ 224 w 417"/>
                  <a:gd name="T41" fmla="*/ 62 h 426"/>
                  <a:gd name="T42" fmla="*/ 235 w 417"/>
                  <a:gd name="T43" fmla="*/ 114 h 426"/>
                  <a:gd name="T44" fmla="*/ 234 w 417"/>
                  <a:gd name="T45" fmla="*/ 174 h 426"/>
                  <a:gd name="T46" fmla="*/ 228 w 417"/>
                  <a:gd name="T47" fmla="*/ 184 h 426"/>
                  <a:gd name="T48" fmla="*/ 243 w 417"/>
                  <a:gd name="T49" fmla="*/ 224 h 426"/>
                  <a:gd name="T50" fmla="*/ 238 w 417"/>
                  <a:gd name="T51" fmla="*/ 244 h 426"/>
                  <a:gd name="T52" fmla="*/ 255 w 417"/>
                  <a:gd name="T53" fmla="*/ 244 h 426"/>
                  <a:gd name="T54" fmla="*/ 264 w 417"/>
                  <a:gd name="T55" fmla="*/ 271 h 426"/>
                  <a:gd name="T56" fmla="*/ 310 w 417"/>
                  <a:gd name="T57" fmla="*/ 278 h 426"/>
                  <a:gd name="T58" fmla="*/ 334 w 417"/>
                  <a:gd name="T59" fmla="*/ 285 h 426"/>
                  <a:gd name="T60" fmla="*/ 371 w 417"/>
                  <a:gd name="T61" fmla="*/ 270 h 426"/>
                  <a:gd name="T62" fmla="*/ 413 w 417"/>
                  <a:gd name="T63" fmla="*/ 277 h 426"/>
                  <a:gd name="T64" fmla="*/ 406 w 417"/>
                  <a:gd name="T65" fmla="*/ 311 h 426"/>
                  <a:gd name="T66" fmla="*/ 360 w 417"/>
                  <a:gd name="T67" fmla="*/ 328 h 426"/>
                  <a:gd name="T68" fmla="*/ 359 w 417"/>
                  <a:gd name="T69" fmla="*/ 355 h 426"/>
                  <a:gd name="T70" fmla="*/ 338 w 417"/>
                  <a:gd name="T71" fmla="*/ 374 h 426"/>
                  <a:gd name="T72" fmla="*/ 325 w 417"/>
                  <a:gd name="T73" fmla="*/ 401 h 426"/>
                  <a:gd name="T74" fmla="*/ 289 w 417"/>
                  <a:gd name="T75" fmla="*/ 423 h 426"/>
                  <a:gd name="T76" fmla="*/ 276 w 417"/>
                  <a:gd name="T77" fmla="*/ 399 h 426"/>
                  <a:gd name="T78" fmla="*/ 291 w 417"/>
                  <a:gd name="T79" fmla="*/ 369 h 426"/>
                  <a:gd name="T80" fmla="*/ 303 w 417"/>
                  <a:gd name="T81" fmla="*/ 347 h 426"/>
                  <a:gd name="T82" fmla="*/ 341 w 417"/>
                  <a:gd name="T83" fmla="*/ 327 h 426"/>
                  <a:gd name="T84" fmla="*/ 318 w 417"/>
                  <a:gd name="T85" fmla="*/ 332 h 426"/>
                  <a:gd name="T86" fmla="*/ 279 w 417"/>
                  <a:gd name="T87" fmla="*/ 304 h 426"/>
                  <a:gd name="T88" fmla="*/ 270 w 417"/>
                  <a:gd name="T89" fmla="*/ 331 h 426"/>
                  <a:gd name="T90" fmla="*/ 249 w 417"/>
                  <a:gd name="T91" fmla="*/ 340 h 426"/>
                  <a:gd name="T92" fmla="*/ 230 w 417"/>
                  <a:gd name="T93" fmla="*/ 317 h 426"/>
                  <a:gd name="T94" fmla="*/ 170 w 417"/>
                  <a:gd name="T95" fmla="*/ 338 h 426"/>
                  <a:gd name="T96" fmla="*/ 156 w 417"/>
                  <a:gd name="T97" fmla="*/ 319 h 426"/>
                  <a:gd name="T98" fmla="*/ 159 w 417"/>
                  <a:gd name="T99" fmla="*/ 287 h 426"/>
                  <a:gd name="T100" fmla="*/ 123 w 417"/>
                  <a:gd name="T101" fmla="*/ 270 h 426"/>
                  <a:gd name="T102" fmla="*/ 131 w 417"/>
                  <a:gd name="T103" fmla="*/ 237 h 426"/>
                  <a:gd name="T104" fmla="*/ 155 w 417"/>
                  <a:gd name="T105" fmla="*/ 247 h 426"/>
                  <a:gd name="T106" fmla="*/ 151 w 417"/>
                  <a:gd name="T107" fmla="*/ 233 h 426"/>
                  <a:gd name="T108" fmla="*/ 133 w 417"/>
                  <a:gd name="T109" fmla="*/ 221 h 426"/>
                  <a:gd name="T110" fmla="*/ 114 w 417"/>
                  <a:gd name="T111" fmla="*/ 211 h 426"/>
                  <a:gd name="T112" fmla="*/ 97 w 417"/>
                  <a:gd name="T113" fmla="*/ 205 h 426"/>
                  <a:gd name="T114" fmla="*/ 90 w 417"/>
                  <a:gd name="T115" fmla="*/ 191 h 426"/>
                  <a:gd name="T116" fmla="*/ 83 w 417"/>
                  <a:gd name="T117" fmla="*/ 226 h 426"/>
                  <a:gd name="T118" fmla="*/ 40 w 417"/>
                  <a:gd name="T119" fmla="*/ 21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7" h="426">
                    <a:moveTo>
                      <a:pt x="19" y="197"/>
                    </a:moveTo>
                    <a:lnTo>
                      <a:pt x="22" y="195"/>
                    </a:lnTo>
                    <a:lnTo>
                      <a:pt x="23" y="193"/>
                    </a:lnTo>
                    <a:lnTo>
                      <a:pt x="23" y="193"/>
                    </a:lnTo>
                    <a:lnTo>
                      <a:pt x="19" y="186"/>
                    </a:lnTo>
                    <a:lnTo>
                      <a:pt x="18" y="179"/>
                    </a:lnTo>
                    <a:lnTo>
                      <a:pt x="18" y="179"/>
                    </a:lnTo>
                    <a:lnTo>
                      <a:pt x="15" y="176"/>
                    </a:lnTo>
                    <a:lnTo>
                      <a:pt x="11" y="175"/>
                    </a:lnTo>
                    <a:lnTo>
                      <a:pt x="10" y="172"/>
                    </a:lnTo>
                    <a:lnTo>
                      <a:pt x="10" y="172"/>
                    </a:lnTo>
                    <a:lnTo>
                      <a:pt x="7" y="172"/>
                    </a:lnTo>
                    <a:lnTo>
                      <a:pt x="4" y="172"/>
                    </a:lnTo>
                    <a:lnTo>
                      <a:pt x="2" y="176"/>
                    </a:lnTo>
                    <a:lnTo>
                      <a:pt x="0" y="176"/>
                    </a:lnTo>
                    <a:lnTo>
                      <a:pt x="0" y="175"/>
                    </a:lnTo>
                    <a:lnTo>
                      <a:pt x="3" y="172"/>
                    </a:lnTo>
                    <a:lnTo>
                      <a:pt x="3" y="172"/>
                    </a:lnTo>
                    <a:lnTo>
                      <a:pt x="2" y="169"/>
                    </a:lnTo>
                    <a:lnTo>
                      <a:pt x="2" y="165"/>
                    </a:lnTo>
                    <a:lnTo>
                      <a:pt x="4" y="163"/>
                    </a:lnTo>
                    <a:lnTo>
                      <a:pt x="4" y="160"/>
                    </a:lnTo>
                    <a:lnTo>
                      <a:pt x="3" y="159"/>
                    </a:lnTo>
                    <a:lnTo>
                      <a:pt x="3" y="155"/>
                    </a:lnTo>
                    <a:lnTo>
                      <a:pt x="4" y="153"/>
                    </a:lnTo>
                    <a:lnTo>
                      <a:pt x="4" y="153"/>
                    </a:lnTo>
                    <a:lnTo>
                      <a:pt x="11" y="153"/>
                    </a:lnTo>
                    <a:lnTo>
                      <a:pt x="15" y="155"/>
                    </a:lnTo>
                    <a:lnTo>
                      <a:pt x="17" y="156"/>
                    </a:lnTo>
                    <a:lnTo>
                      <a:pt x="17" y="159"/>
                    </a:lnTo>
                    <a:lnTo>
                      <a:pt x="21" y="157"/>
                    </a:lnTo>
                    <a:lnTo>
                      <a:pt x="25" y="159"/>
                    </a:lnTo>
                    <a:lnTo>
                      <a:pt x="26" y="157"/>
                    </a:lnTo>
                    <a:lnTo>
                      <a:pt x="18" y="149"/>
                    </a:lnTo>
                    <a:lnTo>
                      <a:pt x="18" y="149"/>
                    </a:lnTo>
                    <a:lnTo>
                      <a:pt x="15" y="140"/>
                    </a:lnTo>
                    <a:lnTo>
                      <a:pt x="15" y="129"/>
                    </a:lnTo>
                    <a:lnTo>
                      <a:pt x="15" y="129"/>
                    </a:lnTo>
                    <a:lnTo>
                      <a:pt x="21" y="123"/>
                    </a:lnTo>
                    <a:lnTo>
                      <a:pt x="26" y="121"/>
                    </a:lnTo>
                    <a:lnTo>
                      <a:pt x="30" y="122"/>
                    </a:lnTo>
                    <a:lnTo>
                      <a:pt x="32" y="127"/>
                    </a:lnTo>
                    <a:lnTo>
                      <a:pt x="30" y="130"/>
                    </a:lnTo>
                    <a:lnTo>
                      <a:pt x="33" y="131"/>
                    </a:lnTo>
                    <a:lnTo>
                      <a:pt x="34" y="133"/>
                    </a:lnTo>
                    <a:lnTo>
                      <a:pt x="37" y="134"/>
                    </a:lnTo>
                    <a:lnTo>
                      <a:pt x="37" y="138"/>
                    </a:lnTo>
                    <a:lnTo>
                      <a:pt x="41" y="141"/>
                    </a:lnTo>
                    <a:lnTo>
                      <a:pt x="41" y="144"/>
                    </a:lnTo>
                    <a:lnTo>
                      <a:pt x="44" y="146"/>
                    </a:lnTo>
                    <a:lnTo>
                      <a:pt x="45" y="152"/>
                    </a:lnTo>
                    <a:lnTo>
                      <a:pt x="48" y="152"/>
                    </a:lnTo>
                    <a:lnTo>
                      <a:pt x="48" y="152"/>
                    </a:lnTo>
                    <a:lnTo>
                      <a:pt x="49" y="155"/>
                    </a:lnTo>
                    <a:lnTo>
                      <a:pt x="51" y="156"/>
                    </a:lnTo>
                    <a:lnTo>
                      <a:pt x="53" y="161"/>
                    </a:lnTo>
                    <a:lnTo>
                      <a:pt x="53" y="161"/>
                    </a:lnTo>
                    <a:lnTo>
                      <a:pt x="61" y="169"/>
                    </a:lnTo>
                    <a:lnTo>
                      <a:pt x="63" y="165"/>
                    </a:lnTo>
                    <a:lnTo>
                      <a:pt x="66" y="165"/>
                    </a:lnTo>
                    <a:lnTo>
                      <a:pt x="64" y="163"/>
                    </a:lnTo>
                    <a:lnTo>
                      <a:pt x="66" y="161"/>
                    </a:lnTo>
                    <a:lnTo>
                      <a:pt x="70" y="163"/>
                    </a:lnTo>
                    <a:lnTo>
                      <a:pt x="70" y="163"/>
                    </a:lnTo>
                    <a:lnTo>
                      <a:pt x="72" y="167"/>
                    </a:lnTo>
                    <a:lnTo>
                      <a:pt x="74" y="171"/>
                    </a:lnTo>
                    <a:lnTo>
                      <a:pt x="72" y="172"/>
                    </a:lnTo>
                    <a:lnTo>
                      <a:pt x="75" y="176"/>
                    </a:lnTo>
                    <a:lnTo>
                      <a:pt x="76" y="171"/>
                    </a:lnTo>
                    <a:lnTo>
                      <a:pt x="78" y="169"/>
                    </a:lnTo>
                    <a:lnTo>
                      <a:pt x="72" y="163"/>
                    </a:lnTo>
                    <a:lnTo>
                      <a:pt x="72" y="163"/>
                    </a:lnTo>
                    <a:lnTo>
                      <a:pt x="71" y="157"/>
                    </a:lnTo>
                    <a:lnTo>
                      <a:pt x="70" y="155"/>
                    </a:lnTo>
                    <a:lnTo>
                      <a:pt x="67" y="153"/>
                    </a:lnTo>
                    <a:lnTo>
                      <a:pt x="66" y="153"/>
                    </a:lnTo>
                    <a:lnTo>
                      <a:pt x="66" y="155"/>
                    </a:lnTo>
                    <a:lnTo>
                      <a:pt x="60" y="153"/>
                    </a:lnTo>
                    <a:lnTo>
                      <a:pt x="60" y="152"/>
                    </a:lnTo>
                    <a:lnTo>
                      <a:pt x="63" y="150"/>
                    </a:lnTo>
                    <a:lnTo>
                      <a:pt x="64" y="146"/>
                    </a:lnTo>
                    <a:lnTo>
                      <a:pt x="61" y="144"/>
                    </a:lnTo>
                    <a:lnTo>
                      <a:pt x="60" y="141"/>
                    </a:lnTo>
                    <a:lnTo>
                      <a:pt x="59" y="140"/>
                    </a:lnTo>
                    <a:lnTo>
                      <a:pt x="59" y="140"/>
                    </a:lnTo>
                    <a:lnTo>
                      <a:pt x="59" y="137"/>
                    </a:lnTo>
                    <a:lnTo>
                      <a:pt x="57" y="133"/>
                    </a:lnTo>
                    <a:lnTo>
                      <a:pt x="56" y="130"/>
                    </a:lnTo>
                    <a:lnTo>
                      <a:pt x="56" y="127"/>
                    </a:lnTo>
                    <a:lnTo>
                      <a:pt x="57" y="126"/>
                    </a:lnTo>
                    <a:lnTo>
                      <a:pt x="61" y="127"/>
                    </a:lnTo>
                    <a:lnTo>
                      <a:pt x="64" y="126"/>
                    </a:lnTo>
                    <a:lnTo>
                      <a:pt x="64" y="123"/>
                    </a:lnTo>
                    <a:lnTo>
                      <a:pt x="70" y="122"/>
                    </a:lnTo>
                    <a:lnTo>
                      <a:pt x="70" y="122"/>
                    </a:lnTo>
                    <a:lnTo>
                      <a:pt x="72" y="125"/>
                    </a:lnTo>
                    <a:lnTo>
                      <a:pt x="75" y="127"/>
                    </a:lnTo>
                    <a:lnTo>
                      <a:pt x="78" y="130"/>
                    </a:lnTo>
                    <a:lnTo>
                      <a:pt x="80" y="131"/>
                    </a:lnTo>
                    <a:lnTo>
                      <a:pt x="82" y="129"/>
                    </a:lnTo>
                    <a:lnTo>
                      <a:pt x="82" y="126"/>
                    </a:lnTo>
                    <a:lnTo>
                      <a:pt x="83" y="125"/>
                    </a:lnTo>
                    <a:lnTo>
                      <a:pt x="83" y="123"/>
                    </a:lnTo>
                    <a:lnTo>
                      <a:pt x="74" y="117"/>
                    </a:lnTo>
                    <a:lnTo>
                      <a:pt x="74" y="117"/>
                    </a:lnTo>
                    <a:lnTo>
                      <a:pt x="71" y="110"/>
                    </a:lnTo>
                    <a:lnTo>
                      <a:pt x="66" y="104"/>
                    </a:lnTo>
                    <a:lnTo>
                      <a:pt x="64" y="104"/>
                    </a:lnTo>
                    <a:lnTo>
                      <a:pt x="53" y="96"/>
                    </a:lnTo>
                    <a:lnTo>
                      <a:pt x="51" y="98"/>
                    </a:lnTo>
                    <a:lnTo>
                      <a:pt x="51" y="99"/>
                    </a:lnTo>
                    <a:lnTo>
                      <a:pt x="49" y="99"/>
                    </a:lnTo>
                    <a:lnTo>
                      <a:pt x="49" y="95"/>
                    </a:lnTo>
                    <a:lnTo>
                      <a:pt x="52" y="93"/>
                    </a:lnTo>
                    <a:lnTo>
                      <a:pt x="52" y="93"/>
                    </a:lnTo>
                    <a:lnTo>
                      <a:pt x="53" y="91"/>
                    </a:lnTo>
                    <a:lnTo>
                      <a:pt x="53" y="87"/>
                    </a:lnTo>
                    <a:lnTo>
                      <a:pt x="55" y="83"/>
                    </a:lnTo>
                    <a:lnTo>
                      <a:pt x="56" y="79"/>
                    </a:lnTo>
                    <a:lnTo>
                      <a:pt x="56" y="79"/>
                    </a:lnTo>
                    <a:lnTo>
                      <a:pt x="56" y="74"/>
                    </a:lnTo>
                    <a:lnTo>
                      <a:pt x="56" y="69"/>
                    </a:lnTo>
                    <a:lnTo>
                      <a:pt x="55" y="66"/>
                    </a:lnTo>
                    <a:lnTo>
                      <a:pt x="56" y="62"/>
                    </a:lnTo>
                    <a:lnTo>
                      <a:pt x="57" y="62"/>
                    </a:lnTo>
                    <a:lnTo>
                      <a:pt x="60" y="62"/>
                    </a:lnTo>
                    <a:lnTo>
                      <a:pt x="61" y="62"/>
                    </a:lnTo>
                    <a:lnTo>
                      <a:pt x="64" y="64"/>
                    </a:lnTo>
                    <a:lnTo>
                      <a:pt x="64" y="64"/>
                    </a:lnTo>
                    <a:lnTo>
                      <a:pt x="66" y="66"/>
                    </a:lnTo>
                    <a:lnTo>
                      <a:pt x="68" y="69"/>
                    </a:lnTo>
                    <a:lnTo>
                      <a:pt x="72" y="70"/>
                    </a:lnTo>
                    <a:lnTo>
                      <a:pt x="75" y="73"/>
                    </a:lnTo>
                    <a:lnTo>
                      <a:pt x="75" y="73"/>
                    </a:lnTo>
                    <a:lnTo>
                      <a:pt x="75" y="74"/>
                    </a:lnTo>
                    <a:lnTo>
                      <a:pt x="76" y="77"/>
                    </a:lnTo>
                    <a:lnTo>
                      <a:pt x="79" y="81"/>
                    </a:lnTo>
                    <a:lnTo>
                      <a:pt x="79" y="81"/>
                    </a:lnTo>
                    <a:lnTo>
                      <a:pt x="79" y="91"/>
                    </a:lnTo>
                    <a:lnTo>
                      <a:pt x="80" y="96"/>
                    </a:lnTo>
                    <a:lnTo>
                      <a:pt x="82" y="99"/>
                    </a:lnTo>
                    <a:lnTo>
                      <a:pt x="87" y="102"/>
                    </a:lnTo>
                    <a:lnTo>
                      <a:pt x="91" y="99"/>
                    </a:lnTo>
                    <a:lnTo>
                      <a:pt x="91" y="99"/>
                    </a:lnTo>
                    <a:lnTo>
                      <a:pt x="94" y="102"/>
                    </a:lnTo>
                    <a:lnTo>
                      <a:pt x="97" y="104"/>
                    </a:lnTo>
                    <a:lnTo>
                      <a:pt x="97" y="104"/>
                    </a:lnTo>
                    <a:lnTo>
                      <a:pt x="101" y="106"/>
                    </a:lnTo>
                    <a:lnTo>
                      <a:pt x="106" y="110"/>
                    </a:lnTo>
                    <a:lnTo>
                      <a:pt x="106" y="112"/>
                    </a:lnTo>
                    <a:lnTo>
                      <a:pt x="106" y="112"/>
                    </a:lnTo>
                    <a:lnTo>
                      <a:pt x="110" y="114"/>
                    </a:lnTo>
                    <a:lnTo>
                      <a:pt x="114" y="118"/>
                    </a:lnTo>
                    <a:lnTo>
                      <a:pt x="120" y="126"/>
                    </a:lnTo>
                    <a:lnTo>
                      <a:pt x="123" y="127"/>
                    </a:lnTo>
                    <a:lnTo>
                      <a:pt x="123" y="127"/>
                    </a:lnTo>
                    <a:lnTo>
                      <a:pt x="127" y="121"/>
                    </a:lnTo>
                    <a:lnTo>
                      <a:pt x="132" y="115"/>
                    </a:lnTo>
                    <a:lnTo>
                      <a:pt x="132" y="118"/>
                    </a:lnTo>
                    <a:lnTo>
                      <a:pt x="132" y="118"/>
                    </a:lnTo>
                    <a:lnTo>
                      <a:pt x="131" y="123"/>
                    </a:lnTo>
                    <a:lnTo>
                      <a:pt x="128" y="130"/>
                    </a:lnTo>
                    <a:lnTo>
                      <a:pt x="124" y="136"/>
                    </a:lnTo>
                    <a:lnTo>
                      <a:pt x="124" y="140"/>
                    </a:lnTo>
                    <a:lnTo>
                      <a:pt x="127" y="140"/>
                    </a:lnTo>
                    <a:lnTo>
                      <a:pt x="128" y="141"/>
                    </a:lnTo>
                    <a:lnTo>
                      <a:pt x="129" y="146"/>
                    </a:lnTo>
                    <a:lnTo>
                      <a:pt x="131" y="146"/>
                    </a:lnTo>
                    <a:lnTo>
                      <a:pt x="129" y="133"/>
                    </a:lnTo>
                    <a:lnTo>
                      <a:pt x="132" y="130"/>
                    </a:lnTo>
                    <a:lnTo>
                      <a:pt x="135" y="126"/>
                    </a:lnTo>
                    <a:lnTo>
                      <a:pt x="135" y="126"/>
                    </a:lnTo>
                    <a:lnTo>
                      <a:pt x="137" y="123"/>
                    </a:lnTo>
                    <a:lnTo>
                      <a:pt x="140" y="123"/>
                    </a:lnTo>
                    <a:lnTo>
                      <a:pt x="143" y="122"/>
                    </a:lnTo>
                    <a:lnTo>
                      <a:pt x="143" y="122"/>
                    </a:lnTo>
                    <a:lnTo>
                      <a:pt x="142" y="118"/>
                    </a:lnTo>
                    <a:lnTo>
                      <a:pt x="140" y="115"/>
                    </a:lnTo>
                    <a:lnTo>
                      <a:pt x="140" y="112"/>
                    </a:lnTo>
                    <a:lnTo>
                      <a:pt x="142" y="111"/>
                    </a:lnTo>
                    <a:lnTo>
                      <a:pt x="148" y="115"/>
                    </a:lnTo>
                    <a:lnTo>
                      <a:pt x="148" y="115"/>
                    </a:lnTo>
                    <a:lnTo>
                      <a:pt x="148" y="121"/>
                    </a:lnTo>
                    <a:lnTo>
                      <a:pt x="150" y="125"/>
                    </a:lnTo>
                    <a:lnTo>
                      <a:pt x="151" y="126"/>
                    </a:lnTo>
                    <a:lnTo>
                      <a:pt x="152" y="125"/>
                    </a:lnTo>
                    <a:lnTo>
                      <a:pt x="159" y="130"/>
                    </a:lnTo>
                    <a:lnTo>
                      <a:pt x="161" y="138"/>
                    </a:lnTo>
                    <a:lnTo>
                      <a:pt x="162" y="138"/>
                    </a:lnTo>
                    <a:lnTo>
                      <a:pt x="163" y="134"/>
                    </a:lnTo>
                    <a:lnTo>
                      <a:pt x="165" y="133"/>
                    </a:lnTo>
                    <a:lnTo>
                      <a:pt x="166" y="141"/>
                    </a:lnTo>
                    <a:lnTo>
                      <a:pt x="167" y="142"/>
                    </a:lnTo>
                    <a:lnTo>
                      <a:pt x="167" y="153"/>
                    </a:lnTo>
                    <a:lnTo>
                      <a:pt x="171" y="156"/>
                    </a:lnTo>
                    <a:lnTo>
                      <a:pt x="173" y="155"/>
                    </a:lnTo>
                    <a:lnTo>
                      <a:pt x="173" y="153"/>
                    </a:lnTo>
                    <a:lnTo>
                      <a:pt x="170" y="152"/>
                    </a:lnTo>
                    <a:lnTo>
                      <a:pt x="170" y="149"/>
                    </a:lnTo>
                    <a:lnTo>
                      <a:pt x="171" y="146"/>
                    </a:lnTo>
                    <a:lnTo>
                      <a:pt x="169" y="137"/>
                    </a:lnTo>
                    <a:lnTo>
                      <a:pt x="170" y="136"/>
                    </a:lnTo>
                    <a:lnTo>
                      <a:pt x="173" y="138"/>
                    </a:lnTo>
                    <a:lnTo>
                      <a:pt x="174" y="138"/>
                    </a:lnTo>
                    <a:lnTo>
                      <a:pt x="174" y="137"/>
                    </a:lnTo>
                    <a:lnTo>
                      <a:pt x="174" y="137"/>
                    </a:lnTo>
                    <a:lnTo>
                      <a:pt x="171" y="134"/>
                    </a:lnTo>
                    <a:lnTo>
                      <a:pt x="169" y="133"/>
                    </a:lnTo>
                    <a:lnTo>
                      <a:pt x="167" y="130"/>
                    </a:lnTo>
                    <a:lnTo>
                      <a:pt x="167" y="130"/>
                    </a:lnTo>
                    <a:lnTo>
                      <a:pt x="162" y="126"/>
                    </a:lnTo>
                    <a:lnTo>
                      <a:pt x="158" y="122"/>
                    </a:lnTo>
                    <a:lnTo>
                      <a:pt x="154" y="117"/>
                    </a:lnTo>
                    <a:lnTo>
                      <a:pt x="151" y="111"/>
                    </a:lnTo>
                    <a:lnTo>
                      <a:pt x="151" y="111"/>
                    </a:lnTo>
                    <a:lnTo>
                      <a:pt x="151" y="107"/>
                    </a:lnTo>
                    <a:lnTo>
                      <a:pt x="146" y="100"/>
                    </a:lnTo>
                    <a:lnTo>
                      <a:pt x="147" y="100"/>
                    </a:lnTo>
                    <a:lnTo>
                      <a:pt x="147" y="99"/>
                    </a:lnTo>
                    <a:lnTo>
                      <a:pt x="144" y="96"/>
                    </a:lnTo>
                    <a:lnTo>
                      <a:pt x="144" y="96"/>
                    </a:lnTo>
                    <a:lnTo>
                      <a:pt x="143" y="91"/>
                    </a:lnTo>
                    <a:lnTo>
                      <a:pt x="143" y="88"/>
                    </a:lnTo>
                    <a:lnTo>
                      <a:pt x="144" y="85"/>
                    </a:lnTo>
                    <a:lnTo>
                      <a:pt x="146" y="85"/>
                    </a:lnTo>
                    <a:lnTo>
                      <a:pt x="147" y="88"/>
                    </a:lnTo>
                    <a:lnTo>
                      <a:pt x="148" y="89"/>
                    </a:lnTo>
                    <a:lnTo>
                      <a:pt x="148" y="85"/>
                    </a:lnTo>
                    <a:lnTo>
                      <a:pt x="148" y="85"/>
                    </a:lnTo>
                    <a:lnTo>
                      <a:pt x="151" y="84"/>
                    </a:lnTo>
                    <a:lnTo>
                      <a:pt x="154" y="80"/>
                    </a:lnTo>
                    <a:lnTo>
                      <a:pt x="156" y="73"/>
                    </a:lnTo>
                    <a:lnTo>
                      <a:pt x="154" y="72"/>
                    </a:lnTo>
                    <a:lnTo>
                      <a:pt x="150" y="74"/>
                    </a:lnTo>
                    <a:lnTo>
                      <a:pt x="143" y="76"/>
                    </a:lnTo>
                    <a:lnTo>
                      <a:pt x="143" y="74"/>
                    </a:lnTo>
                    <a:lnTo>
                      <a:pt x="146" y="72"/>
                    </a:lnTo>
                    <a:lnTo>
                      <a:pt x="143" y="69"/>
                    </a:lnTo>
                    <a:lnTo>
                      <a:pt x="143" y="65"/>
                    </a:lnTo>
                    <a:lnTo>
                      <a:pt x="143" y="62"/>
                    </a:lnTo>
                    <a:lnTo>
                      <a:pt x="144" y="61"/>
                    </a:lnTo>
                    <a:lnTo>
                      <a:pt x="144" y="61"/>
                    </a:lnTo>
                    <a:lnTo>
                      <a:pt x="143" y="57"/>
                    </a:lnTo>
                    <a:lnTo>
                      <a:pt x="139" y="51"/>
                    </a:lnTo>
                    <a:lnTo>
                      <a:pt x="132" y="42"/>
                    </a:lnTo>
                    <a:lnTo>
                      <a:pt x="132" y="38"/>
                    </a:lnTo>
                    <a:lnTo>
                      <a:pt x="135" y="37"/>
                    </a:lnTo>
                    <a:lnTo>
                      <a:pt x="139" y="35"/>
                    </a:lnTo>
                    <a:lnTo>
                      <a:pt x="139" y="30"/>
                    </a:lnTo>
                    <a:lnTo>
                      <a:pt x="140" y="28"/>
                    </a:lnTo>
                    <a:lnTo>
                      <a:pt x="140" y="28"/>
                    </a:lnTo>
                    <a:lnTo>
                      <a:pt x="143" y="30"/>
                    </a:lnTo>
                    <a:lnTo>
                      <a:pt x="146" y="30"/>
                    </a:lnTo>
                    <a:lnTo>
                      <a:pt x="151" y="27"/>
                    </a:lnTo>
                    <a:lnTo>
                      <a:pt x="158" y="22"/>
                    </a:lnTo>
                    <a:lnTo>
                      <a:pt x="161" y="18"/>
                    </a:lnTo>
                    <a:lnTo>
                      <a:pt x="162" y="15"/>
                    </a:lnTo>
                    <a:lnTo>
                      <a:pt x="159" y="13"/>
                    </a:lnTo>
                    <a:lnTo>
                      <a:pt x="163" y="13"/>
                    </a:lnTo>
                    <a:lnTo>
                      <a:pt x="163" y="13"/>
                    </a:lnTo>
                    <a:lnTo>
                      <a:pt x="161" y="9"/>
                    </a:lnTo>
                    <a:lnTo>
                      <a:pt x="156" y="5"/>
                    </a:lnTo>
                    <a:lnTo>
                      <a:pt x="159" y="4"/>
                    </a:lnTo>
                    <a:lnTo>
                      <a:pt x="159" y="3"/>
                    </a:lnTo>
                    <a:lnTo>
                      <a:pt x="156" y="0"/>
                    </a:lnTo>
                    <a:lnTo>
                      <a:pt x="159" y="0"/>
                    </a:lnTo>
                    <a:lnTo>
                      <a:pt x="165" y="4"/>
                    </a:lnTo>
                    <a:lnTo>
                      <a:pt x="167" y="4"/>
                    </a:lnTo>
                    <a:lnTo>
                      <a:pt x="174" y="0"/>
                    </a:lnTo>
                    <a:lnTo>
                      <a:pt x="177" y="0"/>
                    </a:lnTo>
                    <a:lnTo>
                      <a:pt x="179" y="4"/>
                    </a:lnTo>
                    <a:lnTo>
                      <a:pt x="177" y="8"/>
                    </a:lnTo>
                    <a:lnTo>
                      <a:pt x="177" y="8"/>
                    </a:lnTo>
                    <a:lnTo>
                      <a:pt x="179" y="9"/>
                    </a:lnTo>
                    <a:lnTo>
                      <a:pt x="184" y="9"/>
                    </a:lnTo>
                    <a:lnTo>
                      <a:pt x="184" y="9"/>
                    </a:lnTo>
                    <a:lnTo>
                      <a:pt x="185" y="13"/>
                    </a:lnTo>
                    <a:lnTo>
                      <a:pt x="189" y="15"/>
                    </a:lnTo>
                    <a:lnTo>
                      <a:pt x="192" y="16"/>
                    </a:lnTo>
                    <a:lnTo>
                      <a:pt x="194" y="20"/>
                    </a:lnTo>
                    <a:lnTo>
                      <a:pt x="194" y="20"/>
                    </a:lnTo>
                    <a:lnTo>
                      <a:pt x="200" y="31"/>
                    </a:lnTo>
                    <a:lnTo>
                      <a:pt x="201" y="37"/>
                    </a:lnTo>
                    <a:lnTo>
                      <a:pt x="201" y="42"/>
                    </a:lnTo>
                    <a:lnTo>
                      <a:pt x="203" y="45"/>
                    </a:lnTo>
                    <a:lnTo>
                      <a:pt x="203" y="45"/>
                    </a:lnTo>
                    <a:lnTo>
                      <a:pt x="205" y="45"/>
                    </a:lnTo>
                    <a:lnTo>
                      <a:pt x="208" y="45"/>
                    </a:lnTo>
                    <a:lnTo>
                      <a:pt x="212" y="43"/>
                    </a:lnTo>
                    <a:lnTo>
                      <a:pt x="216" y="46"/>
                    </a:lnTo>
                    <a:lnTo>
                      <a:pt x="217" y="46"/>
                    </a:lnTo>
                    <a:lnTo>
                      <a:pt x="224" y="55"/>
                    </a:lnTo>
                    <a:lnTo>
                      <a:pt x="224" y="62"/>
                    </a:lnTo>
                    <a:lnTo>
                      <a:pt x="224" y="62"/>
                    </a:lnTo>
                    <a:lnTo>
                      <a:pt x="227" y="64"/>
                    </a:lnTo>
                    <a:lnTo>
                      <a:pt x="230" y="66"/>
                    </a:lnTo>
                    <a:lnTo>
                      <a:pt x="232" y="73"/>
                    </a:lnTo>
                    <a:lnTo>
                      <a:pt x="234" y="74"/>
                    </a:lnTo>
                    <a:lnTo>
                      <a:pt x="238" y="73"/>
                    </a:lnTo>
                    <a:lnTo>
                      <a:pt x="238" y="73"/>
                    </a:lnTo>
                    <a:lnTo>
                      <a:pt x="235" y="81"/>
                    </a:lnTo>
                    <a:lnTo>
                      <a:pt x="234" y="87"/>
                    </a:lnTo>
                    <a:lnTo>
                      <a:pt x="235" y="89"/>
                    </a:lnTo>
                    <a:lnTo>
                      <a:pt x="235" y="95"/>
                    </a:lnTo>
                    <a:lnTo>
                      <a:pt x="236" y="98"/>
                    </a:lnTo>
                    <a:lnTo>
                      <a:pt x="236" y="98"/>
                    </a:lnTo>
                    <a:lnTo>
                      <a:pt x="236" y="104"/>
                    </a:lnTo>
                    <a:lnTo>
                      <a:pt x="235" y="114"/>
                    </a:lnTo>
                    <a:lnTo>
                      <a:pt x="235" y="122"/>
                    </a:lnTo>
                    <a:lnTo>
                      <a:pt x="234" y="125"/>
                    </a:lnTo>
                    <a:lnTo>
                      <a:pt x="234" y="126"/>
                    </a:lnTo>
                    <a:lnTo>
                      <a:pt x="234" y="126"/>
                    </a:lnTo>
                    <a:lnTo>
                      <a:pt x="235" y="131"/>
                    </a:lnTo>
                    <a:lnTo>
                      <a:pt x="236" y="137"/>
                    </a:lnTo>
                    <a:lnTo>
                      <a:pt x="234" y="138"/>
                    </a:lnTo>
                    <a:lnTo>
                      <a:pt x="234" y="140"/>
                    </a:lnTo>
                    <a:lnTo>
                      <a:pt x="235" y="141"/>
                    </a:lnTo>
                    <a:lnTo>
                      <a:pt x="238" y="141"/>
                    </a:lnTo>
                    <a:lnTo>
                      <a:pt x="238" y="141"/>
                    </a:lnTo>
                    <a:lnTo>
                      <a:pt x="238" y="149"/>
                    </a:lnTo>
                    <a:lnTo>
                      <a:pt x="236" y="159"/>
                    </a:lnTo>
                    <a:lnTo>
                      <a:pt x="234" y="174"/>
                    </a:lnTo>
                    <a:lnTo>
                      <a:pt x="227" y="178"/>
                    </a:lnTo>
                    <a:lnTo>
                      <a:pt x="224" y="182"/>
                    </a:lnTo>
                    <a:lnTo>
                      <a:pt x="222" y="180"/>
                    </a:lnTo>
                    <a:lnTo>
                      <a:pt x="219" y="180"/>
                    </a:lnTo>
                    <a:lnTo>
                      <a:pt x="217" y="183"/>
                    </a:lnTo>
                    <a:lnTo>
                      <a:pt x="216" y="183"/>
                    </a:lnTo>
                    <a:lnTo>
                      <a:pt x="213" y="194"/>
                    </a:lnTo>
                    <a:lnTo>
                      <a:pt x="215" y="195"/>
                    </a:lnTo>
                    <a:lnTo>
                      <a:pt x="215" y="195"/>
                    </a:lnTo>
                    <a:lnTo>
                      <a:pt x="219" y="191"/>
                    </a:lnTo>
                    <a:lnTo>
                      <a:pt x="220" y="188"/>
                    </a:lnTo>
                    <a:lnTo>
                      <a:pt x="220" y="187"/>
                    </a:lnTo>
                    <a:lnTo>
                      <a:pt x="226" y="187"/>
                    </a:lnTo>
                    <a:lnTo>
                      <a:pt x="228" y="184"/>
                    </a:lnTo>
                    <a:lnTo>
                      <a:pt x="236" y="186"/>
                    </a:lnTo>
                    <a:lnTo>
                      <a:pt x="236" y="186"/>
                    </a:lnTo>
                    <a:lnTo>
                      <a:pt x="241" y="190"/>
                    </a:lnTo>
                    <a:lnTo>
                      <a:pt x="243" y="194"/>
                    </a:lnTo>
                    <a:lnTo>
                      <a:pt x="243" y="194"/>
                    </a:lnTo>
                    <a:lnTo>
                      <a:pt x="242" y="199"/>
                    </a:lnTo>
                    <a:lnTo>
                      <a:pt x="241" y="205"/>
                    </a:lnTo>
                    <a:lnTo>
                      <a:pt x="238" y="206"/>
                    </a:lnTo>
                    <a:lnTo>
                      <a:pt x="235" y="206"/>
                    </a:lnTo>
                    <a:lnTo>
                      <a:pt x="235" y="206"/>
                    </a:lnTo>
                    <a:lnTo>
                      <a:pt x="238" y="213"/>
                    </a:lnTo>
                    <a:lnTo>
                      <a:pt x="241" y="217"/>
                    </a:lnTo>
                    <a:lnTo>
                      <a:pt x="241" y="217"/>
                    </a:lnTo>
                    <a:lnTo>
                      <a:pt x="243" y="224"/>
                    </a:lnTo>
                    <a:lnTo>
                      <a:pt x="246" y="226"/>
                    </a:lnTo>
                    <a:lnTo>
                      <a:pt x="249" y="228"/>
                    </a:lnTo>
                    <a:lnTo>
                      <a:pt x="250" y="226"/>
                    </a:lnTo>
                    <a:lnTo>
                      <a:pt x="250" y="224"/>
                    </a:lnTo>
                    <a:lnTo>
                      <a:pt x="253" y="226"/>
                    </a:lnTo>
                    <a:lnTo>
                      <a:pt x="253" y="226"/>
                    </a:lnTo>
                    <a:lnTo>
                      <a:pt x="251" y="228"/>
                    </a:lnTo>
                    <a:lnTo>
                      <a:pt x="250" y="230"/>
                    </a:lnTo>
                    <a:lnTo>
                      <a:pt x="249" y="235"/>
                    </a:lnTo>
                    <a:lnTo>
                      <a:pt x="251" y="239"/>
                    </a:lnTo>
                    <a:lnTo>
                      <a:pt x="251" y="239"/>
                    </a:lnTo>
                    <a:lnTo>
                      <a:pt x="246" y="239"/>
                    </a:lnTo>
                    <a:lnTo>
                      <a:pt x="243" y="240"/>
                    </a:lnTo>
                    <a:lnTo>
                      <a:pt x="238" y="244"/>
                    </a:lnTo>
                    <a:lnTo>
                      <a:pt x="232" y="248"/>
                    </a:lnTo>
                    <a:lnTo>
                      <a:pt x="227" y="252"/>
                    </a:lnTo>
                    <a:lnTo>
                      <a:pt x="226" y="254"/>
                    </a:lnTo>
                    <a:lnTo>
                      <a:pt x="230" y="254"/>
                    </a:lnTo>
                    <a:lnTo>
                      <a:pt x="230" y="254"/>
                    </a:lnTo>
                    <a:lnTo>
                      <a:pt x="232" y="254"/>
                    </a:lnTo>
                    <a:lnTo>
                      <a:pt x="234" y="251"/>
                    </a:lnTo>
                    <a:lnTo>
                      <a:pt x="236" y="248"/>
                    </a:lnTo>
                    <a:lnTo>
                      <a:pt x="236" y="248"/>
                    </a:lnTo>
                    <a:lnTo>
                      <a:pt x="243" y="244"/>
                    </a:lnTo>
                    <a:lnTo>
                      <a:pt x="250" y="243"/>
                    </a:lnTo>
                    <a:lnTo>
                      <a:pt x="250" y="243"/>
                    </a:lnTo>
                    <a:lnTo>
                      <a:pt x="253" y="244"/>
                    </a:lnTo>
                    <a:lnTo>
                      <a:pt x="255" y="244"/>
                    </a:lnTo>
                    <a:lnTo>
                      <a:pt x="260" y="244"/>
                    </a:lnTo>
                    <a:lnTo>
                      <a:pt x="262" y="243"/>
                    </a:lnTo>
                    <a:lnTo>
                      <a:pt x="269" y="244"/>
                    </a:lnTo>
                    <a:lnTo>
                      <a:pt x="270" y="245"/>
                    </a:lnTo>
                    <a:lnTo>
                      <a:pt x="270" y="254"/>
                    </a:lnTo>
                    <a:lnTo>
                      <a:pt x="273" y="255"/>
                    </a:lnTo>
                    <a:lnTo>
                      <a:pt x="273" y="255"/>
                    </a:lnTo>
                    <a:lnTo>
                      <a:pt x="257" y="270"/>
                    </a:lnTo>
                    <a:lnTo>
                      <a:pt x="258" y="271"/>
                    </a:lnTo>
                    <a:lnTo>
                      <a:pt x="260" y="270"/>
                    </a:lnTo>
                    <a:lnTo>
                      <a:pt x="260" y="270"/>
                    </a:lnTo>
                    <a:lnTo>
                      <a:pt x="260" y="273"/>
                    </a:lnTo>
                    <a:lnTo>
                      <a:pt x="261" y="273"/>
                    </a:lnTo>
                    <a:lnTo>
                      <a:pt x="264" y="271"/>
                    </a:lnTo>
                    <a:lnTo>
                      <a:pt x="266" y="268"/>
                    </a:lnTo>
                    <a:lnTo>
                      <a:pt x="272" y="266"/>
                    </a:lnTo>
                    <a:lnTo>
                      <a:pt x="272" y="266"/>
                    </a:lnTo>
                    <a:lnTo>
                      <a:pt x="274" y="262"/>
                    </a:lnTo>
                    <a:lnTo>
                      <a:pt x="279" y="260"/>
                    </a:lnTo>
                    <a:lnTo>
                      <a:pt x="280" y="260"/>
                    </a:lnTo>
                    <a:lnTo>
                      <a:pt x="280" y="260"/>
                    </a:lnTo>
                    <a:lnTo>
                      <a:pt x="285" y="263"/>
                    </a:lnTo>
                    <a:lnTo>
                      <a:pt x="288" y="268"/>
                    </a:lnTo>
                    <a:lnTo>
                      <a:pt x="291" y="270"/>
                    </a:lnTo>
                    <a:lnTo>
                      <a:pt x="293" y="270"/>
                    </a:lnTo>
                    <a:lnTo>
                      <a:pt x="295" y="271"/>
                    </a:lnTo>
                    <a:lnTo>
                      <a:pt x="298" y="270"/>
                    </a:lnTo>
                    <a:lnTo>
                      <a:pt x="310" y="278"/>
                    </a:lnTo>
                    <a:lnTo>
                      <a:pt x="310" y="275"/>
                    </a:lnTo>
                    <a:lnTo>
                      <a:pt x="312" y="274"/>
                    </a:lnTo>
                    <a:lnTo>
                      <a:pt x="312" y="274"/>
                    </a:lnTo>
                    <a:lnTo>
                      <a:pt x="318" y="277"/>
                    </a:lnTo>
                    <a:lnTo>
                      <a:pt x="322" y="281"/>
                    </a:lnTo>
                    <a:lnTo>
                      <a:pt x="319" y="287"/>
                    </a:lnTo>
                    <a:lnTo>
                      <a:pt x="319" y="287"/>
                    </a:lnTo>
                    <a:lnTo>
                      <a:pt x="323" y="289"/>
                    </a:lnTo>
                    <a:lnTo>
                      <a:pt x="323" y="289"/>
                    </a:lnTo>
                    <a:lnTo>
                      <a:pt x="326" y="290"/>
                    </a:lnTo>
                    <a:lnTo>
                      <a:pt x="331" y="290"/>
                    </a:lnTo>
                    <a:lnTo>
                      <a:pt x="333" y="289"/>
                    </a:lnTo>
                    <a:lnTo>
                      <a:pt x="334" y="285"/>
                    </a:lnTo>
                    <a:lnTo>
                      <a:pt x="334" y="285"/>
                    </a:lnTo>
                    <a:lnTo>
                      <a:pt x="338" y="283"/>
                    </a:lnTo>
                    <a:lnTo>
                      <a:pt x="342" y="281"/>
                    </a:lnTo>
                    <a:lnTo>
                      <a:pt x="344" y="279"/>
                    </a:lnTo>
                    <a:lnTo>
                      <a:pt x="345" y="282"/>
                    </a:lnTo>
                    <a:lnTo>
                      <a:pt x="342" y="282"/>
                    </a:lnTo>
                    <a:lnTo>
                      <a:pt x="342" y="283"/>
                    </a:lnTo>
                    <a:lnTo>
                      <a:pt x="338" y="286"/>
                    </a:lnTo>
                    <a:lnTo>
                      <a:pt x="340" y="287"/>
                    </a:lnTo>
                    <a:lnTo>
                      <a:pt x="340" y="287"/>
                    </a:lnTo>
                    <a:lnTo>
                      <a:pt x="346" y="283"/>
                    </a:lnTo>
                    <a:lnTo>
                      <a:pt x="353" y="281"/>
                    </a:lnTo>
                    <a:lnTo>
                      <a:pt x="353" y="279"/>
                    </a:lnTo>
                    <a:lnTo>
                      <a:pt x="356" y="279"/>
                    </a:lnTo>
                    <a:lnTo>
                      <a:pt x="371" y="270"/>
                    </a:lnTo>
                    <a:lnTo>
                      <a:pt x="375" y="270"/>
                    </a:lnTo>
                    <a:lnTo>
                      <a:pt x="382" y="267"/>
                    </a:lnTo>
                    <a:lnTo>
                      <a:pt x="384" y="268"/>
                    </a:lnTo>
                    <a:lnTo>
                      <a:pt x="388" y="268"/>
                    </a:lnTo>
                    <a:lnTo>
                      <a:pt x="391" y="270"/>
                    </a:lnTo>
                    <a:lnTo>
                      <a:pt x="393" y="270"/>
                    </a:lnTo>
                    <a:lnTo>
                      <a:pt x="394" y="271"/>
                    </a:lnTo>
                    <a:lnTo>
                      <a:pt x="386" y="275"/>
                    </a:lnTo>
                    <a:lnTo>
                      <a:pt x="387" y="277"/>
                    </a:lnTo>
                    <a:lnTo>
                      <a:pt x="387" y="277"/>
                    </a:lnTo>
                    <a:lnTo>
                      <a:pt x="399" y="274"/>
                    </a:lnTo>
                    <a:lnTo>
                      <a:pt x="410" y="274"/>
                    </a:lnTo>
                    <a:lnTo>
                      <a:pt x="410" y="274"/>
                    </a:lnTo>
                    <a:lnTo>
                      <a:pt x="413" y="277"/>
                    </a:lnTo>
                    <a:lnTo>
                      <a:pt x="417" y="278"/>
                    </a:lnTo>
                    <a:lnTo>
                      <a:pt x="417" y="282"/>
                    </a:lnTo>
                    <a:lnTo>
                      <a:pt x="417" y="282"/>
                    </a:lnTo>
                    <a:lnTo>
                      <a:pt x="413" y="287"/>
                    </a:lnTo>
                    <a:lnTo>
                      <a:pt x="412" y="290"/>
                    </a:lnTo>
                    <a:lnTo>
                      <a:pt x="410" y="293"/>
                    </a:lnTo>
                    <a:lnTo>
                      <a:pt x="410" y="293"/>
                    </a:lnTo>
                    <a:lnTo>
                      <a:pt x="410" y="300"/>
                    </a:lnTo>
                    <a:lnTo>
                      <a:pt x="410" y="300"/>
                    </a:lnTo>
                    <a:lnTo>
                      <a:pt x="409" y="304"/>
                    </a:lnTo>
                    <a:lnTo>
                      <a:pt x="409" y="306"/>
                    </a:lnTo>
                    <a:lnTo>
                      <a:pt x="409" y="308"/>
                    </a:lnTo>
                    <a:lnTo>
                      <a:pt x="409" y="308"/>
                    </a:lnTo>
                    <a:lnTo>
                      <a:pt x="406" y="311"/>
                    </a:lnTo>
                    <a:lnTo>
                      <a:pt x="403" y="313"/>
                    </a:lnTo>
                    <a:lnTo>
                      <a:pt x="399" y="316"/>
                    </a:lnTo>
                    <a:lnTo>
                      <a:pt x="399" y="317"/>
                    </a:lnTo>
                    <a:lnTo>
                      <a:pt x="399" y="317"/>
                    </a:lnTo>
                    <a:lnTo>
                      <a:pt x="390" y="324"/>
                    </a:lnTo>
                    <a:lnTo>
                      <a:pt x="384" y="327"/>
                    </a:lnTo>
                    <a:lnTo>
                      <a:pt x="383" y="328"/>
                    </a:lnTo>
                    <a:lnTo>
                      <a:pt x="380" y="327"/>
                    </a:lnTo>
                    <a:lnTo>
                      <a:pt x="380" y="327"/>
                    </a:lnTo>
                    <a:lnTo>
                      <a:pt x="378" y="330"/>
                    </a:lnTo>
                    <a:lnTo>
                      <a:pt x="375" y="332"/>
                    </a:lnTo>
                    <a:lnTo>
                      <a:pt x="368" y="335"/>
                    </a:lnTo>
                    <a:lnTo>
                      <a:pt x="365" y="335"/>
                    </a:lnTo>
                    <a:lnTo>
                      <a:pt x="360" y="328"/>
                    </a:lnTo>
                    <a:lnTo>
                      <a:pt x="359" y="330"/>
                    </a:lnTo>
                    <a:lnTo>
                      <a:pt x="363" y="338"/>
                    </a:lnTo>
                    <a:lnTo>
                      <a:pt x="361" y="339"/>
                    </a:lnTo>
                    <a:lnTo>
                      <a:pt x="361" y="342"/>
                    </a:lnTo>
                    <a:lnTo>
                      <a:pt x="361" y="342"/>
                    </a:lnTo>
                    <a:lnTo>
                      <a:pt x="361" y="344"/>
                    </a:lnTo>
                    <a:lnTo>
                      <a:pt x="359" y="347"/>
                    </a:lnTo>
                    <a:lnTo>
                      <a:pt x="361" y="347"/>
                    </a:lnTo>
                    <a:lnTo>
                      <a:pt x="361" y="349"/>
                    </a:lnTo>
                    <a:lnTo>
                      <a:pt x="364" y="350"/>
                    </a:lnTo>
                    <a:lnTo>
                      <a:pt x="365" y="353"/>
                    </a:lnTo>
                    <a:lnTo>
                      <a:pt x="361" y="354"/>
                    </a:lnTo>
                    <a:lnTo>
                      <a:pt x="360" y="353"/>
                    </a:lnTo>
                    <a:lnTo>
                      <a:pt x="359" y="355"/>
                    </a:lnTo>
                    <a:lnTo>
                      <a:pt x="361" y="355"/>
                    </a:lnTo>
                    <a:lnTo>
                      <a:pt x="361" y="357"/>
                    </a:lnTo>
                    <a:lnTo>
                      <a:pt x="359" y="359"/>
                    </a:lnTo>
                    <a:lnTo>
                      <a:pt x="359" y="363"/>
                    </a:lnTo>
                    <a:lnTo>
                      <a:pt x="356" y="365"/>
                    </a:lnTo>
                    <a:lnTo>
                      <a:pt x="356" y="365"/>
                    </a:lnTo>
                    <a:lnTo>
                      <a:pt x="355" y="367"/>
                    </a:lnTo>
                    <a:lnTo>
                      <a:pt x="352" y="370"/>
                    </a:lnTo>
                    <a:lnTo>
                      <a:pt x="346" y="370"/>
                    </a:lnTo>
                    <a:lnTo>
                      <a:pt x="344" y="369"/>
                    </a:lnTo>
                    <a:lnTo>
                      <a:pt x="341" y="370"/>
                    </a:lnTo>
                    <a:lnTo>
                      <a:pt x="341" y="372"/>
                    </a:lnTo>
                    <a:lnTo>
                      <a:pt x="342" y="373"/>
                    </a:lnTo>
                    <a:lnTo>
                      <a:pt x="338" y="374"/>
                    </a:lnTo>
                    <a:lnTo>
                      <a:pt x="338" y="374"/>
                    </a:lnTo>
                    <a:lnTo>
                      <a:pt x="337" y="380"/>
                    </a:lnTo>
                    <a:lnTo>
                      <a:pt x="334" y="385"/>
                    </a:lnTo>
                    <a:lnTo>
                      <a:pt x="334" y="385"/>
                    </a:lnTo>
                    <a:lnTo>
                      <a:pt x="331" y="386"/>
                    </a:lnTo>
                    <a:lnTo>
                      <a:pt x="330" y="386"/>
                    </a:lnTo>
                    <a:lnTo>
                      <a:pt x="330" y="392"/>
                    </a:lnTo>
                    <a:lnTo>
                      <a:pt x="330" y="392"/>
                    </a:lnTo>
                    <a:lnTo>
                      <a:pt x="327" y="395"/>
                    </a:lnTo>
                    <a:lnTo>
                      <a:pt x="326" y="397"/>
                    </a:lnTo>
                    <a:lnTo>
                      <a:pt x="327" y="400"/>
                    </a:lnTo>
                    <a:lnTo>
                      <a:pt x="323" y="399"/>
                    </a:lnTo>
                    <a:lnTo>
                      <a:pt x="322" y="400"/>
                    </a:lnTo>
                    <a:lnTo>
                      <a:pt x="325" y="401"/>
                    </a:lnTo>
                    <a:lnTo>
                      <a:pt x="325" y="403"/>
                    </a:lnTo>
                    <a:lnTo>
                      <a:pt x="322" y="403"/>
                    </a:lnTo>
                    <a:lnTo>
                      <a:pt x="322" y="403"/>
                    </a:lnTo>
                    <a:lnTo>
                      <a:pt x="318" y="405"/>
                    </a:lnTo>
                    <a:lnTo>
                      <a:pt x="317" y="410"/>
                    </a:lnTo>
                    <a:lnTo>
                      <a:pt x="317" y="410"/>
                    </a:lnTo>
                    <a:lnTo>
                      <a:pt x="308" y="414"/>
                    </a:lnTo>
                    <a:lnTo>
                      <a:pt x="304" y="418"/>
                    </a:lnTo>
                    <a:lnTo>
                      <a:pt x="302" y="420"/>
                    </a:lnTo>
                    <a:lnTo>
                      <a:pt x="300" y="419"/>
                    </a:lnTo>
                    <a:lnTo>
                      <a:pt x="298" y="418"/>
                    </a:lnTo>
                    <a:lnTo>
                      <a:pt x="298" y="418"/>
                    </a:lnTo>
                    <a:lnTo>
                      <a:pt x="293" y="422"/>
                    </a:lnTo>
                    <a:lnTo>
                      <a:pt x="289" y="423"/>
                    </a:lnTo>
                    <a:lnTo>
                      <a:pt x="288" y="426"/>
                    </a:lnTo>
                    <a:lnTo>
                      <a:pt x="284" y="422"/>
                    </a:lnTo>
                    <a:lnTo>
                      <a:pt x="283" y="426"/>
                    </a:lnTo>
                    <a:lnTo>
                      <a:pt x="281" y="426"/>
                    </a:lnTo>
                    <a:lnTo>
                      <a:pt x="280" y="423"/>
                    </a:lnTo>
                    <a:lnTo>
                      <a:pt x="281" y="419"/>
                    </a:lnTo>
                    <a:lnTo>
                      <a:pt x="279" y="415"/>
                    </a:lnTo>
                    <a:lnTo>
                      <a:pt x="277" y="415"/>
                    </a:lnTo>
                    <a:lnTo>
                      <a:pt x="277" y="415"/>
                    </a:lnTo>
                    <a:lnTo>
                      <a:pt x="276" y="411"/>
                    </a:lnTo>
                    <a:lnTo>
                      <a:pt x="274" y="408"/>
                    </a:lnTo>
                    <a:lnTo>
                      <a:pt x="274" y="403"/>
                    </a:lnTo>
                    <a:lnTo>
                      <a:pt x="276" y="401"/>
                    </a:lnTo>
                    <a:lnTo>
                      <a:pt x="276" y="399"/>
                    </a:lnTo>
                    <a:lnTo>
                      <a:pt x="280" y="395"/>
                    </a:lnTo>
                    <a:lnTo>
                      <a:pt x="280" y="395"/>
                    </a:lnTo>
                    <a:lnTo>
                      <a:pt x="283" y="393"/>
                    </a:lnTo>
                    <a:lnTo>
                      <a:pt x="287" y="392"/>
                    </a:lnTo>
                    <a:lnTo>
                      <a:pt x="285" y="391"/>
                    </a:lnTo>
                    <a:lnTo>
                      <a:pt x="285" y="391"/>
                    </a:lnTo>
                    <a:lnTo>
                      <a:pt x="285" y="388"/>
                    </a:lnTo>
                    <a:lnTo>
                      <a:pt x="284" y="384"/>
                    </a:lnTo>
                    <a:lnTo>
                      <a:pt x="287" y="378"/>
                    </a:lnTo>
                    <a:lnTo>
                      <a:pt x="287" y="376"/>
                    </a:lnTo>
                    <a:lnTo>
                      <a:pt x="288" y="376"/>
                    </a:lnTo>
                    <a:lnTo>
                      <a:pt x="288" y="373"/>
                    </a:lnTo>
                    <a:lnTo>
                      <a:pt x="293" y="372"/>
                    </a:lnTo>
                    <a:lnTo>
                      <a:pt x="291" y="369"/>
                    </a:lnTo>
                    <a:lnTo>
                      <a:pt x="291" y="366"/>
                    </a:lnTo>
                    <a:lnTo>
                      <a:pt x="287" y="367"/>
                    </a:lnTo>
                    <a:lnTo>
                      <a:pt x="285" y="366"/>
                    </a:lnTo>
                    <a:lnTo>
                      <a:pt x="288" y="358"/>
                    </a:lnTo>
                    <a:lnTo>
                      <a:pt x="288" y="358"/>
                    </a:lnTo>
                    <a:lnTo>
                      <a:pt x="299" y="355"/>
                    </a:lnTo>
                    <a:lnTo>
                      <a:pt x="299" y="354"/>
                    </a:lnTo>
                    <a:lnTo>
                      <a:pt x="295" y="351"/>
                    </a:lnTo>
                    <a:lnTo>
                      <a:pt x="295" y="351"/>
                    </a:lnTo>
                    <a:lnTo>
                      <a:pt x="298" y="350"/>
                    </a:lnTo>
                    <a:lnTo>
                      <a:pt x="298" y="351"/>
                    </a:lnTo>
                    <a:lnTo>
                      <a:pt x="298" y="351"/>
                    </a:lnTo>
                    <a:lnTo>
                      <a:pt x="300" y="350"/>
                    </a:lnTo>
                    <a:lnTo>
                      <a:pt x="303" y="347"/>
                    </a:lnTo>
                    <a:lnTo>
                      <a:pt x="307" y="347"/>
                    </a:lnTo>
                    <a:lnTo>
                      <a:pt x="307" y="347"/>
                    </a:lnTo>
                    <a:lnTo>
                      <a:pt x="310" y="343"/>
                    </a:lnTo>
                    <a:lnTo>
                      <a:pt x="312" y="340"/>
                    </a:lnTo>
                    <a:lnTo>
                      <a:pt x="314" y="340"/>
                    </a:lnTo>
                    <a:lnTo>
                      <a:pt x="318" y="335"/>
                    </a:lnTo>
                    <a:lnTo>
                      <a:pt x="321" y="335"/>
                    </a:lnTo>
                    <a:lnTo>
                      <a:pt x="323" y="335"/>
                    </a:lnTo>
                    <a:lnTo>
                      <a:pt x="323" y="335"/>
                    </a:lnTo>
                    <a:lnTo>
                      <a:pt x="330" y="334"/>
                    </a:lnTo>
                    <a:lnTo>
                      <a:pt x="337" y="331"/>
                    </a:lnTo>
                    <a:lnTo>
                      <a:pt x="337" y="331"/>
                    </a:lnTo>
                    <a:lnTo>
                      <a:pt x="340" y="328"/>
                    </a:lnTo>
                    <a:lnTo>
                      <a:pt x="341" y="327"/>
                    </a:lnTo>
                    <a:lnTo>
                      <a:pt x="344" y="325"/>
                    </a:lnTo>
                    <a:lnTo>
                      <a:pt x="346" y="321"/>
                    </a:lnTo>
                    <a:lnTo>
                      <a:pt x="346" y="321"/>
                    </a:lnTo>
                    <a:lnTo>
                      <a:pt x="344" y="323"/>
                    </a:lnTo>
                    <a:lnTo>
                      <a:pt x="341" y="325"/>
                    </a:lnTo>
                    <a:lnTo>
                      <a:pt x="341" y="325"/>
                    </a:lnTo>
                    <a:lnTo>
                      <a:pt x="337" y="325"/>
                    </a:lnTo>
                    <a:lnTo>
                      <a:pt x="334" y="328"/>
                    </a:lnTo>
                    <a:lnTo>
                      <a:pt x="334" y="328"/>
                    </a:lnTo>
                    <a:lnTo>
                      <a:pt x="330" y="328"/>
                    </a:lnTo>
                    <a:lnTo>
                      <a:pt x="327" y="327"/>
                    </a:lnTo>
                    <a:lnTo>
                      <a:pt x="325" y="328"/>
                    </a:lnTo>
                    <a:lnTo>
                      <a:pt x="323" y="331"/>
                    </a:lnTo>
                    <a:lnTo>
                      <a:pt x="318" y="332"/>
                    </a:lnTo>
                    <a:lnTo>
                      <a:pt x="318" y="332"/>
                    </a:lnTo>
                    <a:lnTo>
                      <a:pt x="315" y="330"/>
                    </a:lnTo>
                    <a:lnTo>
                      <a:pt x="311" y="328"/>
                    </a:lnTo>
                    <a:lnTo>
                      <a:pt x="296" y="334"/>
                    </a:lnTo>
                    <a:lnTo>
                      <a:pt x="291" y="332"/>
                    </a:lnTo>
                    <a:lnTo>
                      <a:pt x="289" y="331"/>
                    </a:lnTo>
                    <a:lnTo>
                      <a:pt x="289" y="321"/>
                    </a:lnTo>
                    <a:lnTo>
                      <a:pt x="289" y="321"/>
                    </a:lnTo>
                    <a:lnTo>
                      <a:pt x="288" y="319"/>
                    </a:lnTo>
                    <a:lnTo>
                      <a:pt x="287" y="316"/>
                    </a:lnTo>
                    <a:lnTo>
                      <a:pt x="285" y="312"/>
                    </a:lnTo>
                    <a:lnTo>
                      <a:pt x="281" y="309"/>
                    </a:lnTo>
                    <a:lnTo>
                      <a:pt x="281" y="309"/>
                    </a:lnTo>
                    <a:lnTo>
                      <a:pt x="279" y="304"/>
                    </a:lnTo>
                    <a:lnTo>
                      <a:pt x="274" y="297"/>
                    </a:lnTo>
                    <a:lnTo>
                      <a:pt x="273" y="298"/>
                    </a:lnTo>
                    <a:lnTo>
                      <a:pt x="273" y="298"/>
                    </a:lnTo>
                    <a:lnTo>
                      <a:pt x="274" y="305"/>
                    </a:lnTo>
                    <a:lnTo>
                      <a:pt x="276" y="308"/>
                    </a:lnTo>
                    <a:lnTo>
                      <a:pt x="279" y="311"/>
                    </a:lnTo>
                    <a:lnTo>
                      <a:pt x="279" y="311"/>
                    </a:lnTo>
                    <a:lnTo>
                      <a:pt x="279" y="317"/>
                    </a:lnTo>
                    <a:lnTo>
                      <a:pt x="277" y="324"/>
                    </a:lnTo>
                    <a:lnTo>
                      <a:pt x="273" y="327"/>
                    </a:lnTo>
                    <a:lnTo>
                      <a:pt x="272" y="327"/>
                    </a:lnTo>
                    <a:lnTo>
                      <a:pt x="269" y="327"/>
                    </a:lnTo>
                    <a:lnTo>
                      <a:pt x="270" y="331"/>
                    </a:lnTo>
                    <a:lnTo>
                      <a:pt x="270" y="331"/>
                    </a:lnTo>
                    <a:lnTo>
                      <a:pt x="268" y="335"/>
                    </a:lnTo>
                    <a:lnTo>
                      <a:pt x="268" y="340"/>
                    </a:lnTo>
                    <a:lnTo>
                      <a:pt x="264" y="344"/>
                    </a:lnTo>
                    <a:lnTo>
                      <a:pt x="264" y="350"/>
                    </a:lnTo>
                    <a:lnTo>
                      <a:pt x="260" y="354"/>
                    </a:lnTo>
                    <a:lnTo>
                      <a:pt x="260" y="355"/>
                    </a:lnTo>
                    <a:lnTo>
                      <a:pt x="258" y="357"/>
                    </a:lnTo>
                    <a:lnTo>
                      <a:pt x="258" y="359"/>
                    </a:lnTo>
                    <a:lnTo>
                      <a:pt x="253" y="354"/>
                    </a:lnTo>
                    <a:lnTo>
                      <a:pt x="247" y="354"/>
                    </a:lnTo>
                    <a:lnTo>
                      <a:pt x="247" y="354"/>
                    </a:lnTo>
                    <a:lnTo>
                      <a:pt x="249" y="350"/>
                    </a:lnTo>
                    <a:lnTo>
                      <a:pt x="249" y="347"/>
                    </a:lnTo>
                    <a:lnTo>
                      <a:pt x="249" y="340"/>
                    </a:lnTo>
                    <a:lnTo>
                      <a:pt x="249" y="340"/>
                    </a:lnTo>
                    <a:lnTo>
                      <a:pt x="250" y="335"/>
                    </a:lnTo>
                    <a:lnTo>
                      <a:pt x="250" y="334"/>
                    </a:lnTo>
                    <a:lnTo>
                      <a:pt x="250" y="331"/>
                    </a:lnTo>
                    <a:lnTo>
                      <a:pt x="247" y="328"/>
                    </a:lnTo>
                    <a:lnTo>
                      <a:pt x="247" y="320"/>
                    </a:lnTo>
                    <a:lnTo>
                      <a:pt x="243" y="317"/>
                    </a:lnTo>
                    <a:lnTo>
                      <a:pt x="239" y="323"/>
                    </a:lnTo>
                    <a:lnTo>
                      <a:pt x="238" y="320"/>
                    </a:lnTo>
                    <a:lnTo>
                      <a:pt x="235" y="321"/>
                    </a:lnTo>
                    <a:lnTo>
                      <a:pt x="235" y="321"/>
                    </a:lnTo>
                    <a:lnTo>
                      <a:pt x="234" y="317"/>
                    </a:lnTo>
                    <a:lnTo>
                      <a:pt x="232" y="316"/>
                    </a:lnTo>
                    <a:lnTo>
                      <a:pt x="230" y="317"/>
                    </a:lnTo>
                    <a:lnTo>
                      <a:pt x="228" y="313"/>
                    </a:lnTo>
                    <a:lnTo>
                      <a:pt x="226" y="315"/>
                    </a:lnTo>
                    <a:lnTo>
                      <a:pt x="228" y="325"/>
                    </a:lnTo>
                    <a:lnTo>
                      <a:pt x="226" y="328"/>
                    </a:lnTo>
                    <a:lnTo>
                      <a:pt x="226" y="328"/>
                    </a:lnTo>
                    <a:lnTo>
                      <a:pt x="223" y="330"/>
                    </a:lnTo>
                    <a:lnTo>
                      <a:pt x="219" y="330"/>
                    </a:lnTo>
                    <a:lnTo>
                      <a:pt x="215" y="330"/>
                    </a:lnTo>
                    <a:lnTo>
                      <a:pt x="212" y="327"/>
                    </a:lnTo>
                    <a:lnTo>
                      <a:pt x="197" y="332"/>
                    </a:lnTo>
                    <a:lnTo>
                      <a:pt x="197" y="332"/>
                    </a:lnTo>
                    <a:lnTo>
                      <a:pt x="194" y="332"/>
                    </a:lnTo>
                    <a:lnTo>
                      <a:pt x="173" y="339"/>
                    </a:lnTo>
                    <a:lnTo>
                      <a:pt x="170" y="338"/>
                    </a:lnTo>
                    <a:lnTo>
                      <a:pt x="173" y="335"/>
                    </a:lnTo>
                    <a:lnTo>
                      <a:pt x="173" y="332"/>
                    </a:lnTo>
                    <a:lnTo>
                      <a:pt x="173" y="332"/>
                    </a:lnTo>
                    <a:lnTo>
                      <a:pt x="177" y="330"/>
                    </a:lnTo>
                    <a:lnTo>
                      <a:pt x="181" y="324"/>
                    </a:lnTo>
                    <a:lnTo>
                      <a:pt x="184" y="319"/>
                    </a:lnTo>
                    <a:lnTo>
                      <a:pt x="185" y="315"/>
                    </a:lnTo>
                    <a:lnTo>
                      <a:pt x="181" y="312"/>
                    </a:lnTo>
                    <a:lnTo>
                      <a:pt x="181" y="312"/>
                    </a:lnTo>
                    <a:lnTo>
                      <a:pt x="170" y="320"/>
                    </a:lnTo>
                    <a:lnTo>
                      <a:pt x="166" y="321"/>
                    </a:lnTo>
                    <a:lnTo>
                      <a:pt x="163" y="323"/>
                    </a:lnTo>
                    <a:lnTo>
                      <a:pt x="161" y="321"/>
                    </a:lnTo>
                    <a:lnTo>
                      <a:pt x="156" y="319"/>
                    </a:lnTo>
                    <a:lnTo>
                      <a:pt x="147" y="306"/>
                    </a:lnTo>
                    <a:lnTo>
                      <a:pt x="147" y="301"/>
                    </a:lnTo>
                    <a:lnTo>
                      <a:pt x="147" y="301"/>
                    </a:lnTo>
                    <a:lnTo>
                      <a:pt x="148" y="298"/>
                    </a:lnTo>
                    <a:lnTo>
                      <a:pt x="151" y="297"/>
                    </a:lnTo>
                    <a:lnTo>
                      <a:pt x="159" y="297"/>
                    </a:lnTo>
                    <a:lnTo>
                      <a:pt x="161" y="296"/>
                    </a:lnTo>
                    <a:lnTo>
                      <a:pt x="162" y="286"/>
                    </a:lnTo>
                    <a:lnTo>
                      <a:pt x="163" y="285"/>
                    </a:lnTo>
                    <a:lnTo>
                      <a:pt x="163" y="282"/>
                    </a:lnTo>
                    <a:lnTo>
                      <a:pt x="161" y="282"/>
                    </a:lnTo>
                    <a:lnTo>
                      <a:pt x="159" y="283"/>
                    </a:lnTo>
                    <a:lnTo>
                      <a:pt x="159" y="283"/>
                    </a:lnTo>
                    <a:lnTo>
                      <a:pt x="159" y="287"/>
                    </a:lnTo>
                    <a:lnTo>
                      <a:pt x="158" y="292"/>
                    </a:lnTo>
                    <a:lnTo>
                      <a:pt x="158" y="292"/>
                    </a:lnTo>
                    <a:lnTo>
                      <a:pt x="156" y="293"/>
                    </a:lnTo>
                    <a:lnTo>
                      <a:pt x="154" y="293"/>
                    </a:lnTo>
                    <a:lnTo>
                      <a:pt x="148" y="292"/>
                    </a:lnTo>
                    <a:lnTo>
                      <a:pt x="144" y="294"/>
                    </a:lnTo>
                    <a:lnTo>
                      <a:pt x="140" y="294"/>
                    </a:lnTo>
                    <a:lnTo>
                      <a:pt x="133" y="289"/>
                    </a:lnTo>
                    <a:lnTo>
                      <a:pt x="133" y="289"/>
                    </a:lnTo>
                    <a:lnTo>
                      <a:pt x="132" y="285"/>
                    </a:lnTo>
                    <a:lnTo>
                      <a:pt x="129" y="281"/>
                    </a:lnTo>
                    <a:lnTo>
                      <a:pt x="124" y="274"/>
                    </a:lnTo>
                    <a:lnTo>
                      <a:pt x="124" y="274"/>
                    </a:lnTo>
                    <a:lnTo>
                      <a:pt x="123" y="270"/>
                    </a:lnTo>
                    <a:lnTo>
                      <a:pt x="120" y="266"/>
                    </a:lnTo>
                    <a:lnTo>
                      <a:pt x="121" y="260"/>
                    </a:lnTo>
                    <a:lnTo>
                      <a:pt x="117" y="259"/>
                    </a:lnTo>
                    <a:lnTo>
                      <a:pt x="116" y="259"/>
                    </a:lnTo>
                    <a:lnTo>
                      <a:pt x="116" y="259"/>
                    </a:lnTo>
                    <a:lnTo>
                      <a:pt x="113" y="258"/>
                    </a:lnTo>
                    <a:lnTo>
                      <a:pt x="113" y="245"/>
                    </a:lnTo>
                    <a:lnTo>
                      <a:pt x="113" y="245"/>
                    </a:lnTo>
                    <a:lnTo>
                      <a:pt x="116" y="243"/>
                    </a:lnTo>
                    <a:lnTo>
                      <a:pt x="120" y="241"/>
                    </a:lnTo>
                    <a:lnTo>
                      <a:pt x="121" y="239"/>
                    </a:lnTo>
                    <a:lnTo>
                      <a:pt x="125" y="239"/>
                    </a:lnTo>
                    <a:lnTo>
                      <a:pt x="128" y="236"/>
                    </a:lnTo>
                    <a:lnTo>
                      <a:pt x="131" y="237"/>
                    </a:lnTo>
                    <a:lnTo>
                      <a:pt x="132" y="237"/>
                    </a:lnTo>
                    <a:lnTo>
                      <a:pt x="132" y="237"/>
                    </a:lnTo>
                    <a:lnTo>
                      <a:pt x="131" y="232"/>
                    </a:lnTo>
                    <a:lnTo>
                      <a:pt x="131" y="228"/>
                    </a:lnTo>
                    <a:lnTo>
                      <a:pt x="133" y="230"/>
                    </a:lnTo>
                    <a:lnTo>
                      <a:pt x="136" y="229"/>
                    </a:lnTo>
                    <a:lnTo>
                      <a:pt x="136" y="229"/>
                    </a:lnTo>
                    <a:lnTo>
                      <a:pt x="143" y="233"/>
                    </a:lnTo>
                    <a:lnTo>
                      <a:pt x="146" y="235"/>
                    </a:lnTo>
                    <a:lnTo>
                      <a:pt x="150" y="237"/>
                    </a:lnTo>
                    <a:lnTo>
                      <a:pt x="150" y="237"/>
                    </a:lnTo>
                    <a:lnTo>
                      <a:pt x="152" y="243"/>
                    </a:lnTo>
                    <a:lnTo>
                      <a:pt x="155" y="247"/>
                    </a:lnTo>
                    <a:lnTo>
                      <a:pt x="155" y="247"/>
                    </a:lnTo>
                    <a:lnTo>
                      <a:pt x="159" y="251"/>
                    </a:lnTo>
                    <a:lnTo>
                      <a:pt x="165" y="254"/>
                    </a:lnTo>
                    <a:lnTo>
                      <a:pt x="170" y="252"/>
                    </a:lnTo>
                    <a:lnTo>
                      <a:pt x="171" y="254"/>
                    </a:lnTo>
                    <a:lnTo>
                      <a:pt x="174" y="251"/>
                    </a:lnTo>
                    <a:lnTo>
                      <a:pt x="173" y="251"/>
                    </a:lnTo>
                    <a:lnTo>
                      <a:pt x="170" y="251"/>
                    </a:lnTo>
                    <a:lnTo>
                      <a:pt x="170" y="251"/>
                    </a:lnTo>
                    <a:lnTo>
                      <a:pt x="166" y="249"/>
                    </a:lnTo>
                    <a:lnTo>
                      <a:pt x="162" y="245"/>
                    </a:lnTo>
                    <a:lnTo>
                      <a:pt x="158" y="241"/>
                    </a:lnTo>
                    <a:lnTo>
                      <a:pt x="156" y="237"/>
                    </a:lnTo>
                    <a:lnTo>
                      <a:pt x="156" y="237"/>
                    </a:lnTo>
                    <a:lnTo>
                      <a:pt x="151" y="233"/>
                    </a:lnTo>
                    <a:lnTo>
                      <a:pt x="148" y="230"/>
                    </a:lnTo>
                    <a:lnTo>
                      <a:pt x="147" y="228"/>
                    </a:lnTo>
                    <a:lnTo>
                      <a:pt x="142" y="226"/>
                    </a:lnTo>
                    <a:lnTo>
                      <a:pt x="143" y="225"/>
                    </a:lnTo>
                    <a:lnTo>
                      <a:pt x="140" y="224"/>
                    </a:lnTo>
                    <a:lnTo>
                      <a:pt x="140" y="218"/>
                    </a:lnTo>
                    <a:lnTo>
                      <a:pt x="140" y="218"/>
                    </a:lnTo>
                    <a:lnTo>
                      <a:pt x="143" y="216"/>
                    </a:lnTo>
                    <a:lnTo>
                      <a:pt x="147" y="213"/>
                    </a:lnTo>
                    <a:lnTo>
                      <a:pt x="147" y="211"/>
                    </a:lnTo>
                    <a:lnTo>
                      <a:pt x="140" y="214"/>
                    </a:lnTo>
                    <a:lnTo>
                      <a:pt x="136" y="221"/>
                    </a:lnTo>
                    <a:lnTo>
                      <a:pt x="136" y="221"/>
                    </a:lnTo>
                    <a:lnTo>
                      <a:pt x="133" y="221"/>
                    </a:lnTo>
                    <a:lnTo>
                      <a:pt x="131" y="221"/>
                    </a:lnTo>
                    <a:lnTo>
                      <a:pt x="129" y="224"/>
                    </a:lnTo>
                    <a:lnTo>
                      <a:pt x="127" y="221"/>
                    </a:lnTo>
                    <a:lnTo>
                      <a:pt x="121" y="224"/>
                    </a:lnTo>
                    <a:lnTo>
                      <a:pt x="123" y="226"/>
                    </a:lnTo>
                    <a:lnTo>
                      <a:pt x="120" y="226"/>
                    </a:lnTo>
                    <a:lnTo>
                      <a:pt x="120" y="222"/>
                    </a:lnTo>
                    <a:lnTo>
                      <a:pt x="121" y="220"/>
                    </a:lnTo>
                    <a:lnTo>
                      <a:pt x="123" y="217"/>
                    </a:lnTo>
                    <a:lnTo>
                      <a:pt x="121" y="214"/>
                    </a:lnTo>
                    <a:lnTo>
                      <a:pt x="118" y="211"/>
                    </a:lnTo>
                    <a:lnTo>
                      <a:pt x="117" y="213"/>
                    </a:lnTo>
                    <a:lnTo>
                      <a:pt x="116" y="213"/>
                    </a:lnTo>
                    <a:lnTo>
                      <a:pt x="114" y="211"/>
                    </a:lnTo>
                    <a:lnTo>
                      <a:pt x="112" y="209"/>
                    </a:lnTo>
                    <a:lnTo>
                      <a:pt x="117" y="205"/>
                    </a:lnTo>
                    <a:lnTo>
                      <a:pt x="110" y="202"/>
                    </a:lnTo>
                    <a:lnTo>
                      <a:pt x="112" y="193"/>
                    </a:lnTo>
                    <a:lnTo>
                      <a:pt x="109" y="191"/>
                    </a:lnTo>
                    <a:lnTo>
                      <a:pt x="109" y="187"/>
                    </a:lnTo>
                    <a:lnTo>
                      <a:pt x="108" y="188"/>
                    </a:lnTo>
                    <a:lnTo>
                      <a:pt x="108" y="188"/>
                    </a:lnTo>
                    <a:lnTo>
                      <a:pt x="108" y="194"/>
                    </a:lnTo>
                    <a:lnTo>
                      <a:pt x="105" y="199"/>
                    </a:lnTo>
                    <a:lnTo>
                      <a:pt x="102" y="201"/>
                    </a:lnTo>
                    <a:lnTo>
                      <a:pt x="101" y="203"/>
                    </a:lnTo>
                    <a:lnTo>
                      <a:pt x="98" y="205"/>
                    </a:lnTo>
                    <a:lnTo>
                      <a:pt x="97" y="205"/>
                    </a:lnTo>
                    <a:lnTo>
                      <a:pt x="98" y="201"/>
                    </a:lnTo>
                    <a:lnTo>
                      <a:pt x="97" y="201"/>
                    </a:lnTo>
                    <a:lnTo>
                      <a:pt x="97" y="199"/>
                    </a:lnTo>
                    <a:lnTo>
                      <a:pt x="99" y="195"/>
                    </a:lnTo>
                    <a:lnTo>
                      <a:pt x="99" y="193"/>
                    </a:lnTo>
                    <a:lnTo>
                      <a:pt x="99" y="193"/>
                    </a:lnTo>
                    <a:lnTo>
                      <a:pt x="95" y="188"/>
                    </a:lnTo>
                    <a:lnTo>
                      <a:pt x="91" y="183"/>
                    </a:lnTo>
                    <a:lnTo>
                      <a:pt x="91" y="188"/>
                    </a:lnTo>
                    <a:lnTo>
                      <a:pt x="93" y="188"/>
                    </a:lnTo>
                    <a:lnTo>
                      <a:pt x="94" y="194"/>
                    </a:lnTo>
                    <a:lnTo>
                      <a:pt x="90" y="194"/>
                    </a:lnTo>
                    <a:lnTo>
                      <a:pt x="91" y="193"/>
                    </a:lnTo>
                    <a:lnTo>
                      <a:pt x="90" y="191"/>
                    </a:lnTo>
                    <a:lnTo>
                      <a:pt x="86" y="198"/>
                    </a:lnTo>
                    <a:lnTo>
                      <a:pt x="82" y="195"/>
                    </a:lnTo>
                    <a:lnTo>
                      <a:pt x="80" y="195"/>
                    </a:lnTo>
                    <a:lnTo>
                      <a:pt x="78" y="198"/>
                    </a:lnTo>
                    <a:lnTo>
                      <a:pt x="80" y="199"/>
                    </a:lnTo>
                    <a:lnTo>
                      <a:pt x="80" y="199"/>
                    </a:lnTo>
                    <a:lnTo>
                      <a:pt x="80" y="202"/>
                    </a:lnTo>
                    <a:lnTo>
                      <a:pt x="80" y="206"/>
                    </a:lnTo>
                    <a:lnTo>
                      <a:pt x="83" y="213"/>
                    </a:lnTo>
                    <a:lnTo>
                      <a:pt x="80" y="214"/>
                    </a:lnTo>
                    <a:lnTo>
                      <a:pt x="80" y="214"/>
                    </a:lnTo>
                    <a:lnTo>
                      <a:pt x="82" y="217"/>
                    </a:lnTo>
                    <a:lnTo>
                      <a:pt x="82" y="220"/>
                    </a:lnTo>
                    <a:lnTo>
                      <a:pt x="83" y="226"/>
                    </a:lnTo>
                    <a:lnTo>
                      <a:pt x="78" y="232"/>
                    </a:lnTo>
                    <a:lnTo>
                      <a:pt x="76" y="232"/>
                    </a:lnTo>
                    <a:lnTo>
                      <a:pt x="75" y="229"/>
                    </a:lnTo>
                    <a:lnTo>
                      <a:pt x="75" y="229"/>
                    </a:lnTo>
                    <a:lnTo>
                      <a:pt x="68" y="226"/>
                    </a:lnTo>
                    <a:lnTo>
                      <a:pt x="63" y="224"/>
                    </a:lnTo>
                    <a:lnTo>
                      <a:pt x="57" y="220"/>
                    </a:lnTo>
                    <a:lnTo>
                      <a:pt x="51" y="218"/>
                    </a:lnTo>
                    <a:lnTo>
                      <a:pt x="51" y="217"/>
                    </a:lnTo>
                    <a:lnTo>
                      <a:pt x="48" y="216"/>
                    </a:lnTo>
                    <a:lnTo>
                      <a:pt x="44" y="217"/>
                    </a:lnTo>
                    <a:lnTo>
                      <a:pt x="42" y="216"/>
                    </a:lnTo>
                    <a:lnTo>
                      <a:pt x="42" y="216"/>
                    </a:lnTo>
                    <a:lnTo>
                      <a:pt x="40" y="213"/>
                    </a:lnTo>
                    <a:lnTo>
                      <a:pt x="37" y="211"/>
                    </a:lnTo>
                    <a:lnTo>
                      <a:pt x="34" y="210"/>
                    </a:lnTo>
                    <a:lnTo>
                      <a:pt x="32" y="207"/>
                    </a:lnTo>
                    <a:lnTo>
                      <a:pt x="29" y="209"/>
                    </a:lnTo>
                    <a:lnTo>
                      <a:pt x="28" y="207"/>
                    </a:lnTo>
                    <a:lnTo>
                      <a:pt x="28" y="207"/>
                    </a:lnTo>
                    <a:lnTo>
                      <a:pt x="25" y="203"/>
                    </a:lnTo>
                    <a:lnTo>
                      <a:pt x="23" y="199"/>
                    </a:lnTo>
                    <a:lnTo>
                      <a:pt x="19" y="19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7" name="Freeform 146">
                <a:extLst>
                  <a:ext uri="{FF2B5EF4-FFF2-40B4-BE49-F238E27FC236}">
                    <a16:creationId xmlns:a16="http://schemas.microsoft.com/office/drawing/2014/main" id="{DC40C457-BD06-41A7-8702-8751040902A4}"/>
                  </a:ext>
                </a:extLst>
              </p:cNvPr>
              <p:cNvSpPr>
                <a:spLocks/>
              </p:cNvSpPr>
              <p:nvPr/>
            </p:nvSpPr>
            <p:spPr bwMode="auto">
              <a:xfrm>
                <a:off x="1798638" y="2767081"/>
                <a:ext cx="6350" cy="4763"/>
              </a:xfrm>
              <a:custGeom>
                <a:avLst/>
                <a:gdLst>
                  <a:gd name="T0" fmla="*/ 7 w 8"/>
                  <a:gd name="T1" fmla="*/ 0 h 7"/>
                  <a:gd name="T2" fmla="*/ 7 w 8"/>
                  <a:gd name="T3" fmla="*/ 1 h 7"/>
                  <a:gd name="T4" fmla="*/ 8 w 8"/>
                  <a:gd name="T5" fmla="*/ 7 h 7"/>
                  <a:gd name="T6" fmla="*/ 7 w 8"/>
                  <a:gd name="T7" fmla="*/ 7 h 7"/>
                  <a:gd name="T8" fmla="*/ 0 w 8"/>
                  <a:gd name="T9" fmla="*/ 2 h 7"/>
                  <a:gd name="T10" fmla="*/ 5 w 8"/>
                  <a:gd name="T11" fmla="*/ 0 h 7"/>
                  <a:gd name="T12" fmla="*/ 7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0"/>
                    </a:moveTo>
                    <a:lnTo>
                      <a:pt x="7" y="1"/>
                    </a:lnTo>
                    <a:lnTo>
                      <a:pt x="8" y="7"/>
                    </a:lnTo>
                    <a:lnTo>
                      <a:pt x="7" y="7"/>
                    </a:lnTo>
                    <a:lnTo>
                      <a:pt x="0" y="2"/>
                    </a:lnTo>
                    <a:lnTo>
                      <a:pt x="5" y="0"/>
                    </a:lnTo>
                    <a:lnTo>
                      <a:pt x="7"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8" name="Freeform 147">
                <a:extLst>
                  <a:ext uri="{FF2B5EF4-FFF2-40B4-BE49-F238E27FC236}">
                    <a16:creationId xmlns:a16="http://schemas.microsoft.com/office/drawing/2014/main" id="{E53E3D59-29CA-4119-9FD5-15260A0DF451}"/>
                  </a:ext>
                </a:extLst>
              </p:cNvPr>
              <p:cNvSpPr>
                <a:spLocks/>
              </p:cNvSpPr>
              <p:nvPr/>
            </p:nvSpPr>
            <p:spPr bwMode="auto">
              <a:xfrm>
                <a:off x="1792288" y="2770256"/>
                <a:ext cx="9525" cy="6350"/>
              </a:xfrm>
              <a:custGeom>
                <a:avLst/>
                <a:gdLst>
                  <a:gd name="T0" fmla="*/ 4 w 12"/>
                  <a:gd name="T1" fmla="*/ 5 h 8"/>
                  <a:gd name="T2" fmla="*/ 0 w 12"/>
                  <a:gd name="T3" fmla="*/ 3 h 8"/>
                  <a:gd name="T4" fmla="*/ 5 w 12"/>
                  <a:gd name="T5" fmla="*/ 0 h 8"/>
                  <a:gd name="T6" fmla="*/ 5 w 12"/>
                  <a:gd name="T7" fmla="*/ 0 h 8"/>
                  <a:gd name="T8" fmla="*/ 8 w 12"/>
                  <a:gd name="T9" fmla="*/ 1 h 8"/>
                  <a:gd name="T10" fmla="*/ 11 w 12"/>
                  <a:gd name="T11" fmla="*/ 3 h 8"/>
                  <a:gd name="T12" fmla="*/ 9 w 12"/>
                  <a:gd name="T13" fmla="*/ 5 h 8"/>
                  <a:gd name="T14" fmla="*/ 12 w 12"/>
                  <a:gd name="T15" fmla="*/ 5 h 8"/>
                  <a:gd name="T16" fmla="*/ 12 w 12"/>
                  <a:gd name="T17" fmla="*/ 7 h 8"/>
                  <a:gd name="T18" fmla="*/ 12 w 12"/>
                  <a:gd name="T19" fmla="*/ 8 h 8"/>
                  <a:gd name="T20" fmla="*/ 8 w 12"/>
                  <a:gd name="T21" fmla="*/ 5 h 8"/>
                  <a:gd name="T22" fmla="*/ 4 w 1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8">
                    <a:moveTo>
                      <a:pt x="4" y="5"/>
                    </a:moveTo>
                    <a:lnTo>
                      <a:pt x="0" y="3"/>
                    </a:lnTo>
                    <a:lnTo>
                      <a:pt x="5" y="0"/>
                    </a:lnTo>
                    <a:lnTo>
                      <a:pt x="5" y="0"/>
                    </a:lnTo>
                    <a:lnTo>
                      <a:pt x="8" y="1"/>
                    </a:lnTo>
                    <a:lnTo>
                      <a:pt x="11" y="3"/>
                    </a:lnTo>
                    <a:lnTo>
                      <a:pt x="9" y="5"/>
                    </a:lnTo>
                    <a:lnTo>
                      <a:pt x="12" y="5"/>
                    </a:lnTo>
                    <a:lnTo>
                      <a:pt x="12" y="7"/>
                    </a:lnTo>
                    <a:lnTo>
                      <a:pt x="12" y="8"/>
                    </a:lnTo>
                    <a:lnTo>
                      <a:pt x="8" y="5"/>
                    </a:lnTo>
                    <a:lnTo>
                      <a:pt x="4"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19" name="Freeform 148">
                <a:extLst>
                  <a:ext uri="{FF2B5EF4-FFF2-40B4-BE49-F238E27FC236}">
                    <a16:creationId xmlns:a16="http://schemas.microsoft.com/office/drawing/2014/main" id="{C07F3A44-F092-4BCF-BBAB-29E8410545B1}"/>
                  </a:ext>
                </a:extLst>
              </p:cNvPr>
              <p:cNvSpPr>
                <a:spLocks/>
              </p:cNvSpPr>
              <p:nvPr/>
            </p:nvSpPr>
            <p:spPr bwMode="auto">
              <a:xfrm>
                <a:off x="1787525" y="2778194"/>
                <a:ext cx="6350" cy="4763"/>
              </a:xfrm>
              <a:custGeom>
                <a:avLst/>
                <a:gdLst>
                  <a:gd name="T0" fmla="*/ 6 w 7"/>
                  <a:gd name="T1" fmla="*/ 1 h 5"/>
                  <a:gd name="T2" fmla="*/ 6 w 7"/>
                  <a:gd name="T3" fmla="*/ 2 h 5"/>
                  <a:gd name="T4" fmla="*/ 7 w 7"/>
                  <a:gd name="T5" fmla="*/ 5 h 5"/>
                  <a:gd name="T6" fmla="*/ 6 w 7"/>
                  <a:gd name="T7" fmla="*/ 5 h 5"/>
                  <a:gd name="T8" fmla="*/ 3 w 7"/>
                  <a:gd name="T9" fmla="*/ 5 h 5"/>
                  <a:gd name="T10" fmla="*/ 0 w 7"/>
                  <a:gd name="T11" fmla="*/ 0 h 5"/>
                  <a:gd name="T12" fmla="*/ 0 w 7"/>
                  <a:gd name="T13" fmla="*/ 0 h 5"/>
                  <a:gd name="T14" fmla="*/ 3 w 7"/>
                  <a:gd name="T15" fmla="*/ 0 h 5"/>
                  <a:gd name="T16" fmla="*/ 6 w 7"/>
                  <a:gd name="T17" fmla="*/ 1 h 5"/>
                  <a:gd name="T18" fmla="*/ 6 w 7"/>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6" y="1"/>
                    </a:moveTo>
                    <a:lnTo>
                      <a:pt x="6" y="2"/>
                    </a:lnTo>
                    <a:lnTo>
                      <a:pt x="7" y="5"/>
                    </a:lnTo>
                    <a:lnTo>
                      <a:pt x="6" y="5"/>
                    </a:lnTo>
                    <a:lnTo>
                      <a:pt x="3" y="5"/>
                    </a:lnTo>
                    <a:lnTo>
                      <a:pt x="0" y="0"/>
                    </a:lnTo>
                    <a:lnTo>
                      <a:pt x="0" y="0"/>
                    </a:lnTo>
                    <a:lnTo>
                      <a:pt x="3" y="0"/>
                    </a:lnTo>
                    <a:lnTo>
                      <a:pt x="6" y="1"/>
                    </a:lnTo>
                    <a:lnTo>
                      <a:pt x="6"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0" name="Freeform 149">
                <a:extLst>
                  <a:ext uri="{FF2B5EF4-FFF2-40B4-BE49-F238E27FC236}">
                    <a16:creationId xmlns:a16="http://schemas.microsoft.com/office/drawing/2014/main" id="{B9ED6345-8C0A-459F-A980-164D2D6EEE75}"/>
                  </a:ext>
                </a:extLst>
              </p:cNvPr>
              <p:cNvSpPr>
                <a:spLocks/>
              </p:cNvSpPr>
              <p:nvPr/>
            </p:nvSpPr>
            <p:spPr bwMode="auto">
              <a:xfrm>
                <a:off x="1735138" y="2751206"/>
                <a:ext cx="53975" cy="55563"/>
              </a:xfrm>
              <a:custGeom>
                <a:avLst/>
                <a:gdLst>
                  <a:gd name="T0" fmla="*/ 43 w 68"/>
                  <a:gd name="T1" fmla="*/ 0 h 69"/>
                  <a:gd name="T2" fmla="*/ 45 w 68"/>
                  <a:gd name="T3" fmla="*/ 5 h 69"/>
                  <a:gd name="T4" fmla="*/ 51 w 68"/>
                  <a:gd name="T5" fmla="*/ 7 h 69"/>
                  <a:gd name="T6" fmla="*/ 50 w 68"/>
                  <a:gd name="T7" fmla="*/ 12 h 69"/>
                  <a:gd name="T8" fmla="*/ 50 w 68"/>
                  <a:gd name="T9" fmla="*/ 15 h 69"/>
                  <a:gd name="T10" fmla="*/ 42 w 68"/>
                  <a:gd name="T11" fmla="*/ 19 h 69"/>
                  <a:gd name="T12" fmla="*/ 53 w 68"/>
                  <a:gd name="T13" fmla="*/ 27 h 69"/>
                  <a:gd name="T14" fmla="*/ 54 w 68"/>
                  <a:gd name="T15" fmla="*/ 28 h 69"/>
                  <a:gd name="T16" fmla="*/ 61 w 68"/>
                  <a:gd name="T17" fmla="*/ 32 h 69"/>
                  <a:gd name="T18" fmla="*/ 60 w 68"/>
                  <a:gd name="T19" fmla="*/ 34 h 69"/>
                  <a:gd name="T20" fmla="*/ 50 w 68"/>
                  <a:gd name="T21" fmla="*/ 28 h 69"/>
                  <a:gd name="T22" fmla="*/ 51 w 68"/>
                  <a:gd name="T23" fmla="*/ 30 h 69"/>
                  <a:gd name="T24" fmla="*/ 49 w 68"/>
                  <a:gd name="T25" fmla="*/ 32 h 69"/>
                  <a:gd name="T26" fmla="*/ 54 w 68"/>
                  <a:gd name="T27" fmla="*/ 36 h 69"/>
                  <a:gd name="T28" fmla="*/ 58 w 68"/>
                  <a:gd name="T29" fmla="*/ 34 h 69"/>
                  <a:gd name="T30" fmla="*/ 66 w 68"/>
                  <a:gd name="T31" fmla="*/ 39 h 69"/>
                  <a:gd name="T32" fmla="*/ 68 w 68"/>
                  <a:gd name="T33" fmla="*/ 42 h 69"/>
                  <a:gd name="T34" fmla="*/ 60 w 68"/>
                  <a:gd name="T35" fmla="*/ 46 h 69"/>
                  <a:gd name="T36" fmla="*/ 51 w 68"/>
                  <a:gd name="T37" fmla="*/ 39 h 69"/>
                  <a:gd name="T38" fmla="*/ 54 w 68"/>
                  <a:gd name="T39" fmla="*/ 40 h 69"/>
                  <a:gd name="T40" fmla="*/ 56 w 68"/>
                  <a:gd name="T41" fmla="*/ 46 h 69"/>
                  <a:gd name="T42" fmla="*/ 53 w 68"/>
                  <a:gd name="T43" fmla="*/ 50 h 69"/>
                  <a:gd name="T44" fmla="*/ 49 w 68"/>
                  <a:gd name="T45" fmla="*/ 57 h 69"/>
                  <a:gd name="T46" fmla="*/ 45 w 68"/>
                  <a:gd name="T47" fmla="*/ 58 h 69"/>
                  <a:gd name="T48" fmla="*/ 45 w 68"/>
                  <a:gd name="T49" fmla="*/ 61 h 69"/>
                  <a:gd name="T50" fmla="*/ 46 w 68"/>
                  <a:gd name="T51" fmla="*/ 66 h 69"/>
                  <a:gd name="T52" fmla="*/ 39 w 68"/>
                  <a:gd name="T53" fmla="*/ 65 h 69"/>
                  <a:gd name="T54" fmla="*/ 41 w 68"/>
                  <a:gd name="T55" fmla="*/ 68 h 69"/>
                  <a:gd name="T56" fmla="*/ 28 w 68"/>
                  <a:gd name="T57" fmla="*/ 68 h 69"/>
                  <a:gd name="T58" fmla="*/ 24 w 68"/>
                  <a:gd name="T59" fmla="*/ 62 h 69"/>
                  <a:gd name="T60" fmla="*/ 22 w 68"/>
                  <a:gd name="T61" fmla="*/ 64 h 69"/>
                  <a:gd name="T62" fmla="*/ 20 w 68"/>
                  <a:gd name="T63" fmla="*/ 64 h 69"/>
                  <a:gd name="T64" fmla="*/ 19 w 68"/>
                  <a:gd name="T65" fmla="*/ 69 h 69"/>
                  <a:gd name="T66" fmla="*/ 15 w 68"/>
                  <a:gd name="T67" fmla="*/ 66 h 69"/>
                  <a:gd name="T68" fmla="*/ 12 w 68"/>
                  <a:gd name="T69" fmla="*/ 68 h 69"/>
                  <a:gd name="T70" fmla="*/ 7 w 68"/>
                  <a:gd name="T71" fmla="*/ 65 h 69"/>
                  <a:gd name="T72" fmla="*/ 0 w 68"/>
                  <a:gd name="T73" fmla="*/ 64 h 69"/>
                  <a:gd name="T74" fmla="*/ 3 w 68"/>
                  <a:gd name="T75" fmla="*/ 59 h 69"/>
                  <a:gd name="T76" fmla="*/ 3 w 68"/>
                  <a:gd name="T77" fmla="*/ 53 h 69"/>
                  <a:gd name="T78" fmla="*/ 9 w 68"/>
                  <a:gd name="T79" fmla="*/ 51 h 69"/>
                  <a:gd name="T80" fmla="*/ 12 w 68"/>
                  <a:gd name="T81" fmla="*/ 50 h 69"/>
                  <a:gd name="T82" fmla="*/ 16 w 68"/>
                  <a:gd name="T83" fmla="*/ 49 h 69"/>
                  <a:gd name="T84" fmla="*/ 13 w 68"/>
                  <a:gd name="T85" fmla="*/ 42 h 69"/>
                  <a:gd name="T86" fmla="*/ 19 w 68"/>
                  <a:gd name="T87" fmla="*/ 40 h 69"/>
                  <a:gd name="T88" fmla="*/ 19 w 68"/>
                  <a:gd name="T89" fmla="*/ 39 h 69"/>
                  <a:gd name="T90" fmla="*/ 18 w 68"/>
                  <a:gd name="T91" fmla="*/ 36 h 69"/>
                  <a:gd name="T92" fmla="*/ 20 w 68"/>
                  <a:gd name="T93" fmla="*/ 31 h 69"/>
                  <a:gd name="T94" fmla="*/ 18 w 68"/>
                  <a:gd name="T95" fmla="*/ 28 h 69"/>
                  <a:gd name="T96" fmla="*/ 12 w 68"/>
                  <a:gd name="T97" fmla="*/ 27 h 69"/>
                  <a:gd name="T98" fmla="*/ 22 w 68"/>
                  <a:gd name="T99" fmla="*/ 27 h 69"/>
                  <a:gd name="T100" fmla="*/ 28 w 68"/>
                  <a:gd name="T101" fmla="*/ 26 h 69"/>
                  <a:gd name="T102" fmla="*/ 35 w 68"/>
                  <a:gd name="T103" fmla="*/ 21 h 69"/>
                  <a:gd name="T104" fmla="*/ 42 w 68"/>
                  <a:gd name="T105" fmla="*/ 12 h 69"/>
                  <a:gd name="T106" fmla="*/ 42 w 68"/>
                  <a:gd name="T107" fmla="*/ 8 h 69"/>
                  <a:gd name="T108" fmla="*/ 39 w 68"/>
                  <a:gd name="T109" fmla="*/ 4 h 69"/>
                  <a:gd name="T110" fmla="*/ 39 w 68"/>
                  <a:gd name="T11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69">
                    <a:moveTo>
                      <a:pt x="39" y="0"/>
                    </a:moveTo>
                    <a:lnTo>
                      <a:pt x="43" y="0"/>
                    </a:lnTo>
                    <a:lnTo>
                      <a:pt x="43" y="4"/>
                    </a:lnTo>
                    <a:lnTo>
                      <a:pt x="45" y="5"/>
                    </a:lnTo>
                    <a:lnTo>
                      <a:pt x="50" y="5"/>
                    </a:lnTo>
                    <a:lnTo>
                      <a:pt x="51" y="7"/>
                    </a:lnTo>
                    <a:lnTo>
                      <a:pt x="51" y="7"/>
                    </a:lnTo>
                    <a:lnTo>
                      <a:pt x="50" y="12"/>
                    </a:lnTo>
                    <a:lnTo>
                      <a:pt x="50" y="13"/>
                    </a:lnTo>
                    <a:lnTo>
                      <a:pt x="50" y="15"/>
                    </a:lnTo>
                    <a:lnTo>
                      <a:pt x="46" y="16"/>
                    </a:lnTo>
                    <a:lnTo>
                      <a:pt x="42" y="19"/>
                    </a:lnTo>
                    <a:lnTo>
                      <a:pt x="42" y="21"/>
                    </a:lnTo>
                    <a:lnTo>
                      <a:pt x="53" y="27"/>
                    </a:lnTo>
                    <a:lnTo>
                      <a:pt x="53" y="26"/>
                    </a:lnTo>
                    <a:lnTo>
                      <a:pt x="54" y="28"/>
                    </a:lnTo>
                    <a:lnTo>
                      <a:pt x="58" y="28"/>
                    </a:lnTo>
                    <a:lnTo>
                      <a:pt x="61" y="32"/>
                    </a:lnTo>
                    <a:lnTo>
                      <a:pt x="60" y="34"/>
                    </a:lnTo>
                    <a:lnTo>
                      <a:pt x="60" y="34"/>
                    </a:lnTo>
                    <a:lnTo>
                      <a:pt x="56" y="30"/>
                    </a:lnTo>
                    <a:lnTo>
                      <a:pt x="50" y="28"/>
                    </a:lnTo>
                    <a:lnTo>
                      <a:pt x="50" y="28"/>
                    </a:lnTo>
                    <a:lnTo>
                      <a:pt x="51" y="30"/>
                    </a:lnTo>
                    <a:lnTo>
                      <a:pt x="54" y="32"/>
                    </a:lnTo>
                    <a:lnTo>
                      <a:pt x="49" y="32"/>
                    </a:lnTo>
                    <a:lnTo>
                      <a:pt x="49" y="34"/>
                    </a:lnTo>
                    <a:lnTo>
                      <a:pt x="54" y="36"/>
                    </a:lnTo>
                    <a:lnTo>
                      <a:pt x="57" y="35"/>
                    </a:lnTo>
                    <a:lnTo>
                      <a:pt x="58" y="34"/>
                    </a:lnTo>
                    <a:lnTo>
                      <a:pt x="61" y="38"/>
                    </a:lnTo>
                    <a:lnTo>
                      <a:pt x="66" y="39"/>
                    </a:lnTo>
                    <a:lnTo>
                      <a:pt x="66" y="42"/>
                    </a:lnTo>
                    <a:lnTo>
                      <a:pt x="68" y="42"/>
                    </a:lnTo>
                    <a:lnTo>
                      <a:pt x="66" y="46"/>
                    </a:lnTo>
                    <a:lnTo>
                      <a:pt x="60" y="46"/>
                    </a:lnTo>
                    <a:lnTo>
                      <a:pt x="56" y="39"/>
                    </a:lnTo>
                    <a:lnTo>
                      <a:pt x="51" y="39"/>
                    </a:lnTo>
                    <a:lnTo>
                      <a:pt x="51" y="40"/>
                    </a:lnTo>
                    <a:lnTo>
                      <a:pt x="54" y="40"/>
                    </a:lnTo>
                    <a:lnTo>
                      <a:pt x="54" y="40"/>
                    </a:lnTo>
                    <a:lnTo>
                      <a:pt x="56" y="46"/>
                    </a:lnTo>
                    <a:lnTo>
                      <a:pt x="56" y="50"/>
                    </a:lnTo>
                    <a:lnTo>
                      <a:pt x="53" y="50"/>
                    </a:lnTo>
                    <a:lnTo>
                      <a:pt x="49" y="54"/>
                    </a:lnTo>
                    <a:lnTo>
                      <a:pt x="49" y="57"/>
                    </a:lnTo>
                    <a:lnTo>
                      <a:pt x="49" y="59"/>
                    </a:lnTo>
                    <a:lnTo>
                      <a:pt x="45" y="58"/>
                    </a:lnTo>
                    <a:lnTo>
                      <a:pt x="43" y="59"/>
                    </a:lnTo>
                    <a:lnTo>
                      <a:pt x="45" y="61"/>
                    </a:lnTo>
                    <a:lnTo>
                      <a:pt x="47" y="62"/>
                    </a:lnTo>
                    <a:lnTo>
                      <a:pt x="46" y="66"/>
                    </a:lnTo>
                    <a:lnTo>
                      <a:pt x="42" y="65"/>
                    </a:lnTo>
                    <a:lnTo>
                      <a:pt x="39" y="65"/>
                    </a:lnTo>
                    <a:lnTo>
                      <a:pt x="39" y="66"/>
                    </a:lnTo>
                    <a:lnTo>
                      <a:pt x="41" y="68"/>
                    </a:lnTo>
                    <a:lnTo>
                      <a:pt x="38" y="69"/>
                    </a:lnTo>
                    <a:lnTo>
                      <a:pt x="28" y="68"/>
                    </a:lnTo>
                    <a:lnTo>
                      <a:pt x="28" y="64"/>
                    </a:lnTo>
                    <a:lnTo>
                      <a:pt x="24" y="62"/>
                    </a:lnTo>
                    <a:lnTo>
                      <a:pt x="23" y="65"/>
                    </a:lnTo>
                    <a:lnTo>
                      <a:pt x="22" y="64"/>
                    </a:lnTo>
                    <a:lnTo>
                      <a:pt x="20" y="61"/>
                    </a:lnTo>
                    <a:lnTo>
                      <a:pt x="20" y="64"/>
                    </a:lnTo>
                    <a:lnTo>
                      <a:pt x="22" y="66"/>
                    </a:lnTo>
                    <a:lnTo>
                      <a:pt x="19" y="69"/>
                    </a:lnTo>
                    <a:lnTo>
                      <a:pt x="18" y="68"/>
                    </a:lnTo>
                    <a:lnTo>
                      <a:pt x="15" y="66"/>
                    </a:lnTo>
                    <a:lnTo>
                      <a:pt x="12" y="68"/>
                    </a:lnTo>
                    <a:lnTo>
                      <a:pt x="12" y="68"/>
                    </a:lnTo>
                    <a:lnTo>
                      <a:pt x="9" y="66"/>
                    </a:lnTo>
                    <a:lnTo>
                      <a:pt x="7" y="65"/>
                    </a:lnTo>
                    <a:lnTo>
                      <a:pt x="3" y="65"/>
                    </a:lnTo>
                    <a:lnTo>
                      <a:pt x="0" y="64"/>
                    </a:lnTo>
                    <a:lnTo>
                      <a:pt x="0" y="61"/>
                    </a:lnTo>
                    <a:lnTo>
                      <a:pt x="3" y="59"/>
                    </a:lnTo>
                    <a:lnTo>
                      <a:pt x="1" y="57"/>
                    </a:lnTo>
                    <a:lnTo>
                      <a:pt x="3" y="53"/>
                    </a:lnTo>
                    <a:lnTo>
                      <a:pt x="8" y="51"/>
                    </a:lnTo>
                    <a:lnTo>
                      <a:pt x="9" y="51"/>
                    </a:lnTo>
                    <a:lnTo>
                      <a:pt x="9" y="51"/>
                    </a:lnTo>
                    <a:lnTo>
                      <a:pt x="12" y="50"/>
                    </a:lnTo>
                    <a:lnTo>
                      <a:pt x="15" y="51"/>
                    </a:lnTo>
                    <a:lnTo>
                      <a:pt x="16" y="49"/>
                    </a:lnTo>
                    <a:lnTo>
                      <a:pt x="18" y="47"/>
                    </a:lnTo>
                    <a:lnTo>
                      <a:pt x="13" y="42"/>
                    </a:lnTo>
                    <a:lnTo>
                      <a:pt x="16" y="42"/>
                    </a:lnTo>
                    <a:lnTo>
                      <a:pt x="19" y="40"/>
                    </a:lnTo>
                    <a:lnTo>
                      <a:pt x="19" y="39"/>
                    </a:lnTo>
                    <a:lnTo>
                      <a:pt x="19" y="39"/>
                    </a:lnTo>
                    <a:lnTo>
                      <a:pt x="18" y="36"/>
                    </a:lnTo>
                    <a:lnTo>
                      <a:pt x="18" y="36"/>
                    </a:lnTo>
                    <a:lnTo>
                      <a:pt x="19" y="34"/>
                    </a:lnTo>
                    <a:lnTo>
                      <a:pt x="20" y="31"/>
                    </a:lnTo>
                    <a:lnTo>
                      <a:pt x="18" y="28"/>
                    </a:lnTo>
                    <a:lnTo>
                      <a:pt x="18" y="28"/>
                    </a:lnTo>
                    <a:lnTo>
                      <a:pt x="15" y="28"/>
                    </a:lnTo>
                    <a:lnTo>
                      <a:pt x="12" y="27"/>
                    </a:lnTo>
                    <a:lnTo>
                      <a:pt x="18" y="26"/>
                    </a:lnTo>
                    <a:lnTo>
                      <a:pt x="22" y="27"/>
                    </a:lnTo>
                    <a:lnTo>
                      <a:pt x="22" y="27"/>
                    </a:lnTo>
                    <a:lnTo>
                      <a:pt x="28" y="26"/>
                    </a:lnTo>
                    <a:lnTo>
                      <a:pt x="35" y="21"/>
                    </a:lnTo>
                    <a:lnTo>
                      <a:pt x="35" y="21"/>
                    </a:lnTo>
                    <a:lnTo>
                      <a:pt x="41" y="16"/>
                    </a:lnTo>
                    <a:lnTo>
                      <a:pt x="42" y="12"/>
                    </a:lnTo>
                    <a:lnTo>
                      <a:pt x="42" y="8"/>
                    </a:lnTo>
                    <a:lnTo>
                      <a:pt x="42" y="8"/>
                    </a:lnTo>
                    <a:lnTo>
                      <a:pt x="41" y="7"/>
                    </a:lnTo>
                    <a:lnTo>
                      <a:pt x="39" y="4"/>
                    </a:lnTo>
                    <a:lnTo>
                      <a:pt x="39" y="0"/>
                    </a:lnTo>
                    <a:lnTo>
                      <a:pt x="39"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1" name="Freeform 150">
                <a:extLst>
                  <a:ext uri="{FF2B5EF4-FFF2-40B4-BE49-F238E27FC236}">
                    <a16:creationId xmlns:a16="http://schemas.microsoft.com/office/drawing/2014/main" id="{E6CE158C-B609-442B-9C23-E3D8DB0A523C}"/>
                  </a:ext>
                </a:extLst>
              </p:cNvPr>
              <p:cNvSpPr>
                <a:spLocks/>
              </p:cNvSpPr>
              <p:nvPr/>
            </p:nvSpPr>
            <p:spPr bwMode="auto">
              <a:xfrm>
                <a:off x="2052638" y="2751206"/>
                <a:ext cx="63500" cy="60325"/>
              </a:xfrm>
              <a:custGeom>
                <a:avLst/>
                <a:gdLst>
                  <a:gd name="T0" fmla="*/ 49 w 80"/>
                  <a:gd name="T1" fmla="*/ 2 h 76"/>
                  <a:gd name="T2" fmla="*/ 53 w 80"/>
                  <a:gd name="T3" fmla="*/ 3 h 76"/>
                  <a:gd name="T4" fmla="*/ 57 w 80"/>
                  <a:gd name="T5" fmla="*/ 7 h 76"/>
                  <a:gd name="T6" fmla="*/ 64 w 80"/>
                  <a:gd name="T7" fmla="*/ 13 h 76"/>
                  <a:gd name="T8" fmla="*/ 68 w 80"/>
                  <a:gd name="T9" fmla="*/ 13 h 76"/>
                  <a:gd name="T10" fmla="*/ 76 w 80"/>
                  <a:gd name="T11" fmla="*/ 22 h 76"/>
                  <a:gd name="T12" fmla="*/ 72 w 80"/>
                  <a:gd name="T13" fmla="*/ 26 h 76"/>
                  <a:gd name="T14" fmla="*/ 69 w 80"/>
                  <a:gd name="T15" fmla="*/ 26 h 76"/>
                  <a:gd name="T16" fmla="*/ 64 w 80"/>
                  <a:gd name="T17" fmla="*/ 29 h 76"/>
                  <a:gd name="T18" fmla="*/ 64 w 80"/>
                  <a:gd name="T19" fmla="*/ 30 h 76"/>
                  <a:gd name="T20" fmla="*/ 77 w 80"/>
                  <a:gd name="T21" fmla="*/ 32 h 76"/>
                  <a:gd name="T22" fmla="*/ 77 w 80"/>
                  <a:gd name="T23" fmla="*/ 40 h 76"/>
                  <a:gd name="T24" fmla="*/ 75 w 80"/>
                  <a:gd name="T25" fmla="*/ 41 h 76"/>
                  <a:gd name="T26" fmla="*/ 76 w 80"/>
                  <a:gd name="T27" fmla="*/ 55 h 76"/>
                  <a:gd name="T28" fmla="*/ 72 w 80"/>
                  <a:gd name="T29" fmla="*/ 61 h 76"/>
                  <a:gd name="T30" fmla="*/ 67 w 80"/>
                  <a:gd name="T31" fmla="*/ 66 h 76"/>
                  <a:gd name="T32" fmla="*/ 61 w 80"/>
                  <a:gd name="T33" fmla="*/ 71 h 76"/>
                  <a:gd name="T34" fmla="*/ 57 w 80"/>
                  <a:gd name="T35" fmla="*/ 74 h 76"/>
                  <a:gd name="T36" fmla="*/ 46 w 80"/>
                  <a:gd name="T37" fmla="*/ 76 h 76"/>
                  <a:gd name="T38" fmla="*/ 42 w 80"/>
                  <a:gd name="T39" fmla="*/ 72 h 76"/>
                  <a:gd name="T40" fmla="*/ 38 w 80"/>
                  <a:gd name="T41" fmla="*/ 70 h 76"/>
                  <a:gd name="T42" fmla="*/ 35 w 80"/>
                  <a:gd name="T43" fmla="*/ 67 h 76"/>
                  <a:gd name="T44" fmla="*/ 33 w 80"/>
                  <a:gd name="T45" fmla="*/ 63 h 76"/>
                  <a:gd name="T46" fmla="*/ 29 w 80"/>
                  <a:gd name="T47" fmla="*/ 57 h 76"/>
                  <a:gd name="T48" fmla="*/ 22 w 80"/>
                  <a:gd name="T49" fmla="*/ 52 h 76"/>
                  <a:gd name="T50" fmla="*/ 15 w 80"/>
                  <a:gd name="T51" fmla="*/ 44 h 76"/>
                  <a:gd name="T52" fmla="*/ 7 w 80"/>
                  <a:gd name="T53" fmla="*/ 38 h 76"/>
                  <a:gd name="T54" fmla="*/ 4 w 80"/>
                  <a:gd name="T55" fmla="*/ 32 h 76"/>
                  <a:gd name="T56" fmla="*/ 7 w 80"/>
                  <a:gd name="T57" fmla="*/ 28 h 76"/>
                  <a:gd name="T58" fmla="*/ 21 w 80"/>
                  <a:gd name="T59" fmla="*/ 17 h 76"/>
                  <a:gd name="T60" fmla="*/ 19 w 80"/>
                  <a:gd name="T61" fmla="*/ 14 h 76"/>
                  <a:gd name="T62" fmla="*/ 34 w 80"/>
                  <a:gd name="T63" fmla="*/ 4 h 76"/>
                  <a:gd name="T64" fmla="*/ 40 w 80"/>
                  <a:gd name="T65" fmla="*/ 6 h 76"/>
                  <a:gd name="T66" fmla="*/ 46 w 80"/>
                  <a:gd name="T67" fmla="*/ 0 h 76"/>
                  <a:gd name="T68" fmla="*/ 49 w 80"/>
                  <a:gd name="T69" fmla="*/ 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76">
                    <a:moveTo>
                      <a:pt x="49" y="3"/>
                    </a:moveTo>
                    <a:lnTo>
                      <a:pt x="49" y="2"/>
                    </a:lnTo>
                    <a:lnTo>
                      <a:pt x="53" y="3"/>
                    </a:lnTo>
                    <a:lnTo>
                      <a:pt x="53" y="3"/>
                    </a:lnTo>
                    <a:lnTo>
                      <a:pt x="54" y="6"/>
                    </a:lnTo>
                    <a:lnTo>
                      <a:pt x="57" y="7"/>
                    </a:lnTo>
                    <a:lnTo>
                      <a:pt x="58" y="7"/>
                    </a:lnTo>
                    <a:lnTo>
                      <a:pt x="64" y="13"/>
                    </a:lnTo>
                    <a:lnTo>
                      <a:pt x="68" y="13"/>
                    </a:lnTo>
                    <a:lnTo>
                      <a:pt x="68" y="13"/>
                    </a:lnTo>
                    <a:lnTo>
                      <a:pt x="73" y="17"/>
                    </a:lnTo>
                    <a:lnTo>
                      <a:pt x="76" y="22"/>
                    </a:lnTo>
                    <a:lnTo>
                      <a:pt x="76" y="25"/>
                    </a:lnTo>
                    <a:lnTo>
                      <a:pt x="72" y="26"/>
                    </a:lnTo>
                    <a:lnTo>
                      <a:pt x="72" y="26"/>
                    </a:lnTo>
                    <a:lnTo>
                      <a:pt x="69" y="26"/>
                    </a:lnTo>
                    <a:lnTo>
                      <a:pt x="65" y="28"/>
                    </a:lnTo>
                    <a:lnTo>
                      <a:pt x="64" y="29"/>
                    </a:lnTo>
                    <a:lnTo>
                      <a:pt x="64" y="30"/>
                    </a:lnTo>
                    <a:lnTo>
                      <a:pt x="64" y="30"/>
                    </a:lnTo>
                    <a:lnTo>
                      <a:pt x="72" y="30"/>
                    </a:lnTo>
                    <a:lnTo>
                      <a:pt x="77" y="32"/>
                    </a:lnTo>
                    <a:lnTo>
                      <a:pt x="80" y="34"/>
                    </a:lnTo>
                    <a:lnTo>
                      <a:pt x="77" y="40"/>
                    </a:lnTo>
                    <a:lnTo>
                      <a:pt x="75" y="41"/>
                    </a:lnTo>
                    <a:lnTo>
                      <a:pt x="75" y="41"/>
                    </a:lnTo>
                    <a:lnTo>
                      <a:pt x="75" y="48"/>
                    </a:lnTo>
                    <a:lnTo>
                      <a:pt x="76" y="55"/>
                    </a:lnTo>
                    <a:lnTo>
                      <a:pt x="72" y="59"/>
                    </a:lnTo>
                    <a:lnTo>
                      <a:pt x="72" y="61"/>
                    </a:lnTo>
                    <a:lnTo>
                      <a:pt x="72" y="61"/>
                    </a:lnTo>
                    <a:lnTo>
                      <a:pt x="67" y="66"/>
                    </a:lnTo>
                    <a:lnTo>
                      <a:pt x="61" y="67"/>
                    </a:lnTo>
                    <a:lnTo>
                      <a:pt x="61" y="71"/>
                    </a:lnTo>
                    <a:lnTo>
                      <a:pt x="61" y="71"/>
                    </a:lnTo>
                    <a:lnTo>
                      <a:pt x="57" y="74"/>
                    </a:lnTo>
                    <a:lnTo>
                      <a:pt x="53" y="76"/>
                    </a:lnTo>
                    <a:lnTo>
                      <a:pt x="46" y="76"/>
                    </a:lnTo>
                    <a:lnTo>
                      <a:pt x="45" y="74"/>
                    </a:lnTo>
                    <a:lnTo>
                      <a:pt x="42" y="72"/>
                    </a:lnTo>
                    <a:lnTo>
                      <a:pt x="41" y="68"/>
                    </a:lnTo>
                    <a:lnTo>
                      <a:pt x="38" y="70"/>
                    </a:lnTo>
                    <a:lnTo>
                      <a:pt x="38" y="70"/>
                    </a:lnTo>
                    <a:lnTo>
                      <a:pt x="35" y="67"/>
                    </a:lnTo>
                    <a:lnTo>
                      <a:pt x="31" y="66"/>
                    </a:lnTo>
                    <a:lnTo>
                      <a:pt x="33" y="63"/>
                    </a:lnTo>
                    <a:lnTo>
                      <a:pt x="31" y="59"/>
                    </a:lnTo>
                    <a:lnTo>
                      <a:pt x="29" y="57"/>
                    </a:lnTo>
                    <a:lnTo>
                      <a:pt x="30" y="55"/>
                    </a:lnTo>
                    <a:lnTo>
                      <a:pt x="22" y="52"/>
                    </a:lnTo>
                    <a:lnTo>
                      <a:pt x="22" y="52"/>
                    </a:lnTo>
                    <a:lnTo>
                      <a:pt x="15" y="44"/>
                    </a:lnTo>
                    <a:lnTo>
                      <a:pt x="11" y="40"/>
                    </a:lnTo>
                    <a:lnTo>
                      <a:pt x="7" y="38"/>
                    </a:lnTo>
                    <a:lnTo>
                      <a:pt x="0" y="32"/>
                    </a:lnTo>
                    <a:lnTo>
                      <a:pt x="4" y="32"/>
                    </a:lnTo>
                    <a:lnTo>
                      <a:pt x="4" y="32"/>
                    </a:lnTo>
                    <a:lnTo>
                      <a:pt x="7" y="28"/>
                    </a:lnTo>
                    <a:lnTo>
                      <a:pt x="11" y="23"/>
                    </a:lnTo>
                    <a:lnTo>
                      <a:pt x="21" y="17"/>
                    </a:lnTo>
                    <a:lnTo>
                      <a:pt x="19" y="14"/>
                    </a:lnTo>
                    <a:lnTo>
                      <a:pt x="19" y="14"/>
                    </a:lnTo>
                    <a:lnTo>
                      <a:pt x="26" y="9"/>
                    </a:lnTo>
                    <a:lnTo>
                      <a:pt x="34" y="4"/>
                    </a:lnTo>
                    <a:lnTo>
                      <a:pt x="40" y="6"/>
                    </a:lnTo>
                    <a:lnTo>
                      <a:pt x="40" y="6"/>
                    </a:lnTo>
                    <a:lnTo>
                      <a:pt x="42" y="3"/>
                    </a:lnTo>
                    <a:lnTo>
                      <a:pt x="46" y="0"/>
                    </a:lnTo>
                    <a:lnTo>
                      <a:pt x="46" y="0"/>
                    </a:lnTo>
                    <a:lnTo>
                      <a:pt x="49" y="3"/>
                    </a:lnTo>
                    <a:lnTo>
                      <a:pt x="49"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2" name="Freeform 151">
                <a:extLst>
                  <a:ext uri="{FF2B5EF4-FFF2-40B4-BE49-F238E27FC236}">
                    <a16:creationId xmlns:a16="http://schemas.microsoft.com/office/drawing/2014/main" id="{94DB9149-295B-4C7D-80B1-EF3A2E3B1096}"/>
                  </a:ext>
                </a:extLst>
              </p:cNvPr>
              <p:cNvSpPr>
                <a:spLocks/>
              </p:cNvSpPr>
              <p:nvPr/>
            </p:nvSpPr>
            <p:spPr bwMode="auto">
              <a:xfrm>
                <a:off x="1766888" y="2817881"/>
                <a:ext cx="4763" cy="4763"/>
              </a:xfrm>
              <a:custGeom>
                <a:avLst/>
                <a:gdLst>
                  <a:gd name="T0" fmla="*/ 6 w 7"/>
                  <a:gd name="T1" fmla="*/ 0 h 6"/>
                  <a:gd name="T2" fmla="*/ 7 w 7"/>
                  <a:gd name="T3" fmla="*/ 2 h 6"/>
                  <a:gd name="T4" fmla="*/ 3 w 7"/>
                  <a:gd name="T5" fmla="*/ 6 h 6"/>
                  <a:gd name="T6" fmla="*/ 2 w 7"/>
                  <a:gd name="T7" fmla="*/ 6 h 6"/>
                  <a:gd name="T8" fmla="*/ 0 w 7"/>
                  <a:gd name="T9" fmla="*/ 1 h 6"/>
                  <a:gd name="T10" fmla="*/ 4 w 7"/>
                  <a:gd name="T11" fmla="*/ 0 h 6"/>
                  <a:gd name="T12" fmla="*/ 6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6" y="0"/>
                    </a:moveTo>
                    <a:lnTo>
                      <a:pt x="7" y="2"/>
                    </a:lnTo>
                    <a:lnTo>
                      <a:pt x="3" y="6"/>
                    </a:lnTo>
                    <a:lnTo>
                      <a:pt x="2" y="6"/>
                    </a:lnTo>
                    <a:lnTo>
                      <a:pt x="0" y="1"/>
                    </a:lnTo>
                    <a:lnTo>
                      <a:pt x="4" y="0"/>
                    </a:lnTo>
                    <a:lnTo>
                      <a:pt x="6"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3" name="Freeform 152">
                <a:extLst>
                  <a:ext uri="{FF2B5EF4-FFF2-40B4-BE49-F238E27FC236}">
                    <a16:creationId xmlns:a16="http://schemas.microsoft.com/office/drawing/2014/main" id="{E89191C3-B508-4465-99D5-9D3089AD5A84}"/>
                  </a:ext>
                </a:extLst>
              </p:cNvPr>
              <p:cNvSpPr>
                <a:spLocks/>
              </p:cNvSpPr>
              <p:nvPr/>
            </p:nvSpPr>
            <p:spPr bwMode="auto">
              <a:xfrm>
                <a:off x="1731963" y="2805181"/>
                <a:ext cx="22225" cy="19050"/>
              </a:xfrm>
              <a:custGeom>
                <a:avLst/>
                <a:gdLst>
                  <a:gd name="T0" fmla="*/ 0 w 28"/>
                  <a:gd name="T1" fmla="*/ 0 h 25"/>
                  <a:gd name="T2" fmla="*/ 4 w 28"/>
                  <a:gd name="T3" fmla="*/ 0 h 25"/>
                  <a:gd name="T4" fmla="*/ 8 w 28"/>
                  <a:gd name="T5" fmla="*/ 3 h 25"/>
                  <a:gd name="T6" fmla="*/ 12 w 28"/>
                  <a:gd name="T7" fmla="*/ 2 h 25"/>
                  <a:gd name="T8" fmla="*/ 15 w 28"/>
                  <a:gd name="T9" fmla="*/ 4 h 25"/>
                  <a:gd name="T10" fmla="*/ 11 w 28"/>
                  <a:gd name="T11" fmla="*/ 6 h 25"/>
                  <a:gd name="T12" fmla="*/ 27 w 28"/>
                  <a:gd name="T13" fmla="*/ 8 h 25"/>
                  <a:gd name="T14" fmla="*/ 28 w 28"/>
                  <a:gd name="T15" fmla="*/ 10 h 25"/>
                  <a:gd name="T16" fmla="*/ 24 w 28"/>
                  <a:gd name="T17" fmla="*/ 11 h 25"/>
                  <a:gd name="T18" fmla="*/ 20 w 28"/>
                  <a:gd name="T19" fmla="*/ 10 h 25"/>
                  <a:gd name="T20" fmla="*/ 13 w 28"/>
                  <a:gd name="T21" fmla="*/ 14 h 25"/>
                  <a:gd name="T22" fmla="*/ 13 w 28"/>
                  <a:gd name="T23" fmla="*/ 17 h 25"/>
                  <a:gd name="T24" fmla="*/ 24 w 28"/>
                  <a:gd name="T25" fmla="*/ 17 h 25"/>
                  <a:gd name="T26" fmla="*/ 26 w 28"/>
                  <a:gd name="T27" fmla="*/ 17 h 25"/>
                  <a:gd name="T28" fmla="*/ 24 w 28"/>
                  <a:gd name="T29" fmla="*/ 19 h 25"/>
                  <a:gd name="T30" fmla="*/ 19 w 28"/>
                  <a:gd name="T31" fmla="*/ 23 h 25"/>
                  <a:gd name="T32" fmla="*/ 16 w 28"/>
                  <a:gd name="T33" fmla="*/ 22 h 25"/>
                  <a:gd name="T34" fmla="*/ 13 w 28"/>
                  <a:gd name="T35" fmla="*/ 25 h 25"/>
                  <a:gd name="T36" fmla="*/ 11 w 28"/>
                  <a:gd name="T37" fmla="*/ 23 h 25"/>
                  <a:gd name="T38" fmla="*/ 9 w 28"/>
                  <a:gd name="T39" fmla="*/ 25 h 25"/>
                  <a:gd name="T40" fmla="*/ 7 w 28"/>
                  <a:gd name="T41" fmla="*/ 23 h 25"/>
                  <a:gd name="T42" fmla="*/ 7 w 28"/>
                  <a:gd name="T43" fmla="*/ 23 h 25"/>
                  <a:gd name="T44" fmla="*/ 7 w 28"/>
                  <a:gd name="T45" fmla="*/ 21 h 25"/>
                  <a:gd name="T46" fmla="*/ 5 w 28"/>
                  <a:gd name="T47" fmla="*/ 18 h 25"/>
                  <a:gd name="T48" fmla="*/ 4 w 28"/>
                  <a:gd name="T49" fmla="*/ 18 h 25"/>
                  <a:gd name="T50" fmla="*/ 4 w 28"/>
                  <a:gd name="T51" fmla="*/ 17 h 25"/>
                  <a:gd name="T52" fmla="*/ 5 w 28"/>
                  <a:gd name="T53" fmla="*/ 17 h 25"/>
                  <a:gd name="T54" fmla="*/ 8 w 28"/>
                  <a:gd name="T55" fmla="*/ 18 h 25"/>
                  <a:gd name="T56" fmla="*/ 11 w 28"/>
                  <a:gd name="T57" fmla="*/ 15 h 25"/>
                  <a:gd name="T58" fmla="*/ 11 w 28"/>
                  <a:gd name="T59" fmla="*/ 14 h 25"/>
                  <a:gd name="T60" fmla="*/ 11 w 28"/>
                  <a:gd name="T61" fmla="*/ 14 h 25"/>
                  <a:gd name="T62" fmla="*/ 9 w 28"/>
                  <a:gd name="T63" fmla="*/ 12 h 25"/>
                  <a:gd name="T64" fmla="*/ 7 w 28"/>
                  <a:gd name="T65" fmla="*/ 12 h 25"/>
                  <a:gd name="T66" fmla="*/ 3 w 28"/>
                  <a:gd name="T67" fmla="*/ 11 h 25"/>
                  <a:gd name="T68" fmla="*/ 0 w 28"/>
                  <a:gd name="T69" fmla="*/ 8 h 25"/>
                  <a:gd name="T70" fmla="*/ 1 w 28"/>
                  <a:gd name="T71" fmla="*/ 6 h 25"/>
                  <a:gd name="T72" fmla="*/ 4 w 28"/>
                  <a:gd name="T73" fmla="*/ 4 h 25"/>
                  <a:gd name="T74" fmla="*/ 0 w 28"/>
                  <a:gd name="T75" fmla="*/ 2 h 25"/>
                  <a:gd name="T76" fmla="*/ 0 w 28"/>
                  <a:gd name="T7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25">
                    <a:moveTo>
                      <a:pt x="0" y="0"/>
                    </a:moveTo>
                    <a:lnTo>
                      <a:pt x="4" y="0"/>
                    </a:lnTo>
                    <a:lnTo>
                      <a:pt x="8" y="3"/>
                    </a:lnTo>
                    <a:lnTo>
                      <a:pt x="12" y="2"/>
                    </a:lnTo>
                    <a:lnTo>
                      <a:pt x="15" y="4"/>
                    </a:lnTo>
                    <a:lnTo>
                      <a:pt x="11" y="6"/>
                    </a:lnTo>
                    <a:lnTo>
                      <a:pt x="27" y="8"/>
                    </a:lnTo>
                    <a:lnTo>
                      <a:pt x="28" y="10"/>
                    </a:lnTo>
                    <a:lnTo>
                      <a:pt x="24" y="11"/>
                    </a:lnTo>
                    <a:lnTo>
                      <a:pt x="20" y="10"/>
                    </a:lnTo>
                    <a:lnTo>
                      <a:pt x="13" y="14"/>
                    </a:lnTo>
                    <a:lnTo>
                      <a:pt x="13" y="17"/>
                    </a:lnTo>
                    <a:lnTo>
                      <a:pt x="24" y="17"/>
                    </a:lnTo>
                    <a:lnTo>
                      <a:pt x="26" y="17"/>
                    </a:lnTo>
                    <a:lnTo>
                      <a:pt x="24" y="19"/>
                    </a:lnTo>
                    <a:lnTo>
                      <a:pt x="19" y="23"/>
                    </a:lnTo>
                    <a:lnTo>
                      <a:pt x="16" y="22"/>
                    </a:lnTo>
                    <a:lnTo>
                      <a:pt x="13" y="25"/>
                    </a:lnTo>
                    <a:lnTo>
                      <a:pt x="11" y="23"/>
                    </a:lnTo>
                    <a:lnTo>
                      <a:pt x="9" y="25"/>
                    </a:lnTo>
                    <a:lnTo>
                      <a:pt x="7" y="23"/>
                    </a:lnTo>
                    <a:lnTo>
                      <a:pt x="7" y="23"/>
                    </a:lnTo>
                    <a:lnTo>
                      <a:pt x="7" y="21"/>
                    </a:lnTo>
                    <a:lnTo>
                      <a:pt x="5" y="18"/>
                    </a:lnTo>
                    <a:lnTo>
                      <a:pt x="4" y="18"/>
                    </a:lnTo>
                    <a:lnTo>
                      <a:pt x="4" y="17"/>
                    </a:lnTo>
                    <a:lnTo>
                      <a:pt x="5" y="17"/>
                    </a:lnTo>
                    <a:lnTo>
                      <a:pt x="8" y="18"/>
                    </a:lnTo>
                    <a:lnTo>
                      <a:pt x="11" y="15"/>
                    </a:lnTo>
                    <a:lnTo>
                      <a:pt x="11" y="14"/>
                    </a:lnTo>
                    <a:lnTo>
                      <a:pt x="11" y="14"/>
                    </a:lnTo>
                    <a:lnTo>
                      <a:pt x="9" y="12"/>
                    </a:lnTo>
                    <a:lnTo>
                      <a:pt x="7" y="12"/>
                    </a:lnTo>
                    <a:lnTo>
                      <a:pt x="3" y="11"/>
                    </a:lnTo>
                    <a:lnTo>
                      <a:pt x="0" y="8"/>
                    </a:lnTo>
                    <a:lnTo>
                      <a:pt x="1" y="6"/>
                    </a:lnTo>
                    <a:lnTo>
                      <a:pt x="4" y="4"/>
                    </a:lnTo>
                    <a:lnTo>
                      <a:pt x="0" y="2"/>
                    </a:lnTo>
                    <a:lnTo>
                      <a:pt x="0"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4" name="Freeform 153">
                <a:extLst>
                  <a:ext uri="{FF2B5EF4-FFF2-40B4-BE49-F238E27FC236}">
                    <a16:creationId xmlns:a16="http://schemas.microsoft.com/office/drawing/2014/main" id="{46AD13D5-4075-4F60-B6AC-73729DDB09BB}"/>
                  </a:ext>
                </a:extLst>
              </p:cNvPr>
              <p:cNvSpPr>
                <a:spLocks/>
              </p:cNvSpPr>
              <p:nvPr/>
            </p:nvSpPr>
            <p:spPr bwMode="auto">
              <a:xfrm>
                <a:off x="1741488" y="2827406"/>
                <a:ext cx="14288" cy="11113"/>
              </a:xfrm>
              <a:custGeom>
                <a:avLst/>
                <a:gdLst>
                  <a:gd name="T0" fmla="*/ 10 w 18"/>
                  <a:gd name="T1" fmla="*/ 0 h 13"/>
                  <a:gd name="T2" fmla="*/ 12 w 18"/>
                  <a:gd name="T3" fmla="*/ 2 h 13"/>
                  <a:gd name="T4" fmla="*/ 14 w 18"/>
                  <a:gd name="T5" fmla="*/ 1 h 13"/>
                  <a:gd name="T6" fmla="*/ 16 w 18"/>
                  <a:gd name="T7" fmla="*/ 2 h 13"/>
                  <a:gd name="T8" fmla="*/ 14 w 18"/>
                  <a:gd name="T9" fmla="*/ 4 h 13"/>
                  <a:gd name="T10" fmla="*/ 18 w 18"/>
                  <a:gd name="T11" fmla="*/ 9 h 13"/>
                  <a:gd name="T12" fmla="*/ 14 w 18"/>
                  <a:gd name="T13" fmla="*/ 8 h 13"/>
                  <a:gd name="T14" fmla="*/ 14 w 18"/>
                  <a:gd name="T15" fmla="*/ 12 h 13"/>
                  <a:gd name="T16" fmla="*/ 12 w 18"/>
                  <a:gd name="T17" fmla="*/ 13 h 13"/>
                  <a:gd name="T18" fmla="*/ 8 w 18"/>
                  <a:gd name="T19" fmla="*/ 11 h 13"/>
                  <a:gd name="T20" fmla="*/ 8 w 18"/>
                  <a:gd name="T21" fmla="*/ 13 h 13"/>
                  <a:gd name="T22" fmla="*/ 5 w 18"/>
                  <a:gd name="T23" fmla="*/ 9 h 13"/>
                  <a:gd name="T24" fmla="*/ 0 w 18"/>
                  <a:gd name="T25" fmla="*/ 8 h 13"/>
                  <a:gd name="T26" fmla="*/ 1 w 18"/>
                  <a:gd name="T27" fmla="*/ 6 h 13"/>
                  <a:gd name="T28" fmla="*/ 0 w 18"/>
                  <a:gd name="T29" fmla="*/ 2 h 13"/>
                  <a:gd name="T30" fmla="*/ 1 w 18"/>
                  <a:gd name="T31" fmla="*/ 2 h 13"/>
                  <a:gd name="T32" fmla="*/ 3 w 18"/>
                  <a:gd name="T33" fmla="*/ 1 h 13"/>
                  <a:gd name="T34" fmla="*/ 4 w 18"/>
                  <a:gd name="T35" fmla="*/ 0 h 13"/>
                  <a:gd name="T36" fmla="*/ 4 w 18"/>
                  <a:gd name="T37" fmla="*/ 0 h 13"/>
                  <a:gd name="T38" fmla="*/ 10 w 18"/>
                  <a:gd name="T39" fmla="*/ 0 h 13"/>
                  <a:gd name="T40" fmla="*/ 10 w 18"/>
                  <a:gd name="T4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3">
                    <a:moveTo>
                      <a:pt x="10" y="0"/>
                    </a:moveTo>
                    <a:lnTo>
                      <a:pt x="12" y="2"/>
                    </a:lnTo>
                    <a:lnTo>
                      <a:pt x="14" y="1"/>
                    </a:lnTo>
                    <a:lnTo>
                      <a:pt x="16" y="2"/>
                    </a:lnTo>
                    <a:lnTo>
                      <a:pt x="14" y="4"/>
                    </a:lnTo>
                    <a:lnTo>
                      <a:pt x="18" y="9"/>
                    </a:lnTo>
                    <a:lnTo>
                      <a:pt x="14" y="8"/>
                    </a:lnTo>
                    <a:lnTo>
                      <a:pt x="14" y="12"/>
                    </a:lnTo>
                    <a:lnTo>
                      <a:pt x="12" y="13"/>
                    </a:lnTo>
                    <a:lnTo>
                      <a:pt x="8" y="11"/>
                    </a:lnTo>
                    <a:lnTo>
                      <a:pt x="8" y="13"/>
                    </a:lnTo>
                    <a:lnTo>
                      <a:pt x="5" y="9"/>
                    </a:lnTo>
                    <a:lnTo>
                      <a:pt x="0" y="8"/>
                    </a:lnTo>
                    <a:lnTo>
                      <a:pt x="1" y="6"/>
                    </a:lnTo>
                    <a:lnTo>
                      <a:pt x="0" y="2"/>
                    </a:lnTo>
                    <a:lnTo>
                      <a:pt x="1" y="2"/>
                    </a:lnTo>
                    <a:lnTo>
                      <a:pt x="3" y="1"/>
                    </a:lnTo>
                    <a:lnTo>
                      <a:pt x="4" y="0"/>
                    </a:lnTo>
                    <a:lnTo>
                      <a:pt x="4" y="0"/>
                    </a:lnTo>
                    <a:lnTo>
                      <a:pt x="10" y="0"/>
                    </a:lnTo>
                    <a:lnTo>
                      <a:pt x="10"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5" name="Freeform 154">
                <a:extLst>
                  <a:ext uri="{FF2B5EF4-FFF2-40B4-BE49-F238E27FC236}">
                    <a16:creationId xmlns:a16="http://schemas.microsoft.com/office/drawing/2014/main" id="{EB0BE25C-D2B5-4CEB-9E06-57E24D73FAE6}"/>
                  </a:ext>
                </a:extLst>
              </p:cNvPr>
              <p:cNvSpPr>
                <a:spLocks/>
              </p:cNvSpPr>
              <p:nvPr/>
            </p:nvSpPr>
            <p:spPr bwMode="auto">
              <a:xfrm>
                <a:off x="2125663" y="2808356"/>
                <a:ext cx="25400" cy="33338"/>
              </a:xfrm>
              <a:custGeom>
                <a:avLst/>
                <a:gdLst>
                  <a:gd name="T0" fmla="*/ 29 w 34"/>
                  <a:gd name="T1" fmla="*/ 41 h 44"/>
                  <a:gd name="T2" fmla="*/ 26 w 34"/>
                  <a:gd name="T3" fmla="*/ 42 h 44"/>
                  <a:gd name="T4" fmla="*/ 24 w 34"/>
                  <a:gd name="T5" fmla="*/ 44 h 44"/>
                  <a:gd name="T6" fmla="*/ 22 w 34"/>
                  <a:gd name="T7" fmla="*/ 42 h 44"/>
                  <a:gd name="T8" fmla="*/ 22 w 34"/>
                  <a:gd name="T9" fmla="*/ 42 h 44"/>
                  <a:gd name="T10" fmla="*/ 19 w 34"/>
                  <a:gd name="T11" fmla="*/ 44 h 44"/>
                  <a:gd name="T12" fmla="*/ 16 w 34"/>
                  <a:gd name="T13" fmla="*/ 44 h 44"/>
                  <a:gd name="T14" fmla="*/ 12 w 34"/>
                  <a:gd name="T15" fmla="*/ 42 h 44"/>
                  <a:gd name="T16" fmla="*/ 10 w 34"/>
                  <a:gd name="T17" fmla="*/ 40 h 44"/>
                  <a:gd name="T18" fmla="*/ 5 w 34"/>
                  <a:gd name="T19" fmla="*/ 38 h 44"/>
                  <a:gd name="T20" fmla="*/ 5 w 34"/>
                  <a:gd name="T21" fmla="*/ 38 h 44"/>
                  <a:gd name="T22" fmla="*/ 4 w 34"/>
                  <a:gd name="T23" fmla="*/ 36 h 44"/>
                  <a:gd name="T24" fmla="*/ 0 w 34"/>
                  <a:gd name="T25" fmla="*/ 33 h 44"/>
                  <a:gd name="T26" fmla="*/ 0 w 34"/>
                  <a:gd name="T27" fmla="*/ 33 h 44"/>
                  <a:gd name="T28" fmla="*/ 1 w 34"/>
                  <a:gd name="T29" fmla="*/ 27 h 44"/>
                  <a:gd name="T30" fmla="*/ 0 w 34"/>
                  <a:gd name="T31" fmla="*/ 22 h 44"/>
                  <a:gd name="T32" fmla="*/ 0 w 34"/>
                  <a:gd name="T33" fmla="*/ 22 h 44"/>
                  <a:gd name="T34" fmla="*/ 5 w 34"/>
                  <a:gd name="T35" fmla="*/ 19 h 44"/>
                  <a:gd name="T36" fmla="*/ 11 w 34"/>
                  <a:gd name="T37" fmla="*/ 17 h 44"/>
                  <a:gd name="T38" fmla="*/ 16 w 34"/>
                  <a:gd name="T39" fmla="*/ 18 h 44"/>
                  <a:gd name="T40" fmla="*/ 19 w 34"/>
                  <a:gd name="T41" fmla="*/ 15 h 44"/>
                  <a:gd name="T42" fmla="*/ 19 w 34"/>
                  <a:gd name="T43" fmla="*/ 15 h 44"/>
                  <a:gd name="T44" fmla="*/ 19 w 34"/>
                  <a:gd name="T45" fmla="*/ 13 h 44"/>
                  <a:gd name="T46" fmla="*/ 16 w 34"/>
                  <a:gd name="T47" fmla="*/ 11 h 44"/>
                  <a:gd name="T48" fmla="*/ 19 w 34"/>
                  <a:gd name="T49" fmla="*/ 7 h 44"/>
                  <a:gd name="T50" fmla="*/ 16 w 34"/>
                  <a:gd name="T51" fmla="*/ 6 h 44"/>
                  <a:gd name="T52" fmla="*/ 16 w 34"/>
                  <a:gd name="T53" fmla="*/ 4 h 44"/>
                  <a:gd name="T54" fmla="*/ 26 w 34"/>
                  <a:gd name="T55" fmla="*/ 0 h 44"/>
                  <a:gd name="T56" fmla="*/ 27 w 34"/>
                  <a:gd name="T57" fmla="*/ 0 h 44"/>
                  <a:gd name="T58" fmla="*/ 27 w 34"/>
                  <a:gd name="T59" fmla="*/ 0 h 44"/>
                  <a:gd name="T60" fmla="*/ 30 w 34"/>
                  <a:gd name="T61" fmla="*/ 3 h 44"/>
                  <a:gd name="T62" fmla="*/ 33 w 34"/>
                  <a:gd name="T63" fmla="*/ 6 h 44"/>
                  <a:gd name="T64" fmla="*/ 33 w 34"/>
                  <a:gd name="T65" fmla="*/ 6 h 44"/>
                  <a:gd name="T66" fmla="*/ 34 w 34"/>
                  <a:gd name="T67" fmla="*/ 10 h 44"/>
                  <a:gd name="T68" fmla="*/ 34 w 34"/>
                  <a:gd name="T69" fmla="*/ 18 h 44"/>
                  <a:gd name="T70" fmla="*/ 33 w 34"/>
                  <a:gd name="T71" fmla="*/ 30 h 44"/>
                  <a:gd name="T72" fmla="*/ 34 w 34"/>
                  <a:gd name="T73" fmla="*/ 33 h 44"/>
                  <a:gd name="T74" fmla="*/ 31 w 34"/>
                  <a:gd name="T75" fmla="*/ 36 h 44"/>
                  <a:gd name="T76" fmla="*/ 30 w 34"/>
                  <a:gd name="T77" fmla="*/ 33 h 44"/>
                  <a:gd name="T78" fmla="*/ 29 w 34"/>
                  <a:gd name="T79" fmla="*/ 34 h 44"/>
                  <a:gd name="T80" fmla="*/ 30 w 34"/>
                  <a:gd name="T81" fmla="*/ 37 h 44"/>
                  <a:gd name="T82" fmla="*/ 27 w 34"/>
                  <a:gd name="T83" fmla="*/ 38 h 44"/>
                  <a:gd name="T84" fmla="*/ 29 w 34"/>
                  <a:gd name="T85"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 h="44">
                    <a:moveTo>
                      <a:pt x="29" y="41"/>
                    </a:moveTo>
                    <a:lnTo>
                      <a:pt x="26" y="42"/>
                    </a:lnTo>
                    <a:lnTo>
                      <a:pt x="24" y="44"/>
                    </a:lnTo>
                    <a:lnTo>
                      <a:pt x="22" y="42"/>
                    </a:lnTo>
                    <a:lnTo>
                      <a:pt x="22" y="42"/>
                    </a:lnTo>
                    <a:lnTo>
                      <a:pt x="19" y="44"/>
                    </a:lnTo>
                    <a:lnTo>
                      <a:pt x="16" y="44"/>
                    </a:lnTo>
                    <a:lnTo>
                      <a:pt x="12" y="42"/>
                    </a:lnTo>
                    <a:lnTo>
                      <a:pt x="10" y="40"/>
                    </a:lnTo>
                    <a:lnTo>
                      <a:pt x="5" y="38"/>
                    </a:lnTo>
                    <a:lnTo>
                      <a:pt x="5" y="38"/>
                    </a:lnTo>
                    <a:lnTo>
                      <a:pt x="4" y="36"/>
                    </a:lnTo>
                    <a:lnTo>
                      <a:pt x="0" y="33"/>
                    </a:lnTo>
                    <a:lnTo>
                      <a:pt x="0" y="33"/>
                    </a:lnTo>
                    <a:lnTo>
                      <a:pt x="1" y="27"/>
                    </a:lnTo>
                    <a:lnTo>
                      <a:pt x="0" y="22"/>
                    </a:lnTo>
                    <a:lnTo>
                      <a:pt x="0" y="22"/>
                    </a:lnTo>
                    <a:lnTo>
                      <a:pt x="5" y="19"/>
                    </a:lnTo>
                    <a:lnTo>
                      <a:pt x="11" y="17"/>
                    </a:lnTo>
                    <a:lnTo>
                      <a:pt x="16" y="18"/>
                    </a:lnTo>
                    <a:lnTo>
                      <a:pt x="19" y="15"/>
                    </a:lnTo>
                    <a:lnTo>
                      <a:pt x="19" y="15"/>
                    </a:lnTo>
                    <a:lnTo>
                      <a:pt x="19" y="13"/>
                    </a:lnTo>
                    <a:lnTo>
                      <a:pt x="16" y="11"/>
                    </a:lnTo>
                    <a:lnTo>
                      <a:pt x="19" y="7"/>
                    </a:lnTo>
                    <a:lnTo>
                      <a:pt x="16" y="6"/>
                    </a:lnTo>
                    <a:lnTo>
                      <a:pt x="16" y="4"/>
                    </a:lnTo>
                    <a:lnTo>
                      <a:pt x="26" y="0"/>
                    </a:lnTo>
                    <a:lnTo>
                      <a:pt x="27" y="0"/>
                    </a:lnTo>
                    <a:lnTo>
                      <a:pt x="27" y="0"/>
                    </a:lnTo>
                    <a:lnTo>
                      <a:pt x="30" y="3"/>
                    </a:lnTo>
                    <a:lnTo>
                      <a:pt x="33" y="6"/>
                    </a:lnTo>
                    <a:lnTo>
                      <a:pt x="33" y="6"/>
                    </a:lnTo>
                    <a:lnTo>
                      <a:pt x="34" y="10"/>
                    </a:lnTo>
                    <a:lnTo>
                      <a:pt x="34" y="18"/>
                    </a:lnTo>
                    <a:lnTo>
                      <a:pt x="33" y="30"/>
                    </a:lnTo>
                    <a:lnTo>
                      <a:pt x="34" y="33"/>
                    </a:lnTo>
                    <a:lnTo>
                      <a:pt x="31" y="36"/>
                    </a:lnTo>
                    <a:lnTo>
                      <a:pt x="30" y="33"/>
                    </a:lnTo>
                    <a:lnTo>
                      <a:pt x="29" y="34"/>
                    </a:lnTo>
                    <a:lnTo>
                      <a:pt x="30" y="37"/>
                    </a:lnTo>
                    <a:lnTo>
                      <a:pt x="27" y="38"/>
                    </a:lnTo>
                    <a:lnTo>
                      <a:pt x="29" y="4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6" name="Freeform 155">
                <a:extLst>
                  <a:ext uri="{FF2B5EF4-FFF2-40B4-BE49-F238E27FC236}">
                    <a16:creationId xmlns:a16="http://schemas.microsoft.com/office/drawing/2014/main" id="{DA622534-2468-430D-A9D4-7B5CF1BCB7CF}"/>
                  </a:ext>
                </a:extLst>
              </p:cNvPr>
              <p:cNvSpPr>
                <a:spLocks/>
              </p:cNvSpPr>
              <p:nvPr/>
            </p:nvSpPr>
            <p:spPr bwMode="auto">
              <a:xfrm>
                <a:off x="1722438" y="2846456"/>
                <a:ext cx="14288" cy="7938"/>
              </a:xfrm>
              <a:custGeom>
                <a:avLst/>
                <a:gdLst>
                  <a:gd name="T0" fmla="*/ 16 w 16"/>
                  <a:gd name="T1" fmla="*/ 4 h 10"/>
                  <a:gd name="T2" fmla="*/ 16 w 16"/>
                  <a:gd name="T3" fmla="*/ 6 h 10"/>
                  <a:gd name="T4" fmla="*/ 14 w 16"/>
                  <a:gd name="T5" fmla="*/ 4 h 10"/>
                  <a:gd name="T6" fmla="*/ 14 w 16"/>
                  <a:gd name="T7" fmla="*/ 4 h 10"/>
                  <a:gd name="T8" fmla="*/ 12 w 16"/>
                  <a:gd name="T9" fmla="*/ 7 h 10"/>
                  <a:gd name="T10" fmla="*/ 12 w 16"/>
                  <a:gd name="T11" fmla="*/ 10 h 10"/>
                  <a:gd name="T12" fmla="*/ 12 w 16"/>
                  <a:gd name="T13" fmla="*/ 10 h 10"/>
                  <a:gd name="T14" fmla="*/ 7 w 16"/>
                  <a:gd name="T15" fmla="*/ 8 h 10"/>
                  <a:gd name="T16" fmla="*/ 1 w 16"/>
                  <a:gd name="T17" fmla="*/ 8 h 10"/>
                  <a:gd name="T18" fmla="*/ 0 w 16"/>
                  <a:gd name="T19" fmla="*/ 7 h 10"/>
                  <a:gd name="T20" fmla="*/ 4 w 16"/>
                  <a:gd name="T21" fmla="*/ 6 h 10"/>
                  <a:gd name="T22" fmla="*/ 3 w 16"/>
                  <a:gd name="T23" fmla="*/ 3 h 10"/>
                  <a:gd name="T24" fmla="*/ 4 w 16"/>
                  <a:gd name="T25" fmla="*/ 1 h 10"/>
                  <a:gd name="T26" fmla="*/ 5 w 16"/>
                  <a:gd name="T27" fmla="*/ 3 h 10"/>
                  <a:gd name="T28" fmla="*/ 9 w 16"/>
                  <a:gd name="T29" fmla="*/ 0 h 10"/>
                  <a:gd name="T30" fmla="*/ 9 w 16"/>
                  <a:gd name="T31" fmla="*/ 0 h 10"/>
                  <a:gd name="T32" fmla="*/ 16 w 16"/>
                  <a:gd name="T33" fmla="*/ 4 h 10"/>
                  <a:gd name="T34" fmla="*/ 16 w 16"/>
                  <a:gd name="T3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0">
                    <a:moveTo>
                      <a:pt x="16" y="4"/>
                    </a:moveTo>
                    <a:lnTo>
                      <a:pt x="16" y="6"/>
                    </a:lnTo>
                    <a:lnTo>
                      <a:pt x="14" y="4"/>
                    </a:lnTo>
                    <a:lnTo>
                      <a:pt x="14" y="4"/>
                    </a:lnTo>
                    <a:lnTo>
                      <a:pt x="12" y="7"/>
                    </a:lnTo>
                    <a:lnTo>
                      <a:pt x="12" y="10"/>
                    </a:lnTo>
                    <a:lnTo>
                      <a:pt x="12" y="10"/>
                    </a:lnTo>
                    <a:lnTo>
                      <a:pt x="7" y="8"/>
                    </a:lnTo>
                    <a:lnTo>
                      <a:pt x="1" y="8"/>
                    </a:lnTo>
                    <a:lnTo>
                      <a:pt x="0" y="7"/>
                    </a:lnTo>
                    <a:lnTo>
                      <a:pt x="4" y="6"/>
                    </a:lnTo>
                    <a:lnTo>
                      <a:pt x="3" y="3"/>
                    </a:lnTo>
                    <a:lnTo>
                      <a:pt x="4" y="1"/>
                    </a:lnTo>
                    <a:lnTo>
                      <a:pt x="5" y="3"/>
                    </a:lnTo>
                    <a:lnTo>
                      <a:pt x="9" y="0"/>
                    </a:lnTo>
                    <a:lnTo>
                      <a:pt x="9" y="0"/>
                    </a:lnTo>
                    <a:lnTo>
                      <a:pt x="16" y="4"/>
                    </a:lnTo>
                    <a:lnTo>
                      <a:pt x="16"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7" name="Freeform 156">
                <a:extLst>
                  <a:ext uri="{FF2B5EF4-FFF2-40B4-BE49-F238E27FC236}">
                    <a16:creationId xmlns:a16="http://schemas.microsoft.com/office/drawing/2014/main" id="{E918C1D3-407B-43EF-8ACF-EA6B92A51777}"/>
                  </a:ext>
                </a:extLst>
              </p:cNvPr>
              <p:cNvSpPr>
                <a:spLocks/>
              </p:cNvSpPr>
              <p:nvPr/>
            </p:nvSpPr>
            <p:spPr bwMode="auto">
              <a:xfrm>
                <a:off x="2105025" y="2854394"/>
                <a:ext cx="17463" cy="11113"/>
              </a:xfrm>
              <a:custGeom>
                <a:avLst/>
                <a:gdLst>
                  <a:gd name="T0" fmla="*/ 3 w 23"/>
                  <a:gd name="T1" fmla="*/ 11 h 14"/>
                  <a:gd name="T2" fmla="*/ 0 w 23"/>
                  <a:gd name="T3" fmla="*/ 7 h 14"/>
                  <a:gd name="T4" fmla="*/ 4 w 23"/>
                  <a:gd name="T5" fmla="*/ 3 h 14"/>
                  <a:gd name="T6" fmla="*/ 6 w 23"/>
                  <a:gd name="T7" fmla="*/ 3 h 14"/>
                  <a:gd name="T8" fmla="*/ 4 w 23"/>
                  <a:gd name="T9" fmla="*/ 1 h 14"/>
                  <a:gd name="T10" fmla="*/ 6 w 23"/>
                  <a:gd name="T11" fmla="*/ 0 h 14"/>
                  <a:gd name="T12" fmla="*/ 8 w 23"/>
                  <a:gd name="T13" fmla="*/ 4 h 14"/>
                  <a:gd name="T14" fmla="*/ 12 w 23"/>
                  <a:gd name="T15" fmla="*/ 1 h 14"/>
                  <a:gd name="T16" fmla="*/ 14 w 23"/>
                  <a:gd name="T17" fmla="*/ 3 h 14"/>
                  <a:gd name="T18" fmla="*/ 14 w 23"/>
                  <a:gd name="T19" fmla="*/ 3 h 14"/>
                  <a:gd name="T20" fmla="*/ 18 w 23"/>
                  <a:gd name="T21" fmla="*/ 1 h 14"/>
                  <a:gd name="T22" fmla="*/ 21 w 23"/>
                  <a:gd name="T23" fmla="*/ 0 h 14"/>
                  <a:gd name="T24" fmla="*/ 23 w 23"/>
                  <a:gd name="T25" fmla="*/ 5 h 14"/>
                  <a:gd name="T26" fmla="*/ 22 w 23"/>
                  <a:gd name="T27" fmla="*/ 8 h 14"/>
                  <a:gd name="T28" fmla="*/ 22 w 23"/>
                  <a:gd name="T29" fmla="*/ 9 h 14"/>
                  <a:gd name="T30" fmla="*/ 19 w 23"/>
                  <a:gd name="T31" fmla="*/ 7 h 14"/>
                  <a:gd name="T32" fmla="*/ 18 w 23"/>
                  <a:gd name="T33" fmla="*/ 8 h 14"/>
                  <a:gd name="T34" fmla="*/ 19 w 23"/>
                  <a:gd name="T35" fmla="*/ 11 h 14"/>
                  <a:gd name="T36" fmla="*/ 17 w 23"/>
                  <a:gd name="T37" fmla="*/ 14 h 14"/>
                  <a:gd name="T38" fmla="*/ 14 w 23"/>
                  <a:gd name="T39" fmla="*/ 11 h 14"/>
                  <a:gd name="T40" fmla="*/ 12 w 23"/>
                  <a:gd name="T41" fmla="*/ 9 h 14"/>
                  <a:gd name="T42" fmla="*/ 10 w 23"/>
                  <a:gd name="T43" fmla="*/ 8 h 14"/>
                  <a:gd name="T44" fmla="*/ 7 w 23"/>
                  <a:gd name="T45" fmla="*/ 9 h 14"/>
                  <a:gd name="T46" fmla="*/ 3 w 23"/>
                  <a:gd name="T4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14">
                    <a:moveTo>
                      <a:pt x="3" y="11"/>
                    </a:moveTo>
                    <a:lnTo>
                      <a:pt x="0" y="7"/>
                    </a:lnTo>
                    <a:lnTo>
                      <a:pt x="4" y="3"/>
                    </a:lnTo>
                    <a:lnTo>
                      <a:pt x="6" y="3"/>
                    </a:lnTo>
                    <a:lnTo>
                      <a:pt x="4" y="1"/>
                    </a:lnTo>
                    <a:lnTo>
                      <a:pt x="6" y="0"/>
                    </a:lnTo>
                    <a:lnTo>
                      <a:pt x="8" y="4"/>
                    </a:lnTo>
                    <a:lnTo>
                      <a:pt x="12" y="1"/>
                    </a:lnTo>
                    <a:lnTo>
                      <a:pt x="14" y="3"/>
                    </a:lnTo>
                    <a:lnTo>
                      <a:pt x="14" y="3"/>
                    </a:lnTo>
                    <a:lnTo>
                      <a:pt x="18" y="1"/>
                    </a:lnTo>
                    <a:lnTo>
                      <a:pt x="21" y="0"/>
                    </a:lnTo>
                    <a:lnTo>
                      <a:pt x="23" y="5"/>
                    </a:lnTo>
                    <a:lnTo>
                      <a:pt x="22" y="8"/>
                    </a:lnTo>
                    <a:lnTo>
                      <a:pt x="22" y="9"/>
                    </a:lnTo>
                    <a:lnTo>
                      <a:pt x="19" y="7"/>
                    </a:lnTo>
                    <a:lnTo>
                      <a:pt x="18" y="8"/>
                    </a:lnTo>
                    <a:lnTo>
                      <a:pt x="19" y="11"/>
                    </a:lnTo>
                    <a:lnTo>
                      <a:pt x="17" y="14"/>
                    </a:lnTo>
                    <a:lnTo>
                      <a:pt x="14" y="11"/>
                    </a:lnTo>
                    <a:lnTo>
                      <a:pt x="12" y="9"/>
                    </a:lnTo>
                    <a:lnTo>
                      <a:pt x="10" y="8"/>
                    </a:lnTo>
                    <a:lnTo>
                      <a:pt x="7" y="9"/>
                    </a:lnTo>
                    <a:lnTo>
                      <a:pt x="3" y="1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8" name="Freeform 157">
                <a:extLst>
                  <a:ext uri="{FF2B5EF4-FFF2-40B4-BE49-F238E27FC236}">
                    <a16:creationId xmlns:a16="http://schemas.microsoft.com/office/drawing/2014/main" id="{8ACA5CF5-7F39-48C9-BFFB-0369BD82AAB8}"/>
                  </a:ext>
                </a:extLst>
              </p:cNvPr>
              <p:cNvSpPr>
                <a:spLocks/>
              </p:cNvSpPr>
              <p:nvPr/>
            </p:nvSpPr>
            <p:spPr bwMode="auto">
              <a:xfrm>
                <a:off x="1704975" y="2862331"/>
                <a:ext cx="14288" cy="17463"/>
              </a:xfrm>
              <a:custGeom>
                <a:avLst/>
                <a:gdLst>
                  <a:gd name="T0" fmla="*/ 4 w 18"/>
                  <a:gd name="T1" fmla="*/ 22 h 22"/>
                  <a:gd name="T2" fmla="*/ 5 w 18"/>
                  <a:gd name="T3" fmla="*/ 19 h 22"/>
                  <a:gd name="T4" fmla="*/ 3 w 18"/>
                  <a:gd name="T5" fmla="*/ 18 h 22"/>
                  <a:gd name="T6" fmla="*/ 0 w 18"/>
                  <a:gd name="T7" fmla="*/ 19 h 22"/>
                  <a:gd name="T8" fmla="*/ 0 w 18"/>
                  <a:gd name="T9" fmla="*/ 19 h 22"/>
                  <a:gd name="T10" fmla="*/ 3 w 18"/>
                  <a:gd name="T11" fmla="*/ 17 h 22"/>
                  <a:gd name="T12" fmla="*/ 1 w 18"/>
                  <a:gd name="T13" fmla="*/ 13 h 22"/>
                  <a:gd name="T14" fmla="*/ 5 w 18"/>
                  <a:gd name="T15" fmla="*/ 11 h 22"/>
                  <a:gd name="T16" fmla="*/ 4 w 18"/>
                  <a:gd name="T17" fmla="*/ 10 h 22"/>
                  <a:gd name="T18" fmla="*/ 4 w 18"/>
                  <a:gd name="T19" fmla="*/ 7 h 22"/>
                  <a:gd name="T20" fmla="*/ 3 w 18"/>
                  <a:gd name="T21" fmla="*/ 7 h 22"/>
                  <a:gd name="T22" fmla="*/ 4 w 18"/>
                  <a:gd name="T23" fmla="*/ 5 h 22"/>
                  <a:gd name="T24" fmla="*/ 5 w 18"/>
                  <a:gd name="T25" fmla="*/ 6 h 22"/>
                  <a:gd name="T26" fmla="*/ 8 w 18"/>
                  <a:gd name="T27" fmla="*/ 5 h 22"/>
                  <a:gd name="T28" fmla="*/ 11 w 18"/>
                  <a:gd name="T29" fmla="*/ 5 h 22"/>
                  <a:gd name="T30" fmla="*/ 12 w 18"/>
                  <a:gd name="T31" fmla="*/ 5 h 22"/>
                  <a:gd name="T32" fmla="*/ 12 w 18"/>
                  <a:gd name="T33" fmla="*/ 0 h 22"/>
                  <a:gd name="T34" fmla="*/ 15 w 18"/>
                  <a:gd name="T35" fmla="*/ 0 h 22"/>
                  <a:gd name="T36" fmla="*/ 16 w 18"/>
                  <a:gd name="T37" fmla="*/ 2 h 22"/>
                  <a:gd name="T38" fmla="*/ 16 w 18"/>
                  <a:gd name="T39" fmla="*/ 3 h 22"/>
                  <a:gd name="T40" fmla="*/ 15 w 18"/>
                  <a:gd name="T41" fmla="*/ 5 h 22"/>
                  <a:gd name="T42" fmla="*/ 18 w 18"/>
                  <a:gd name="T43" fmla="*/ 9 h 22"/>
                  <a:gd name="T44" fmla="*/ 13 w 18"/>
                  <a:gd name="T45" fmla="*/ 11 h 22"/>
                  <a:gd name="T46" fmla="*/ 13 w 18"/>
                  <a:gd name="T47" fmla="*/ 13 h 22"/>
                  <a:gd name="T48" fmla="*/ 16 w 18"/>
                  <a:gd name="T49" fmla="*/ 14 h 22"/>
                  <a:gd name="T50" fmla="*/ 16 w 18"/>
                  <a:gd name="T51" fmla="*/ 17 h 22"/>
                  <a:gd name="T52" fmla="*/ 13 w 18"/>
                  <a:gd name="T53" fmla="*/ 19 h 22"/>
                  <a:gd name="T54" fmla="*/ 5 w 18"/>
                  <a:gd name="T55" fmla="*/ 22 h 22"/>
                  <a:gd name="T56" fmla="*/ 4 w 18"/>
                  <a:gd name="T5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2">
                    <a:moveTo>
                      <a:pt x="4" y="22"/>
                    </a:moveTo>
                    <a:lnTo>
                      <a:pt x="5" y="19"/>
                    </a:lnTo>
                    <a:lnTo>
                      <a:pt x="3" y="18"/>
                    </a:lnTo>
                    <a:lnTo>
                      <a:pt x="0" y="19"/>
                    </a:lnTo>
                    <a:lnTo>
                      <a:pt x="0" y="19"/>
                    </a:lnTo>
                    <a:lnTo>
                      <a:pt x="3" y="17"/>
                    </a:lnTo>
                    <a:lnTo>
                      <a:pt x="1" y="13"/>
                    </a:lnTo>
                    <a:lnTo>
                      <a:pt x="5" y="11"/>
                    </a:lnTo>
                    <a:lnTo>
                      <a:pt x="4" y="10"/>
                    </a:lnTo>
                    <a:lnTo>
                      <a:pt x="4" y="7"/>
                    </a:lnTo>
                    <a:lnTo>
                      <a:pt x="3" y="7"/>
                    </a:lnTo>
                    <a:lnTo>
                      <a:pt x="4" y="5"/>
                    </a:lnTo>
                    <a:lnTo>
                      <a:pt x="5" y="6"/>
                    </a:lnTo>
                    <a:lnTo>
                      <a:pt x="8" y="5"/>
                    </a:lnTo>
                    <a:lnTo>
                      <a:pt x="11" y="5"/>
                    </a:lnTo>
                    <a:lnTo>
                      <a:pt x="12" y="5"/>
                    </a:lnTo>
                    <a:lnTo>
                      <a:pt x="12" y="0"/>
                    </a:lnTo>
                    <a:lnTo>
                      <a:pt x="15" y="0"/>
                    </a:lnTo>
                    <a:lnTo>
                      <a:pt x="16" y="2"/>
                    </a:lnTo>
                    <a:lnTo>
                      <a:pt x="16" y="3"/>
                    </a:lnTo>
                    <a:lnTo>
                      <a:pt x="15" y="5"/>
                    </a:lnTo>
                    <a:lnTo>
                      <a:pt x="18" y="9"/>
                    </a:lnTo>
                    <a:lnTo>
                      <a:pt x="13" y="11"/>
                    </a:lnTo>
                    <a:lnTo>
                      <a:pt x="13" y="13"/>
                    </a:lnTo>
                    <a:lnTo>
                      <a:pt x="16" y="14"/>
                    </a:lnTo>
                    <a:lnTo>
                      <a:pt x="16" y="17"/>
                    </a:lnTo>
                    <a:lnTo>
                      <a:pt x="13" y="19"/>
                    </a:lnTo>
                    <a:lnTo>
                      <a:pt x="5" y="22"/>
                    </a:lnTo>
                    <a:lnTo>
                      <a:pt x="4" y="2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29" name="Freeform 158">
                <a:extLst>
                  <a:ext uri="{FF2B5EF4-FFF2-40B4-BE49-F238E27FC236}">
                    <a16:creationId xmlns:a16="http://schemas.microsoft.com/office/drawing/2014/main" id="{ADE15048-BDB3-4A75-B8D8-E826B4AD4E24}"/>
                  </a:ext>
                </a:extLst>
              </p:cNvPr>
              <p:cNvSpPr>
                <a:spLocks/>
              </p:cNvSpPr>
              <p:nvPr/>
            </p:nvSpPr>
            <p:spPr bwMode="auto">
              <a:xfrm>
                <a:off x="2216150" y="2873444"/>
                <a:ext cx="22225" cy="11113"/>
              </a:xfrm>
              <a:custGeom>
                <a:avLst/>
                <a:gdLst>
                  <a:gd name="T0" fmla="*/ 28 w 29"/>
                  <a:gd name="T1" fmla="*/ 10 h 14"/>
                  <a:gd name="T2" fmla="*/ 23 w 29"/>
                  <a:gd name="T3" fmla="*/ 11 h 14"/>
                  <a:gd name="T4" fmla="*/ 21 w 29"/>
                  <a:gd name="T5" fmla="*/ 10 h 14"/>
                  <a:gd name="T6" fmla="*/ 19 w 29"/>
                  <a:gd name="T7" fmla="*/ 12 h 14"/>
                  <a:gd name="T8" fmla="*/ 19 w 29"/>
                  <a:gd name="T9" fmla="*/ 12 h 14"/>
                  <a:gd name="T10" fmla="*/ 15 w 29"/>
                  <a:gd name="T11" fmla="*/ 14 h 14"/>
                  <a:gd name="T12" fmla="*/ 10 w 29"/>
                  <a:gd name="T13" fmla="*/ 12 h 14"/>
                  <a:gd name="T14" fmla="*/ 6 w 29"/>
                  <a:gd name="T15" fmla="*/ 11 h 14"/>
                  <a:gd name="T16" fmla="*/ 0 w 29"/>
                  <a:gd name="T17" fmla="*/ 11 h 14"/>
                  <a:gd name="T18" fmla="*/ 0 w 29"/>
                  <a:gd name="T19" fmla="*/ 11 h 14"/>
                  <a:gd name="T20" fmla="*/ 2 w 29"/>
                  <a:gd name="T21" fmla="*/ 5 h 14"/>
                  <a:gd name="T22" fmla="*/ 4 w 29"/>
                  <a:gd name="T23" fmla="*/ 0 h 14"/>
                  <a:gd name="T24" fmla="*/ 7 w 29"/>
                  <a:gd name="T25" fmla="*/ 0 h 14"/>
                  <a:gd name="T26" fmla="*/ 7 w 29"/>
                  <a:gd name="T27" fmla="*/ 0 h 14"/>
                  <a:gd name="T28" fmla="*/ 10 w 29"/>
                  <a:gd name="T29" fmla="*/ 0 h 14"/>
                  <a:gd name="T30" fmla="*/ 14 w 29"/>
                  <a:gd name="T31" fmla="*/ 1 h 14"/>
                  <a:gd name="T32" fmla="*/ 18 w 29"/>
                  <a:gd name="T33" fmla="*/ 4 h 14"/>
                  <a:gd name="T34" fmla="*/ 19 w 29"/>
                  <a:gd name="T35" fmla="*/ 7 h 14"/>
                  <a:gd name="T36" fmla="*/ 22 w 29"/>
                  <a:gd name="T37" fmla="*/ 4 h 14"/>
                  <a:gd name="T38" fmla="*/ 29 w 29"/>
                  <a:gd name="T39" fmla="*/ 8 h 14"/>
                  <a:gd name="T40" fmla="*/ 28 w 29"/>
                  <a:gd name="T41"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14">
                    <a:moveTo>
                      <a:pt x="28" y="10"/>
                    </a:moveTo>
                    <a:lnTo>
                      <a:pt x="23" y="11"/>
                    </a:lnTo>
                    <a:lnTo>
                      <a:pt x="21" y="10"/>
                    </a:lnTo>
                    <a:lnTo>
                      <a:pt x="19" y="12"/>
                    </a:lnTo>
                    <a:lnTo>
                      <a:pt x="19" y="12"/>
                    </a:lnTo>
                    <a:lnTo>
                      <a:pt x="15" y="14"/>
                    </a:lnTo>
                    <a:lnTo>
                      <a:pt x="10" y="12"/>
                    </a:lnTo>
                    <a:lnTo>
                      <a:pt x="6" y="11"/>
                    </a:lnTo>
                    <a:lnTo>
                      <a:pt x="0" y="11"/>
                    </a:lnTo>
                    <a:lnTo>
                      <a:pt x="0" y="11"/>
                    </a:lnTo>
                    <a:lnTo>
                      <a:pt x="2" y="5"/>
                    </a:lnTo>
                    <a:lnTo>
                      <a:pt x="4" y="0"/>
                    </a:lnTo>
                    <a:lnTo>
                      <a:pt x="7" y="0"/>
                    </a:lnTo>
                    <a:lnTo>
                      <a:pt x="7" y="0"/>
                    </a:lnTo>
                    <a:lnTo>
                      <a:pt x="10" y="0"/>
                    </a:lnTo>
                    <a:lnTo>
                      <a:pt x="14" y="1"/>
                    </a:lnTo>
                    <a:lnTo>
                      <a:pt x="18" y="4"/>
                    </a:lnTo>
                    <a:lnTo>
                      <a:pt x="19" y="7"/>
                    </a:lnTo>
                    <a:lnTo>
                      <a:pt x="22" y="4"/>
                    </a:lnTo>
                    <a:lnTo>
                      <a:pt x="29" y="8"/>
                    </a:lnTo>
                    <a:lnTo>
                      <a:pt x="28" y="1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0" name="Freeform 159">
                <a:extLst>
                  <a:ext uri="{FF2B5EF4-FFF2-40B4-BE49-F238E27FC236}">
                    <a16:creationId xmlns:a16="http://schemas.microsoft.com/office/drawing/2014/main" id="{5447438E-D344-496E-BC7B-C1EB0206249B}"/>
                  </a:ext>
                </a:extLst>
              </p:cNvPr>
              <p:cNvSpPr>
                <a:spLocks/>
              </p:cNvSpPr>
              <p:nvPr/>
            </p:nvSpPr>
            <p:spPr bwMode="auto">
              <a:xfrm>
                <a:off x="1706563" y="2881381"/>
                <a:ext cx="12700" cy="7938"/>
              </a:xfrm>
              <a:custGeom>
                <a:avLst/>
                <a:gdLst>
                  <a:gd name="T0" fmla="*/ 0 w 16"/>
                  <a:gd name="T1" fmla="*/ 1 h 8"/>
                  <a:gd name="T2" fmla="*/ 0 w 16"/>
                  <a:gd name="T3" fmla="*/ 1 h 8"/>
                  <a:gd name="T4" fmla="*/ 8 w 16"/>
                  <a:gd name="T5" fmla="*/ 0 h 8"/>
                  <a:gd name="T6" fmla="*/ 12 w 16"/>
                  <a:gd name="T7" fmla="*/ 1 h 8"/>
                  <a:gd name="T8" fmla="*/ 15 w 16"/>
                  <a:gd name="T9" fmla="*/ 1 h 8"/>
                  <a:gd name="T10" fmla="*/ 16 w 16"/>
                  <a:gd name="T11" fmla="*/ 4 h 8"/>
                  <a:gd name="T12" fmla="*/ 12 w 16"/>
                  <a:gd name="T13" fmla="*/ 4 h 8"/>
                  <a:gd name="T14" fmla="*/ 10 w 16"/>
                  <a:gd name="T15" fmla="*/ 5 h 8"/>
                  <a:gd name="T16" fmla="*/ 9 w 16"/>
                  <a:gd name="T17" fmla="*/ 7 h 8"/>
                  <a:gd name="T18" fmla="*/ 8 w 16"/>
                  <a:gd name="T19" fmla="*/ 8 h 8"/>
                  <a:gd name="T20" fmla="*/ 6 w 16"/>
                  <a:gd name="T21" fmla="*/ 7 h 8"/>
                  <a:gd name="T22" fmla="*/ 6 w 16"/>
                  <a:gd name="T23" fmla="*/ 7 h 8"/>
                  <a:gd name="T24" fmla="*/ 4 w 16"/>
                  <a:gd name="T25" fmla="*/ 4 h 8"/>
                  <a:gd name="T26" fmla="*/ 0 w 16"/>
                  <a:gd name="T27" fmla="*/ 3 h 8"/>
                  <a:gd name="T28" fmla="*/ 0 w 16"/>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8">
                    <a:moveTo>
                      <a:pt x="0" y="1"/>
                    </a:moveTo>
                    <a:lnTo>
                      <a:pt x="0" y="1"/>
                    </a:lnTo>
                    <a:lnTo>
                      <a:pt x="8" y="0"/>
                    </a:lnTo>
                    <a:lnTo>
                      <a:pt x="12" y="1"/>
                    </a:lnTo>
                    <a:lnTo>
                      <a:pt x="15" y="1"/>
                    </a:lnTo>
                    <a:lnTo>
                      <a:pt x="16" y="4"/>
                    </a:lnTo>
                    <a:lnTo>
                      <a:pt x="12" y="4"/>
                    </a:lnTo>
                    <a:lnTo>
                      <a:pt x="10" y="5"/>
                    </a:lnTo>
                    <a:lnTo>
                      <a:pt x="9" y="7"/>
                    </a:lnTo>
                    <a:lnTo>
                      <a:pt x="8" y="8"/>
                    </a:lnTo>
                    <a:lnTo>
                      <a:pt x="6" y="7"/>
                    </a:lnTo>
                    <a:lnTo>
                      <a:pt x="6" y="7"/>
                    </a:lnTo>
                    <a:lnTo>
                      <a:pt x="4" y="4"/>
                    </a:lnTo>
                    <a:lnTo>
                      <a:pt x="0" y="3"/>
                    </a:lnTo>
                    <a:lnTo>
                      <a:pt x="0"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1" name="Freeform 160">
                <a:extLst>
                  <a:ext uri="{FF2B5EF4-FFF2-40B4-BE49-F238E27FC236}">
                    <a16:creationId xmlns:a16="http://schemas.microsoft.com/office/drawing/2014/main" id="{31DCF7E9-28CE-4ADB-878A-7A59AC24A130}"/>
                  </a:ext>
                </a:extLst>
              </p:cNvPr>
              <p:cNvSpPr>
                <a:spLocks/>
              </p:cNvSpPr>
              <p:nvPr/>
            </p:nvSpPr>
            <p:spPr bwMode="auto">
              <a:xfrm>
                <a:off x="2200275" y="2932181"/>
                <a:ext cx="1588" cy="4763"/>
              </a:xfrm>
              <a:custGeom>
                <a:avLst/>
                <a:gdLst>
                  <a:gd name="T0" fmla="*/ 0 w 3"/>
                  <a:gd name="T1" fmla="*/ 4 h 5"/>
                  <a:gd name="T2" fmla="*/ 1 w 3"/>
                  <a:gd name="T3" fmla="*/ 0 h 5"/>
                  <a:gd name="T4" fmla="*/ 3 w 3"/>
                  <a:gd name="T5" fmla="*/ 5 h 5"/>
                  <a:gd name="T6" fmla="*/ 0 w 3"/>
                  <a:gd name="T7" fmla="*/ 4 h 5"/>
                </a:gdLst>
                <a:ahLst/>
                <a:cxnLst>
                  <a:cxn ang="0">
                    <a:pos x="T0" y="T1"/>
                  </a:cxn>
                  <a:cxn ang="0">
                    <a:pos x="T2" y="T3"/>
                  </a:cxn>
                  <a:cxn ang="0">
                    <a:pos x="T4" y="T5"/>
                  </a:cxn>
                  <a:cxn ang="0">
                    <a:pos x="T6" y="T7"/>
                  </a:cxn>
                </a:cxnLst>
                <a:rect l="0" t="0" r="r" b="b"/>
                <a:pathLst>
                  <a:path w="3" h="5">
                    <a:moveTo>
                      <a:pt x="0" y="4"/>
                    </a:moveTo>
                    <a:lnTo>
                      <a:pt x="1" y="0"/>
                    </a:lnTo>
                    <a:lnTo>
                      <a:pt x="3" y="5"/>
                    </a:lnTo>
                    <a:lnTo>
                      <a:pt x="0"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2" name="Freeform 161">
                <a:extLst>
                  <a:ext uri="{FF2B5EF4-FFF2-40B4-BE49-F238E27FC236}">
                    <a16:creationId xmlns:a16="http://schemas.microsoft.com/office/drawing/2014/main" id="{59339D66-DB26-4F9D-9234-53DB38A4D805}"/>
                  </a:ext>
                </a:extLst>
              </p:cNvPr>
              <p:cNvSpPr>
                <a:spLocks/>
              </p:cNvSpPr>
              <p:nvPr/>
            </p:nvSpPr>
            <p:spPr bwMode="auto">
              <a:xfrm>
                <a:off x="2198688" y="2941706"/>
                <a:ext cx="12700" cy="4763"/>
              </a:xfrm>
              <a:custGeom>
                <a:avLst/>
                <a:gdLst>
                  <a:gd name="T0" fmla="*/ 4 w 15"/>
                  <a:gd name="T1" fmla="*/ 6 h 6"/>
                  <a:gd name="T2" fmla="*/ 0 w 15"/>
                  <a:gd name="T3" fmla="*/ 5 h 6"/>
                  <a:gd name="T4" fmla="*/ 4 w 15"/>
                  <a:gd name="T5" fmla="*/ 0 h 6"/>
                  <a:gd name="T6" fmla="*/ 4 w 15"/>
                  <a:gd name="T7" fmla="*/ 2 h 6"/>
                  <a:gd name="T8" fmla="*/ 2 w 15"/>
                  <a:gd name="T9" fmla="*/ 5 h 6"/>
                  <a:gd name="T10" fmla="*/ 2 w 15"/>
                  <a:gd name="T11" fmla="*/ 6 h 6"/>
                  <a:gd name="T12" fmla="*/ 5 w 15"/>
                  <a:gd name="T13" fmla="*/ 2 h 6"/>
                  <a:gd name="T14" fmla="*/ 5 w 15"/>
                  <a:gd name="T15" fmla="*/ 1 h 6"/>
                  <a:gd name="T16" fmla="*/ 8 w 15"/>
                  <a:gd name="T17" fmla="*/ 0 h 6"/>
                  <a:gd name="T18" fmla="*/ 9 w 15"/>
                  <a:gd name="T19" fmla="*/ 1 h 6"/>
                  <a:gd name="T20" fmla="*/ 11 w 15"/>
                  <a:gd name="T21" fmla="*/ 4 h 6"/>
                  <a:gd name="T22" fmla="*/ 12 w 15"/>
                  <a:gd name="T23" fmla="*/ 4 h 6"/>
                  <a:gd name="T24" fmla="*/ 15 w 15"/>
                  <a:gd name="T25" fmla="*/ 6 h 6"/>
                  <a:gd name="T26" fmla="*/ 15 w 15"/>
                  <a:gd name="T27" fmla="*/ 6 h 6"/>
                  <a:gd name="T28" fmla="*/ 12 w 15"/>
                  <a:gd name="T29" fmla="*/ 6 h 6"/>
                  <a:gd name="T30" fmla="*/ 9 w 15"/>
                  <a:gd name="T31" fmla="*/ 6 h 6"/>
                  <a:gd name="T32" fmla="*/ 6 w 15"/>
                  <a:gd name="T33" fmla="*/ 6 h 6"/>
                  <a:gd name="T34" fmla="*/ 4 w 15"/>
                  <a:gd name="T35" fmla="*/ 6 h 6"/>
                  <a:gd name="T36" fmla="*/ 4 w 15"/>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6">
                    <a:moveTo>
                      <a:pt x="4" y="6"/>
                    </a:moveTo>
                    <a:lnTo>
                      <a:pt x="0" y="5"/>
                    </a:lnTo>
                    <a:lnTo>
                      <a:pt x="4" y="0"/>
                    </a:lnTo>
                    <a:lnTo>
                      <a:pt x="4" y="2"/>
                    </a:lnTo>
                    <a:lnTo>
                      <a:pt x="2" y="5"/>
                    </a:lnTo>
                    <a:lnTo>
                      <a:pt x="2" y="6"/>
                    </a:lnTo>
                    <a:lnTo>
                      <a:pt x="5" y="2"/>
                    </a:lnTo>
                    <a:lnTo>
                      <a:pt x="5" y="1"/>
                    </a:lnTo>
                    <a:lnTo>
                      <a:pt x="8" y="0"/>
                    </a:lnTo>
                    <a:lnTo>
                      <a:pt x="9" y="1"/>
                    </a:lnTo>
                    <a:lnTo>
                      <a:pt x="11" y="4"/>
                    </a:lnTo>
                    <a:lnTo>
                      <a:pt x="12" y="4"/>
                    </a:lnTo>
                    <a:lnTo>
                      <a:pt x="15" y="6"/>
                    </a:lnTo>
                    <a:lnTo>
                      <a:pt x="15" y="6"/>
                    </a:lnTo>
                    <a:lnTo>
                      <a:pt x="12" y="6"/>
                    </a:lnTo>
                    <a:lnTo>
                      <a:pt x="9" y="6"/>
                    </a:lnTo>
                    <a:lnTo>
                      <a:pt x="6" y="6"/>
                    </a:lnTo>
                    <a:lnTo>
                      <a:pt x="4" y="6"/>
                    </a:lnTo>
                    <a:lnTo>
                      <a:pt x="4" y="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3" name="Freeform 162">
                <a:extLst>
                  <a:ext uri="{FF2B5EF4-FFF2-40B4-BE49-F238E27FC236}">
                    <a16:creationId xmlns:a16="http://schemas.microsoft.com/office/drawing/2014/main" id="{8D476738-6976-4A63-96D0-E7B418A72788}"/>
                  </a:ext>
                </a:extLst>
              </p:cNvPr>
              <p:cNvSpPr>
                <a:spLocks/>
              </p:cNvSpPr>
              <p:nvPr/>
            </p:nvSpPr>
            <p:spPr bwMode="auto">
              <a:xfrm>
                <a:off x="2214563" y="2940119"/>
                <a:ext cx="7938" cy="9525"/>
              </a:xfrm>
              <a:custGeom>
                <a:avLst/>
                <a:gdLst>
                  <a:gd name="T0" fmla="*/ 1 w 9"/>
                  <a:gd name="T1" fmla="*/ 11 h 12"/>
                  <a:gd name="T2" fmla="*/ 0 w 9"/>
                  <a:gd name="T3" fmla="*/ 7 h 12"/>
                  <a:gd name="T4" fmla="*/ 5 w 9"/>
                  <a:gd name="T5" fmla="*/ 0 h 12"/>
                  <a:gd name="T6" fmla="*/ 9 w 9"/>
                  <a:gd name="T7" fmla="*/ 3 h 12"/>
                  <a:gd name="T8" fmla="*/ 9 w 9"/>
                  <a:gd name="T9" fmla="*/ 7 h 12"/>
                  <a:gd name="T10" fmla="*/ 6 w 9"/>
                  <a:gd name="T11" fmla="*/ 8 h 12"/>
                  <a:gd name="T12" fmla="*/ 5 w 9"/>
                  <a:gd name="T13" fmla="*/ 11 h 12"/>
                  <a:gd name="T14" fmla="*/ 4 w 9"/>
                  <a:gd name="T15" fmla="*/ 11 h 12"/>
                  <a:gd name="T16" fmla="*/ 2 w 9"/>
                  <a:gd name="T17" fmla="*/ 12 h 12"/>
                  <a:gd name="T18" fmla="*/ 1 w 9"/>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1" y="11"/>
                    </a:moveTo>
                    <a:lnTo>
                      <a:pt x="0" y="7"/>
                    </a:lnTo>
                    <a:lnTo>
                      <a:pt x="5" y="0"/>
                    </a:lnTo>
                    <a:lnTo>
                      <a:pt x="9" y="3"/>
                    </a:lnTo>
                    <a:lnTo>
                      <a:pt x="9" y="7"/>
                    </a:lnTo>
                    <a:lnTo>
                      <a:pt x="6" y="8"/>
                    </a:lnTo>
                    <a:lnTo>
                      <a:pt x="5" y="11"/>
                    </a:lnTo>
                    <a:lnTo>
                      <a:pt x="4" y="11"/>
                    </a:lnTo>
                    <a:lnTo>
                      <a:pt x="2" y="12"/>
                    </a:lnTo>
                    <a:lnTo>
                      <a:pt x="1" y="1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4" name="Freeform 163">
                <a:extLst>
                  <a:ext uri="{FF2B5EF4-FFF2-40B4-BE49-F238E27FC236}">
                    <a16:creationId xmlns:a16="http://schemas.microsoft.com/office/drawing/2014/main" id="{8E39EE30-2FA4-4AFC-9C86-972C14D82F79}"/>
                  </a:ext>
                </a:extLst>
              </p:cNvPr>
              <p:cNvSpPr>
                <a:spLocks/>
              </p:cNvSpPr>
              <p:nvPr/>
            </p:nvSpPr>
            <p:spPr bwMode="auto">
              <a:xfrm>
                <a:off x="2171700" y="2962344"/>
                <a:ext cx="4763" cy="6350"/>
              </a:xfrm>
              <a:custGeom>
                <a:avLst/>
                <a:gdLst>
                  <a:gd name="T0" fmla="*/ 2 w 7"/>
                  <a:gd name="T1" fmla="*/ 0 h 8"/>
                  <a:gd name="T2" fmla="*/ 6 w 7"/>
                  <a:gd name="T3" fmla="*/ 4 h 8"/>
                  <a:gd name="T4" fmla="*/ 7 w 7"/>
                  <a:gd name="T5" fmla="*/ 8 h 8"/>
                  <a:gd name="T6" fmla="*/ 0 w 7"/>
                  <a:gd name="T7" fmla="*/ 4 h 8"/>
                  <a:gd name="T8" fmla="*/ 0 w 7"/>
                  <a:gd name="T9" fmla="*/ 0 h 8"/>
                  <a:gd name="T10" fmla="*/ 2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2" y="0"/>
                    </a:moveTo>
                    <a:lnTo>
                      <a:pt x="6" y="4"/>
                    </a:lnTo>
                    <a:lnTo>
                      <a:pt x="7" y="8"/>
                    </a:lnTo>
                    <a:lnTo>
                      <a:pt x="0" y="4"/>
                    </a:lnTo>
                    <a:lnTo>
                      <a:pt x="0" y="0"/>
                    </a:lnTo>
                    <a:lnTo>
                      <a:pt x="2"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5" name="Freeform 164">
                <a:extLst>
                  <a:ext uri="{FF2B5EF4-FFF2-40B4-BE49-F238E27FC236}">
                    <a16:creationId xmlns:a16="http://schemas.microsoft.com/office/drawing/2014/main" id="{57135D1C-4C6E-4004-A276-937CBF50F8AA}"/>
                  </a:ext>
                </a:extLst>
              </p:cNvPr>
              <p:cNvSpPr>
                <a:spLocks/>
              </p:cNvSpPr>
              <p:nvPr/>
            </p:nvSpPr>
            <p:spPr bwMode="auto">
              <a:xfrm>
                <a:off x="2357438" y="2976631"/>
                <a:ext cx="6350" cy="9525"/>
              </a:xfrm>
              <a:custGeom>
                <a:avLst/>
                <a:gdLst>
                  <a:gd name="T0" fmla="*/ 8 w 8"/>
                  <a:gd name="T1" fmla="*/ 2 h 11"/>
                  <a:gd name="T2" fmla="*/ 8 w 8"/>
                  <a:gd name="T3" fmla="*/ 2 h 11"/>
                  <a:gd name="T4" fmla="*/ 7 w 8"/>
                  <a:gd name="T5" fmla="*/ 6 h 11"/>
                  <a:gd name="T6" fmla="*/ 4 w 8"/>
                  <a:gd name="T7" fmla="*/ 11 h 11"/>
                  <a:gd name="T8" fmla="*/ 3 w 8"/>
                  <a:gd name="T9" fmla="*/ 11 h 11"/>
                  <a:gd name="T10" fmla="*/ 0 w 8"/>
                  <a:gd name="T11" fmla="*/ 6 h 11"/>
                  <a:gd name="T12" fmla="*/ 1 w 8"/>
                  <a:gd name="T13" fmla="*/ 3 h 11"/>
                  <a:gd name="T14" fmla="*/ 7 w 8"/>
                  <a:gd name="T15" fmla="*/ 0 h 11"/>
                  <a:gd name="T16" fmla="*/ 8 w 8"/>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8" y="2"/>
                    </a:moveTo>
                    <a:lnTo>
                      <a:pt x="8" y="2"/>
                    </a:lnTo>
                    <a:lnTo>
                      <a:pt x="7" y="6"/>
                    </a:lnTo>
                    <a:lnTo>
                      <a:pt x="4" y="11"/>
                    </a:lnTo>
                    <a:lnTo>
                      <a:pt x="3" y="11"/>
                    </a:lnTo>
                    <a:lnTo>
                      <a:pt x="0" y="6"/>
                    </a:lnTo>
                    <a:lnTo>
                      <a:pt x="1" y="3"/>
                    </a:lnTo>
                    <a:lnTo>
                      <a:pt x="7" y="0"/>
                    </a:lnTo>
                    <a:lnTo>
                      <a:pt x="8"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6" name="Freeform 165">
                <a:extLst>
                  <a:ext uri="{FF2B5EF4-FFF2-40B4-BE49-F238E27FC236}">
                    <a16:creationId xmlns:a16="http://schemas.microsoft.com/office/drawing/2014/main" id="{C93B38EB-509B-4865-8B50-1ABEDAD2CEAF}"/>
                  </a:ext>
                </a:extLst>
              </p:cNvPr>
              <p:cNvSpPr>
                <a:spLocks/>
              </p:cNvSpPr>
              <p:nvPr/>
            </p:nvSpPr>
            <p:spPr bwMode="auto">
              <a:xfrm>
                <a:off x="1981200" y="2930594"/>
                <a:ext cx="73025" cy="61913"/>
              </a:xfrm>
              <a:custGeom>
                <a:avLst/>
                <a:gdLst>
                  <a:gd name="T0" fmla="*/ 75 w 93"/>
                  <a:gd name="T1" fmla="*/ 4 h 79"/>
                  <a:gd name="T2" fmla="*/ 78 w 93"/>
                  <a:gd name="T3" fmla="*/ 5 h 79"/>
                  <a:gd name="T4" fmla="*/ 79 w 93"/>
                  <a:gd name="T5" fmla="*/ 0 h 79"/>
                  <a:gd name="T6" fmla="*/ 84 w 93"/>
                  <a:gd name="T7" fmla="*/ 1 h 79"/>
                  <a:gd name="T8" fmla="*/ 93 w 93"/>
                  <a:gd name="T9" fmla="*/ 3 h 79"/>
                  <a:gd name="T10" fmla="*/ 91 w 93"/>
                  <a:gd name="T11" fmla="*/ 7 h 79"/>
                  <a:gd name="T12" fmla="*/ 91 w 93"/>
                  <a:gd name="T13" fmla="*/ 9 h 79"/>
                  <a:gd name="T14" fmla="*/ 91 w 93"/>
                  <a:gd name="T15" fmla="*/ 12 h 79"/>
                  <a:gd name="T16" fmla="*/ 87 w 93"/>
                  <a:gd name="T17" fmla="*/ 23 h 79"/>
                  <a:gd name="T18" fmla="*/ 84 w 93"/>
                  <a:gd name="T19" fmla="*/ 27 h 79"/>
                  <a:gd name="T20" fmla="*/ 80 w 93"/>
                  <a:gd name="T21" fmla="*/ 32 h 79"/>
                  <a:gd name="T22" fmla="*/ 78 w 93"/>
                  <a:gd name="T23" fmla="*/ 39 h 79"/>
                  <a:gd name="T24" fmla="*/ 76 w 93"/>
                  <a:gd name="T25" fmla="*/ 42 h 79"/>
                  <a:gd name="T26" fmla="*/ 72 w 93"/>
                  <a:gd name="T27" fmla="*/ 45 h 79"/>
                  <a:gd name="T28" fmla="*/ 68 w 93"/>
                  <a:gd name="T29" fmla="*/ 41 h 79"/>
                  <a:gd name="T30" fmla="*/ 65 w 93"/>
                  <a:gd name="T31" fmla="*/ 37 h 79"/>
                  <a:gd name="T32" fmla="*/ 64 w 93"/>
                  <a:gd name="T33" fmla="*/ 50 h 79"/>
                  <a:gd name="T34" fmla="*/ 61 w 93"/>
                  <a:gd name="T35" fmla="*/ 53 h 79"/>
                  <a:gd name="T36" fmla="*/ 57 w 93"/>
                  <a:gd name="T37" fmla="*/ 58 h 79"/>
                  <a:gd name="T38" fmla="*/ 53 w 93"/>
                  <a:gd name="T39" fmla="*/ 58 h 79"/>
                  <a:gd name="T40" fmla="*/ 52 w 93"/>
                  <a:gd name="T41" fmla="*/ 64 h 79"/>
                  <a:gd name="T42" fmla="*/ 48 w 93"/>
                  <a:gd name="T43" fmla="*/ 65 h 79"/>
                  <a:gd name="T44" fmla="*/ 46 w 93"/>
                  <a:gd name="T45" fmla="*/ 62 h 79"/>
                  <a:gd name="T46" fmla="*/ 45 w 93"/>
                  <a:gd name="T47" fmla="*/ 62 h 79"/>
                  <a:gd name="T48" fmla="*/ 41 w 93"/>
                  <a:gd name="T49" fmla="*/ 65 h 79"/>
                  <a:gd name="T50" fmla="*/ 36 w 93"/>
                  <a:gd name="T51" fmla="*/ 69 h 79"/>
                  <a:gd name="T52" fmla="*/ 31 w 93"/>
                  <a:gd name="T53" fmla="*/ 69 h 79"/>
                  <a:gd name="T54" fmla="*/ 33 w 93"/>
                  <a:gd name="T55" fmla="*/ 65 h 79"/>
                  <a:gd name="T56" fmla="*/ 29 w 93"/>
                  <a:gd name="T57" fmla="*/ 61 h 79"/>
                  <a:gd name="T58" fmla="*/ 27 w 93"/>
                  <a:gd name="T59" fmla="*/ 69 h 79"/>
                  <a:gd name="T60" fmla="*/ 23 w 93"/>
                  <a:gd name="T61" fmla="*/ 73 h 79"/>
                  <a:gd name="T62" fmla="*/ 22 w 93"/>
                  <a:gd name="T63" fmla="*/ 68 h 79"/>
                  <a:gd name="T64" fmla="*/ 17 w 93"/>
                  <a:gd name="T65" fmla="*/ 66 h 79"/>
                  <a:gd name="T66" fmla="*/ 10 w 93"/>
                  <a:gd name="T67" fmla="*/ 68 h 79"/>
                  <a:gd name="T68" fmla="*/ 7 w 93"/>
                  <a:gd name="T69" fmla="*/ 79 h 79"/>
                  <a:gd name="T70" fmla="*/ 0 w 93"/>
                  <a:gd name="T71" fmla="*/ 72 h 79"/>
                  <a:gd name="T72" fmla="*/ 2 w 93"/>
                  <a:gd name="T73" fmla="*/ 66 h 79"/>
                  <a:gd name="T74" fmla="*/ 3 w 93"/>
                  <a:gd name="T75" fmla="*/ 68 h 79"/>
                  <a:gd name="T76" fmla="*/ 7 w 93"/>
                  <a:gd name="T77" fmla="*/ 64 h 79"/>
                  <a:gd name="T78" fmla="*/ 11 w 93"/>
                  <a:gd name="T79" fmla="*/ 60 h 79"/>
                  <a:gd name="T80" fmla="*/ 17 w 93"/>
                  <a:gd name="T81" fmla="*/ 61 h 79"/>
                  <a:gd name="T82" fmla="*/ 18 w 93"/>
                  <a:gd name="T83" fmla="*/ 57 h 79"/>
                  <a:gd name="T84" fmla="*/ 22 w 93"/>
                  <a:gd name="T85" fmla="*/ 56 h 79"/>
                  <a:gd name="T86" fmla="*/ 23 w 93"/>
                  <a:gd name="T87" fmla="*/ 53 h 79"/>
                  <a:gd name="T88" fmla="*/ 27 w 93"/>
                  <a:gd name="T89" fmla="*/ 43 h 79"/>
                  <a:gd name="T90" fmla="*/ 33 w 93"/>
                  <a:gd name="T91" fmla="*/ 42 h 79"/>
                  <a:gd name="T92" fmla="*/ 33 w 93"/>
                  <a:gd name="T93" fmla="*/ 37 h 79"/>
                  <a:gd name="T94" fmla="*/ 38 w 93"/>
                  <a:gd name="T95" fmla="*/ 32 h 79"/>
                  <a:gd name="T96" fmla="*/ 44 w 93"/>
                  <a:gd name="T97" fmla="*/ 28 h 79"/>
                  <a:gd name="T98" fmla="*/ 48 w 93"/>
                  <a:gd name="T99" fmla="*/ 26 h 79"/>
                  <a:gd name="T100" fmla="*/ 50 w 93"/>
                  <a:gd name="T101" fmla="*/ 22 h 79"/>
                  <a:gd name="T102" fmla="*/ 56 w 93"/>
                  <a:gd name="T103" fmla="*/ 20 h 79"/>
                  <a:gd name="T104" fmla="*/ 59 w 93"/>
                  <a:gd name="T105" fmla="*/ 16 h 79"/>
                  <a:gd name="T106" fmla="*/ 63 w 93"/>
                  <a:gd name="T107" fmla="*/ 9 h 79"/>
                  <a:gd name="T108" fmla="*/ 67 w 93"/>
                  <a:gd name="T109" fmla="*/ 9 h 79"/>
                  <a:gd name="T110" fmla="*/ 72 w 93"/>
                  <a:gd name="T111" fmla="*/ 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79">
                    <a:moveTo>
                      <a:pt x="72" y="8"/>
                    </a:moveTo>
                    <a:lnTo>
                      <a:pt x="75" y="4"/>
                    </a:lnTo>
                    <a:lnTo>
                      <a:pt x="76" y="5"/>
                    </a:lnTo>
                    <a:lnTo>
                      <a:pt x="78" y="5"/>
                    </a:lnTo>
                    <a:lnTo>
                      <a:pt x="78" y="1"/>
                    </a:lnTo>
                    <a:lnTo>
                      <a:pt x="79" y="0"/>
                    </a:lnTo>
                    <a:lnTo>
                      <a:pt x="80" y="3"/>
                    </a:lnTo>
                    <a:lnTo>
                      <a:pt x="84" y="1"/>
                    </a:lnTo>
                    <a:lnTo>
                      <a:pt x="86" y="0"/>
                    </a:lnTo>
                    <a:lnTo>
                      <a:pt x="93" y="3"/>
                    </a:lnTo>
                    <a:lnTo>
                      <a:pt x="93" y="5"/>
                    </a:lnTo>
                    <a:lnTo>
                      <a:pt x="91" y="7"/>
                    </a:lnTo>
                    <a:lnTo>
                      <a:pt x="93" y="8"/>
                    </a:lnTo>
                    <a:lnTo>
                      <a:pt x="91" y="9"/>
                    </a:lnTo>
                    <a:lnTo>
                      <a:pt x="91" y="12"/>
                    </a:lnTo>
                    <a:lnTo>
                      <a:pt x="91" y="12"/>
                    </a:lnTo>
                    <a:lnTo>
                      <a:pt x="88" y="18"/>
                    </a:lnTo>
                    <a:lnTo>
                      <a:pt x="87" y="23"/>
                    </a:lnTo>
                    <a:lnTo>
                      <a:pt x="87" y="23"/>
                    </a:lnTo>
                    <a:lnTo>
                      <a:pt x="84" y="27"/>
                    </a:lnTo>
                    <a:lnTo>
                      <a:pt x="82" y="31"/>
                    </a:lnTo>
                    <a:lnTo>
                      <a:pt x="80" y="32"/>
                    </a:lnTo>
                    <a:lnTo>
                      <a:pt x="80" y="34"/>
                    </a:lnTo>
                    <a:lnTo>
                      <a:pt x="78" y="39"/>
                    </a:lnTo>
                    <a:lnTo>
                      <a:pt x="76" y="41"/>
                    </a:lnTo>
                    <a:lnTo>
                      <a:pt x="76" y="42"/>
                    </a:lnTo>
                    <a:lnTo>
                      <a:pt x="74" y="45"/>
                    </a:lnTo>
                    <a:lnTo>
                      <a:pt x="72" y="45"/>
                    </a:lnTo>
                    <a:lnTo>
                      <a:pt x="72" y="45"/>
                    </a:lnTo>
                    <a:lnTo>
                      <a:pt x="68" y="41"/>
                    </a:lnTo>
                    <a:lnTo>
                      <a:pt x="67" y="37"/>
                    </a:lnTo>
                    <a:lnTo>
                      <a:pt x="65" y="37"/>
                    </a:lnTo>
                    <a:lnTo>
                      <a:pt x="67" y="49"/>
                    </a:lnTo>
                    <a:lnTo>
                      <a:pt x="64" y="50"/>
                    </a:lnTo>
                    <a:lnTo>
                      <a:pt x="64" y="53"/>
                    </a:lnTo>
                    <a:lnTo>
                      <a:pt x="61" y="53"/>
                    </a:lnTo>
                    <a:lnTo>
                      <a:pt x="59" y="54"/>
                    </a:lnTo>
                    <a:lnTo>
                      <a:pt x="57" y="58"/>
                    </a:lnTo>
                    <a:lnTo>
                      <a:pt x="55" y="60"/>
                    </a:lnTo>
                    <a:lnTo>
                      <a:pt x="53" y="58"/>
                    </a:lnTo>
                    <a:lnTo>
                      <a:pt x="50" y="61"/>
                    </a:lnTo>
                    <a:lnTo>
                      <a:pt x="52" y="64"/>
                    </a:lnTo>
                    <a:lnTo>
                      <a:pt x="49" y="64"/>
                    </a:lnTo>
                    <a:lnTo>
                      <a:pt x="48" y="65"/>
                    </a:lnTo>
                    <a:lnTo>
                      <a:pt x="46" y="65"/>
                    </a:lnTo>
                    <a:lnTo>
                      <a:pt x="46" y="62"/>
                    </a:lnTo>
                    <a:lnTo>
                      <a:pt x="45" y="62"/>
                    </a:lnTo>
                    <a:lnTo>
                      <a:pt x="45" y="62"/>
                    </a:lnTo>
                    <a:lnTo>
                      <a:pt x="44" y="64"/>
                    </a:lnTo>
                    <a:lnTo>
                      <a:pt x="41" y="65"/>
                    </a:lnTo>
                    <a:lnTo>
                      <a:pt x="38" y="65"/>
                    </a:lnTo>
                    <a:lnTo>
                      <a:pt x="36" y="69"/>
                    </a:lnTo>
                    <a:lnTo>
                      <a:pt x="34" y="68"/>
                    </a:lnTo>
                    <a:lnTo>
                      <a:pt x="31" y="69"/>
                    </a:lnTo>
                    <a:lnTo>
                      <a:pt x="30" y="68"/>
                    </a:lnTo>
                    <a:lnTo>
                      <a:pt x="33" y="65"/>
                    </a:lnTo>
                    <a:lnTo>
                      <a:pt x="29" y="61"/>
                    </a:lnTo>
                    <a:lnTo>
                      <a:pt x="29" y="61"/>
                    </a:lnTo>
                    <a:lnTo>
                      <a:pt x="27" y="65"/>
                    </a:lnTo>
                    <a:lnTo>
                      <a:pt x="27" y="69"/>
                    </a:lnTo>
                    <a:lnTo>
                      <a:pt x="25" y="73"/>
                    </a:lnTo>
                    <a:lnTo>
                      <a:pt x="23" y="73"/>
                    </a:lnTo>
                    <a:lnTo>
                      <a:pt x="22" y="68"/>
                    </a:lnTo>
                    <a:lnTo>
                      <a:pt x="22" y="68"/>
                    </a:lnTo>
                    <a:lnTo>
                      <a:pt x="19" y="66"/>
                    </a:lnTo>
                    <a:lnTo>
                      <a:pt x="17" y="66"/>
                    </a:lnTo>
                    <a:lnTo>
                      <a:pt x="12" y="66"/>
                    </a:lnTo>
                    <a:lnTo>
                      <a:pt x="10" y="68"/>
                    </a:lnTo>
                    <a:lnTo>
                      <a:pt x="10" y="77"/>
                    </a:lnTo>
                    <a:lnTo>
                      <a:pt x="7" y="79"/>
                    </a:lnTo>
                    <a:lnTo>
                      <a:pt x="3" y="72"/>
                    </a:lnTo>
                    <a:lnTo>
                      <a:pt x="0" y="72"/>
                    </a:lnTo>
                    <a:lnTo>
                      <a:pt x="0" y="69"/>
                    </a:lnTo>
                    <a:lnTo>
                      <a:pt x="2" y="66"/>
                    </a:lnTo>
                    <a:lnTo>
                      <a:pt x="3" y="68"/>
                    </a:lnTo>
                    <a:lnTo>
                      <a:pt x="3" y="68"/>
                    </a:lnTo>
                    <a:lnTo>
                      <a:pt x="6" y="66"/>
                    </a:lnTo>
                    <a:lnTo>
                      <a:pt x="7" y="64"/>
                    </a:lnTo>
                    <a:lnTo>
                      <a:pt x="10" y="61"/>
                    </a:lnTo>
                    <a:lnTo>
                      <a:pt x="11" y="60"/>
                    </a:lnTo>
                    <a:lnTo>
                      <a:pt x="11" y="61"/>
                    </a:lnTo>
                    <a:lnTo>
                      <a:pt x="17" y="61"/>
                    </a:lnTo>
                    <a:lnTo>
                      <a:pt x="19" y="60"/>
                    </a:lnTo>
                    <a:lnTo>
                      <a:pt x="18" y="57"/>
                    </a:lnTo>
                    <a:lnTo>
                      <a:pt x="18" y="56"/>
                    </a:lnTo>
                    <a:lnTo>
                      <a:pt x="22" y="56"/>
                    </a:lnTo>
                    <a:lnTo>
                      <a:pt x="22" y="56"/>
                    </a:lnTo>
                    <a:lnTo>
                      <a:pt x="23" y="53"/>
                    </a:lnTo>
                    <a:lnTo>
                      <a:pt x="25" y="49"/>
                    </a:lnTo>
                    <a:lnTo>
                      <a:pt x="27" y="43"/>
                    </a:lnTo>
                    <a:lnTo>
                      <a:pt x="30" y="45"/>
                    </a:lnTo>
                    <a:lnTo>
                      <a:pt x="33" y="42"/>
                    </a:lnTo>
                    <a:lnTo>
                      <a:pt x="34" y="41"/>
                    </a:lnTo>
                    <a:lnTo>
                      <a:pt x="33" y="37"/>
                    </a:lnTo>
                    <a:lnTo>
                      <a:pt x="34" y="34"/>
                    </a:lnTo>
                    <a:lnTo>
                      <a:pt x="38" y="32"/>
                    </a:lnTo>
                    <a:lnTo>
                      <a:pt x="41" y="28"/>
                    </a:lnTo>
                    <a:lnTo>
                      <a:pt x="44" y="28"/>
                    </a:lnTo>
                    <a:lnTo>
                      <a:pt x="45" y="24"/>
                    </a:lnTo>
                    <a:lnTo>
                      <a:pt x="48" y="26"/>
                    </a:lnTo>
                    <a:lnTo>
                      <a:pt x="50" y="23"/>
                    </a:lnTo>
                    <a:lnTo>
                      <a:pt x="50" y="22"/>
                    </a:lnTo>
                    <a:lnTo>
                      <a:pt x="55" y="19"/>
                    </a:lnTo>
                    <a:lnTo>
                      <a:pt x="56" y="20"/>
                    </a:lnTo>
                    <a:lnTo>
                      <a:pt x="59" y="18"/>
                    </a:lnTo>
                    <a:lnTo>
                      <a:pt x="59" y="16"/>
                    </a:lnTo>
                    <a:lnTo>
                      <a:pt x="63" y="12"/>
                    </a:lnTo>
                    <a:lnTo>
                      <a:pt x="63" y="9"/>
                    </a:lnTo>
                    <a:lnTo>
                      <a:pt x="65" y="8"/>
                    </a:lnTo>
                    <a:lnTo>
                      <a:pt x="67" y="9"/>
                    </a:lnTo>
                    <a:lnTo>
                      <a:pt x="69" y="7"/>
                    </a:lnTo>
                    <a:lnTo>
                      <a:pt x="72" y="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7" name="Freeform 166">
                <a:extLst>
                  <a:ext uri="{FF2B5EF4-FFF2-40B4-BE49-F238E27FC236}">
                    <a16:creationId xmlns:a16="http://schemas.microsoft.com/office/drawing/2014/main" id="{A7E2012A-B4F2-4538-9F50-F92C1CABA3D8}"/>
                  </a:ext>
                </a:extLst>
              </p:cNvPr>
              <p:cNvSpPr>
                <a:spLocks/>
              </p:cNvSpPr>
              <p:nvPr/>
            </p:nvSpPr>
            <p:spPr bwMode="auto">
              <a:xfrm>
                <a:off x="1973263" y="2990919"/>
                <a:ext cx="7938" cy="4763"/>
              </a:xfrm>
              <a:custGeom>
                <a:avLst/>
                <a:gdLst>
                  <a:gd name="T0" fmla="*/ 9 w 9"/>
                  <a:gd name="T1" fmla="*/ 0 h 5"/>
                  <a:gd name="T2" fmla="*/ 9 w 9"/>
                  <a:gd name="T3" fmla="*/ 1 h 5"/>
                  <a:gd name="T4" fmla="*/ 1 w 9"/>
                  <a:gd name="T5" fmla="*/ 5 h 5"/>
                  <a:gd name="T6" fmla="*/ 0 w 9"/>
                  <a:gd name="T7" fmla="*/ 4 h 5"/>
                  <a:gd name="T8" fmla="*/ 0 w 9"/>
                  <a:gd name="T9" fmla="*/ 3 h 5"/>
                  <a:gd name="T10" fmla="*/ 7 w 9"/>
                  <a:gd name="T11" fmla="*/ 0 h 5"/>
                  <a:gd name="T12" fmla="*/ 9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9" y="0"/>
                    </a:moveTo>
                    <a:lnTo>
                      <a:pt x="9" y="1"/>
                    </a:lnTo>
                    <a:lnTo>
                      <a:pt x="1" y="5"/>
                    </a:lnTo>
                    <a:lnTo>
                      <a:pt x="0" y="4"/>
                    </a:lnTo>
                    <a:lnTo>
                      <a:pt x="0" y="3"/>
                    </a:lnTo>
                    <a:lnTo>
                      <a:pt x="7" y="0"/>
                    </a:lnTo>
                    <a:lnTo>
                      <a:pt x="9"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8" name="Freeform 167">
                <a:extLst>
                  <a:ext uri="{FF2B5EF4-FFF2-40B4-BE49-F238E27FC236}">
                    <a16:creationId xmlns:a16="http://schemas.microsoft.com/office/drawing/2014/main" id="{F4DAE969-735C-4A5D-8C7F-4A8AB5D4A7AF}"/>
                  </a:ext>
                </a:extLst>
              </p:cNvPr>
              <p:cNvSpPr>
                <a:spLocks/>
              </p:cNvSpPr>
              <p:nvPr/>
            </p:nvSpPr>
            <p:spPr bwMode="auto">
              <a:xfrm>
                <a:off x="2349500" y="3005206"/>
                <a:ext cx="9525" cy="6350"/>
              </a:xfrm>
              <a:custGeom>
                <a:avLst/>
                <a:gdLst>
                  <a:gd name="T0" fmla="*/ 4 w 10"/>
                  <a:gd name="T1" fmla="*/ 5 h 8"/>
                  <a:gd name="T2" fmla="*/ 1 w 10"/>
                  <a:gd name="T3" fmla="*/ 8 h 8"/>
                  <a:gd name="T4" fmla="*/ 0 w 10"/>
                  <a:gd name="T5" fmla="*/ 6 h 8"/>
                  <a:gd name="T6" fmla="*/ 0 w 10"/>
                  <a:gd name="T7" fmla="*/ 6 h 8"/>
                  <a:gd name="T8" fmla="*/ 4 w 10"/>
                  <a:gd name="T9" fmla="*/ 2 h 8"/>
                  <a:gd name="T10" fmla="*/ 9 w 10"/>
                  <a:gd name="T11" fmla="*/ 0 h 8"/>
                  <a:gd name="T12" fmla="*/ 10 w 10"/>
                  <a:gd name="T13" fmla="*/ 1 h 8"/>
                  <a:gd name="T14" fmla="*/ 10 w 10"/>
                  <a:gd name="T15" fmla="*/ 2 h 8"/>
                  <a:gd name="T16" fmla="*/ 9 w 10"/>
                  <a:gd name="T17" fmla="*/ 4 h 8"/>
                  <a:gd name="T18" fmla="*/ 9 w 10"/>
                  <a:gd name="T19" fmla="*/ 5 h 8"/>
                  <a:gd name="T20" fmla="*/ 6 w 10"/>
                  <a:gd name="T21" fmla="*/ 6 h 8"/>
                  <a:gd name="T22" fmla="*/ 4 w 10"/>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4" y="5"/>
                    </a:moveTo>
                    <a:lnTo>
                      <a:pt x="1" y="8"/>
                    </a:lnTo>
                    <a:lnTo>
                      <a:pt x="0" y="6"/>
                    </a:lnTo>
                    <a:lnTo>
                      <a:pt x="0" y="6"/>
                    </a:lnTo>
                    <a:lnTo>
                      <a:pt x="4" y="2"/>
                    </a:lnTo>
                    <a:lnTo>
                      <a:pt x="9" y="0"/>
                    </a:lnTo>
                    <a:lnTo>
                      <a:pt x="10" y="1"/>
                    </a:lnTo>
                    <a:lnTo>
                      <a:pt x="10" y="2"/>
                    </a:lnTo>
                    <a:lnTo>
                      <a:pt x="9" y="4"/>
                    </a:lnTo>
                    <a:lnTo>
                      <a:pt x="9" y="5"/>
                    </a:lnTo>
                    <a:lnTo>
                      <a:pt x="6" y="6"/>
                    </a:lnTo>
                    <a:lnTo>
                      <a:pt x="4" y="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39" name="Freeform 168">
                <a:extLst>
                  <a:ext uri="{FF2B5EF4-FFF2-40B4-BE49-F238E27FC236}">
                    <a16:creationId xmlns:a16="http://schemas.microsoft.com/office/drawing/2014/main" id="{94D74FA6-EA18-4977-AB86-CD851783036C}"/>
                  </a:ext>
                </a:extLst>
              </p:cNvPr>
              <p:cNvSpPr>
                <a:spLocks/>
              </p:cNvSpPr>
              <p:nvPr/>
            </p:nvSpPr>
            <p:spPr bwMode="auto">
              <a:xfrm>
                <a:off x="2058988" y="3027431"/>
                <a:ext cx="6350" cy="7938"/>
              </a:xfrm>
              <a:custGeom>
                <a:avLst/>
                <a:gdLst>
                  <a:gd name="T0" fmla="*/ 6 w 7"/>
                  <a:gd name="T1" fmla="*/ 0 h 10"/>
                  <a:gd name="T2" fmla="*/ 7 w 7"/>
                  <a:gd name="T3" fmla="*/ 1 h 10"/>
                  <a:gd name="T4" fmla="*/ 4 w 7"/>
                  <a:gd name="T5" fmla="*/ 4 h 10"/>
                  <a:gd name="T6" fmla="*/ 4 w 7"/>
                  <a:gd name="T7" fmla="*/ 7 h 10"/>
                  <a:gd name="T8" fmla="*/ 2 w 7"/>
                  <a:gd name="T9" fmla="*/ 10 h 10"/>
                  <a:gd name="T10" fmla="*/ 0 w 7"/>
                  <a:gd name="T11" fmla="*/ 8 h 10"/>
                  <a:gd name="T12" fmla="*/ 4 w 7"/>
                  <a:gd name="T13" fmla="*/ 1 h 10"/>
                  <a:gd name="T14" fmla="*/ 4 w 7"/>
                  <a:gd name="T15" fmla="*/ 0 h 10"/>
                  <a:gd name="T16" fmla="*/ 6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6" y="0"/>
                    </a:moveTo>
                    <a:lnTo>
                      <a:pt x="7" y="1"/>
                    </a:lnTo>
                    <a:lnTo>
                      <a:pt x="4" y="4"/>
                    </a:lnTo>
                    <a:lnTo>
                      <a:pt x="4" y="7"/>
                    </a:lnTo>
                    <a:lnTo>
                      <a:pt x="2" y="10"/>
                    </a:lnTo>
                    <a:lnTo>
                      <a:pt x="0" y="8"/>
                    </a:lnTo>
                    <a:lnTo>
                      <a:pt x="4" y="1"/>
                    </a:lnTo>
                    <a:lnTo>
                      <a:pt x="4" y="0"/>
                    </a:lnTo>
                    <a:lnTo>
                      <a:pt x="6"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0" name="Freeform 169">
                <a:extLst>
                  <a:ext uri="{FF2B5EF4-FFF2-40B4-BE49-F238E27FC236}">
                    <a16:creationId xmlns:a16="http://schemas.microsoft.com/office/drawing/2014/main" id="{19C92599-0325-4A52-AA4C-373750625792}"/>
                  </a:ext>
                </a:extLst>
              </p:cNvPr>
              <p:cNvSpPr>
                <a:spLocks/>
              </p:cNvSpPr>
              <p:nvPr/>
            </p:nvSpPr>
            <p:spPr bwMode="auto">
              <a:xfrm>
                <a:off x="2076450" y="2948056"/>
                <a:ext cx="211138" cy="192088"/>
              </a:xfrm>
              <a:custGeom>
                <a:avLst/>
                <a:gdLst>
                  <a:gd name="T0" fmla="*/ 23 w 266"/>
                  <a:gd name="T1" fmla="*/ 77 h 242"/>
                  <a:gd name="T2" fmla="*/ 26 w 266"/>
                  <a:gd name="T3" fmla="*/ 57 h 242"/>
                  <a:gd name="T4" fmla="*/ 20 w 266"/>
                  <a:gd name="T5" fmla="*/ 40 h 242"/>
                  <a:gd name="T6" fmla="*/ 28 w 266"/>
                  <a:gd name="T7" fmla="*/ 29 h 242"/>
                  <a:gd name="T8" fmla="*/ 53 w 266"/>
                  <a:gd name="T9" fmla="*/ 34 h 242"/>
                  <a:gd name="T10" fmla="*/ 66 w 266"/>
                  <a:gd name="T11" fmla="*/ 40 h 242"/>
                  <a:gd name="T12" fmla="*/ 54 w 266"/>
                  <a:gd name="T13" fmla="*/ 25 h 242"/>
                  <a:gd name="T14" fmla="*/ 69 w 266"/>
                  <a:gd name="T15" fmla="*/ 9 h 242"/>
                  <a:gd name="T16" fmla="*/ 95 w 266"/>
                  <a:gd name="T17" fmla="*/ 6 h 242"/>
                  <a:gd name="T18" fmla="*/ 115 w 266"/>
                  <a:gd name="T19" fmla="*/ 25 h 242"/>
                  <a:gd name="T20" fmla="*/ 132 w 266"/>
                  <a:gd name="T21" fmla="*/ 40 h 242"/>
                  <a:gd name="T22" fmla="*/ 155 w 266"/>
                  <a:gd name="T23" fmla="*/ 84 h 242"/>
                  <a:gd name="T24" fmla="*/ 174 w 266"/>
                  <a:gd name="T25" fmla="*/ 81 h 242"/>
                  <a:gd name="T26" fmla="*/ 206 w 266"/>
                  <a:gd name="T27" fmla="*/ 85 h 242"/>
                  <a:gd name="T28" fmla="*/ 225 w 266"/>
                  <a:gd name="T29" fmla="*/ 104 h 242"/>
                  <a:gd name="T30" fmla="*/ 254 w 266"/>
                  <a:gd name="T31" fmla="*/ 120 h 242"/>
                  <a:gd name="T32" fmla="*/ 263 w 266"/>
                  <a:gd name="T33" fmla="*/ 126 h 242"/>
                  <a:gd name="T34" fmla="*/ 252 w 266"/>
                  <a:gd name="T35" fmla="*/ 133 h 242"/>
                  <a:gd name="T36" fmla="*/ 256 w 266"/>
                  <a:gd name="T37" fmla="*/ 143 h 242"/>
                  <a:gd name="T38" fmla="*/ 250 w 266"/>
                  <a:gd name="T39" fmla="*/ 165 h 242"/>
                  <a:gd name="T40" fmla="*/ 237 w 266"/>
                  <a:gd name="T41" fmla="*/ 152 h 242"/>
                  <a:gd name="T42" fmla="*/ 225 w 266"/>
                  <a:gd name="T43" fmla="*/ 162 h 242"/>
                  <a:gd name="T44" fmla="*/ 227 w 266"/>
                  <a:gd name="T45" fmla="*/ 175 h 242"/>
                  <a:gd name="T46" fmla="*/ 246 w 266"/>
                  <a:gd name="T47" fmla="*/ 177 h 242"/>
                  <a:gd name="T48" fmla="*/ 220 w 266"/>
                  <a:gd name="T49" fmla="*/ 198 h 242"/>
                  <a:gd name="T50" fmla="*/ 178 w 266"/>
                  <a:gd name="T51" fmla="*/ 209 h 242"/>
                  <a:gd name="T52" fmla="*/ 191 w 266"/>
                  <a:gd name="T53" fmla="*/ 188 h 242"/>
                  <a:gd name="T54" fmla="*/ 172 w 266"/>
                  <a:gd name="T55" fmla="*/ 190 h 242"/>
                  <a:gd name="T56" fmla="*/ 136 w 266"/>
                  <a:gd name="T57" fmla="*/ 214 h 242"/>
                  <a:gd name="T58" fmla="*/ 111 w 266"/>
                  <a:gd name="T59" fmla="*/ 221 h 242"/>
                  <a:gd name="T60" fmla="*/ 81 w 266"/>
                  <a:gd name="T61" fmla="*/ 229 h 242"/>
                  <a:gd name="T62" fmla="*/ 60 w 266"/>
                  <a:gd name="T63" fmla="*/ 226 h 242"/>
                  <a:gd name="T64" fmla="*/ 39 w 266"/>
                  <a:gd name="T65" fmla="*/ 242 h 242"/>
                  <a:gd name="T66" fmla="*/ 18 w 266"/>
                  <a:gd name="T67" fmla="*/ 238 h 242"/>
                  <a:gd name="T68" fmla="*/ 7 w 266"/>
                  <a:gd name="T69" fmla="*/ 218 h 242"/>
                  <a:gd name="T70" fmla="*/ 3 w 266"/>
                  <a:gd name="T71" fmla="*/ 200 h 242"/>
                  <a:gd name="T72" fmla="*/ 20 w 266"/>
                  <a:gd name="T73" fmla="*/ 195 h 242"/>
                  <a:gd name="T74" fmla="*/ 35 w 266"/>
                  <a:gd name="T75" fmla="*/ 206 h 242"/>
                  <a:gd name="T76" fmla="*/ 42 w 266"/>
                  <a:gd name="T77" fmla="*/ 207 h 242"/>
                  <a:gd name="T78" fmla="*/ 45 w 266"/>
                  <a:gd name="T79" fmla="*/ 195 h 242"/>
                  <a:gd name="T80" fmla="*/ 66 w 266"/>
                  <a:gd name="T81" fmla="*/ 199 h 242"/>
                  <a:gd name="T82" fmla="*/ 100 w 266"/>
                  <a:gd name="T83" fmla="*/ 194 h 242"/>
                  <a:gd name="T84" fmla="*/ 123 w 266"/>
                  <a:gd name="T85" fmla="*/ 180 h 242"/>
                  <a:gd name="T86" fmla="*/ 133 w 266"/>
                  <a:gd name="T87" fmla="*/ 166 h 242"/>
                  <a:gd name="T88" fmla="*/ 126 w 266"/>
                  <a:gd name="T89" fmla="*/ 162 h 242"/>
                  <a:gd name="T90" fmla="*/ 106 w 266"/>
                  <a:gd name="T91" fmla="*/ 176 h 242"/>
                  <a:gd name="T92" fmla="*/ 73 w 266"/>
                  <a:gd name="T93" fmla="*/ 184 h 242"/>
                  <a:gd name="T94" fmla="*/ 68 w 266"/>
                  <a:gd name="T95" fmla="*/ 161 h 242"/>
                  <a:gd name="T96" fmla="*/ 87 w 266"/>
                  <a:gd name="T97" fmla="*/ 138 h 242"/>
                  <a:gd name="T98" fmla="*/ 113 w 266"/>
                  <a:gd name="T99" fmla="*/ 127 h 242"/>
                  <a:gd name="T100" fmla="*/ 138 w 266"/>
                  <a:gd name="T101" fmla="*/ 105 h 242"/>
                  <a:gd name="T102" fmla="*/ 114 w 266"/>
                  <a:gd name="T103" fmla="*/ 107 h 242"/>
                  <a:gd name="T104" fmla="*/ 81 w 266"/>
                  <a:gd name="T105" fmla="*/ 112 h 242"/>
                  <a:gd name="T106" fmla="*/ 66 w 266"/>
                  <a:gd name="T107" fmla="*/ 120 h 242"/>
                  <a:gd name="T108" fmla="*/ 54 w 266"/>
                  <a:gd name="T109" fmla="*/ 116 h 242"/>
                  <a:gd name="T110" fmla="*/ 39 w 266"/>
                  <a:gd name="T111" fmla="*/ 110 h 242"/>
                  <a:gd name="T112" fmla="*/ 62 w 266"/>
                  <a:gd name="T113" fmla="*/ 101 h 242"/>
                  <a:gd name="T114" fmla="*/ 79 w 266"/>
                  <a:gd name="T115" fmla="*/ 110 h 242"/>
                  <a:gd name="T116" fmla="*/ 73 w 266"/>
                  <a:gd name="T117" fmla="*/ 89 h 242"/>
                  <a:gd name="T118" fmla="*/ 54 w 266"/>
                  <a:gd name="T119" fmla="*/ 7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6" h="242">
                    <a:moveTo>
                      <a:pt x="42" y="80"/>
                    </a:moveTo>
                    <a:lnTo>
                      <a:pt x="39" y="82"/>
                    </a:lnTo>
                    <a:lnTo>
                      <a:pt x="34" y="81"/>
                    </a:lnTo>
                    <a:lnTo>
                      <a:pt x="33" y="82"/>
                    </a:lnTo>
                    <a:lnTo>
                      <a:pt x="31" y="81"/>
                    </a:lnTo>
                    <a:lnTo>
                      <a:pt x="30" y="78"/>
                    </a:lnTo>
                    <a:lnTo>
                      <a:pt x="28" y="78"/>
                    </a:lnTo>
                    <a:lnTo>
                      <a:pt x="26" y="78"/>
                    </a:lnTo>
                    <a:lnTo>
                      <a:pt x="26" y="78"/>
                    </a:lnTo>
                    <a:lnTo>
                      <a:pt x="23" y="77"/>
                    </a:lnTo>
                    <a:lnTo>
                      <a:pt x="20" y="76"/>
                    </a:lnTo>
                    <a:lnTo>
                      <a:pt x="14" y="74"/>
                    </a:lnTo>
                    <a:lnTo>
                      <a:pt x="12" y="73"/>
                    </a:lnTo>
                    <a:lnTo>
                      <a:pt x="14" y="66"/>
                    </a:lnTo>
                    <a:lnTo>
                      <a:pt x="12" y="65"/>
                    </a:lnTo>
                    <a:lnTo>
                      <a:pt x="15" y="62"/>
                    </a:lnTo>
                    <a:lnTo>
                      <a:pt x="15" y="62"/>
                    </a:lnTo>
                    <a:lnTo>
                      <a:pt x="20" y="61"/>
                    </a:lnTo>
                    <a:lnTo>
                      <a:pt x="24" y="59"/>
                    </a:lnTo>
                    <a:lnTo>
                      <a:pt x="26" y="57"/>
                    </a:lnTo>
                    <a:lnTo>
                      <a:pt x="28" y="55"/>
                    </a:lnTo>
                    <a:lnTo>
                      <a:pt x="28" y="53"/>
                    </a:lnTo>
                    <a:lnTo>
                      <a:pt x="30" y="51"/>
                    </a:lnTo>
                    <a:lnTo>
                      <a:pt x="31" y="50"/>
                    </a:lnTo>
                    <a:lnTo>
                      <a:pt x="34" y="48"/>
                    </a:lnTo>
                    <a:lnTo>
                      <a:pt x="31" y="46"/>
                    </a:lnTo>
                    <a:lnTo>
                      <a:pt x="23" y="48"/>
                    </a:lnTo>
                    <a:lnTo>
                      <a:pt x="22" y="48"/>
                    </a:lnTo>
                    <a:lnTo>
                      <a:pt x="22" y="48"/>
                    </a:lnTo>
                    <a:lnTo>
                      <a:pt x="20" y="40"/>
                    </a:lnTo>
                    <a:lnTo>
                      <a:pt x="19" y="38"/>
                    </a:lnTo>
                    <a:lnTo>
                      <a:pt x="19" y="38"/>
                    </a:lnTo>
                    <a:lnTo>
                      <a:pt x="19" y="35"/>
                    </a:lnTo>
                    <a:lnTo>
                      <a:pt x="18" y="31"/>
                    </a:lnTo>
                    <a:lnTo>
                      <a:pt x="19" y="31"/>
                    </a:lnTo>
                    <a:lnTo>
                      <a:pt x="20" y="32"/>
                    </a:lnTo>
                    <a:lnTo>
                      <a:pt x="23" y="34"/>
                    </a:lnTo>
                    <a:lnTo>
                      <a:pt x="24" y="32"/>
                    </a:lnTo>
                    <a:lnTo>
                      <a:pt x="27" y="32"/>
                    </a:lnTo>
                    <a:lnTo>
                      <a:pt x="28" y="29"/>
                    </a:lnTo>
                    <a:lnTo>
                      <a:pt x="28" y="29"/>
                    </a:lnTo>
                    <a:lnTo>
                      <a:pt x="33" y="31"/>
                    </a:lnTo>
                    <a:lnTo>
                      <a:pt x="37" y="32"/>
                    </a:lnTo>
                    <a:lnTo>
                      <a:pt x="38" y="32"/>
                    </a:lnTo>
                    <a:lnTo>
                      <a:pt x="39" y="32"/>
                    </a:lnTo>
                    <a:lnTo>
                      <a:pt x="41" y="27"/>
                    </a:lnTo>
                    <a:lnTo>
                      <a:pt x="47" y="29"/>
                    </a:lnTo>
                    <a:lnTo>
                      <a:pt x="50" y="28"/>
                    </a:lnTo>
                    <a:lnTo>
                      <a:pt x="52" y="32"/>
                    </a:lnTo>
                    <a:lnTo>
                      <a:pt x="53" y="34"/>
                    </a:lnTo>
                    <a:lnTo>
                      <a:pt x="54" y="32"/>
                    </a:lnTo>
                    <a:lnTo>
                      <a:pt x="54" y="34"/>
                    </a:lnTo>
                    <a:lnTo>
                      <a:pt x="57" y="35"/>
                    </a:lnTo>
                    <a:lnTo>
                      <a:pt x="57" y="36"/>
                    </a:lnTo>
                    <a:lnTo>
                      <a:pt x="57" y="36"/>
                    </a:lnTo>
                    <a:lnTo>
                      <a:pt x="61" y="39"/>
                    </a:lnTo>
                    <a:lnTo>
                      <a:pt x="64" y="43"/>
                    </a:lnTo>
                    <a:lnTo>
                      <a:pt x="66" y="44"/>
                    </a:lnTo>
                    <a:lnTo>
                      <a:pt x="68" y="43"/>
                    </a:lnTo>
                    <a:lnTo>
                      <a:pt x="66" y="40"/>
                    </a:lnTo>
                    <a:lnTo>
                      <a:pt x="66" y="40"/>
                    </a:lnTo>
                    <a:lnTo>
                      <a:pt x="62" y="38"/>
                    </a:lnTo>
                    <a:lnTo>
                      <a:pt x="58" y="35"/>
                    </a:lnTo>
                    <a:lnTo>
                      <a:pt x="58" y="35"/>
                    </a:lnTo>
                    <a:lnTo>
                      <a:pt x="57" y="34"/>
                    </a:lnTo>
                    <a:lnTo>
                      <a:pt x="56" y="32"/>
                    </a:lnTo>
                    <a:lnTo>
                      <a:pt x="57" y="31"/>
                    </a:lnTo>
                    <a:lnTo>
                      <a:pt x="57" y="29"/>
                    </a:lnTo>
                    <a:lnTo>
                      <a:pt x="53" y="27"/>
                    </a:lnTo>
                    <a:lnTo>
                      <a:pt x="54" y="25"/>
                    </a:lnTo>
                    <a:lnTo>
                      <a:pt x="53" y="21"/>
                    </a:lnTo>
                    <a:lnTo>
                      <a:pt x="54" y="19"/>
                    </a:lnTo>
                    <a:lnTo>
                      <a:pt x="54" y="17"/>
                    </a:lnTo>
                    <a:lnTo>
                      <a:pt x="58" y="15"/>
                    </a:lnTo>
                    <a:lnTo>
                      <a:pt x="66" y="20"/>
                    </a:lnTo>
                    <a:lnTo>
                      <a:pt x="62" y="15"/>
                    </a:lnTo>
                    <a:lnTo>
                      <a:pt x="64" y="10"/>
                    </a:lnTo>
                    <a:lnTo>
                      <a:pt x="64" y="8"/>
                    </a:lnTo>
                    <a:lnTo>
                      <a:pt x="68" y="8"/>
                    </a:lnTo>
                    <a:lnTo>
                      <a:pt x="69" y="9"/>
                    </a:lnTo>
                    <a:lnTo>
                      <a:pt x="75" y="9"/>
                    </a:lnTo>
                    <a:lnTo>
                      <a:pt x="83" y="1"/>
                    </a:lnTo>
                    <a:lnTo>
                      <a:pt x="85" y="2"/>
                    </a:lnTo>
                    <a:lnTo>
                      <a:pt x="90" y="2"/>
                    </a:lnTo>
                    <a:lnTo>
                      <a:pt x="90" y="1"/>
                    </a:lnTo>
                    <a:lnTo>
                      <a:pt x="92" y="0"/>
                    </a:lnTo>
                    <a:lnTo>
                      <a:pt x="92" y="0"/>
                    </a:lnTo>
                    <a:lnTo>
                      <a:pt x="94" y="4"/>
                    </a:lnTo>
                    <a:lnTo>
                      <a:pt x="95" y="6"/>
                    </a:lnTo>
                    <a:lnTo>
                      <a:pt x="95" y="6"/>
                    </a:lnTo>
                    <a:lnTo>
                      <a:pt x="100" y="8"/>
                    </a:lnTo>
                    <a:lnTo>
                      <a:pt x="106" y="10"/>
                    </a:lnTo>
                    <a:lnTo>
                      <a:pt x="107" y="9"/>
                    </a:lnTo>
                    <a:lnTo>
                      <a:pt x="113" y="10"/>
                    </a:lnTo>
                    <a:lnTo>
                      <a:pt x="115" y="15"/>
                    </a:lnTo>
                    <a:lnTo>
                      <a:pt x="114" y="20"/>
                    </a:lnTo>
                    <a:lnTo>
                      <a:pt x="113" y="20"/>
                    </a:lnTo>
                    <a:lnTo>
                      <a:pt x="113" y="23"/>
                    </a:lnTo>
                    <a:lnTo>
                      <a:pt x="114" y="24"/>
                    </a:lnTo>
                    <a:lnTo>
                      <a:pt x="115" y="25"/>
                    </a:lnTo>
                    <a:lnTo>
                      <a:pt x="119" y="27"/>
                    </a:lnTo>
                    <a:lnTo>
                      <a:pt x="121" y="24"/>
                    </a:lnTo>
                    <a:lnTo>
                      <a:pt x="121" y="24"/>
                    </a:lnTo>
                    <a:lnTo>
                      <a:pt x="122" y="27"/>
                    </a:lnTo>
                    <a:lnTo>
                      <a:pt x="125" y="28"/>
                    </a:lnTo>
                    <a:lnTo>
                      <a:pt x="125" y="28"/>
                    </a:lnTo>
                    <a:lnTo>
                      <a:pt x="128" y="32"/>
                    </a:lnTo>
                    <a:lnTo>
                      <a:pt x="130" y="35"/>
                    </a:lnTo>
                    <a:lnTo>
                      <a:pt x="132" y="40"/>
                    </a:lnTo>
                    <a:lnTo>
                      <a:pt x="132" y="40"/>
                    </a:lnTo>
                    <a:lnTo>
                      <a:pt x="136" y="44"/>
                    </a:lnTo>
                    <a:lnTo>
                      <a:pt x="138" y="46"/>
                    </a:lnTo>
                    <a:lnTo>
                      <a:pt x="141" y="46"/>
                    </a:lnTo>
                    <a:lnTo>
                      <a:pt x="141" y="54"/>
                    </a:lnTo>
                    <a:lnTo>
                      <a:pt x="147" y="62"/>
                    </a:lnTo>
                    <a:lnTo>
                      <a:pt x="147" y="66"/>
                    </a:lnTo>
                    <a:lnTo>
                      <a:pt x="151" y="72"/>
                    </a:lnTo>
                    <a:lnTo>
                      <a:pt x="147" y="76"/>
                    </a:lnTo>
                    <a:lnTo>
                      <a:pt x="149" y="77"/>
                    </a:lnTo>
                    <a:lnTo>
                      <a:pt x="155" y="84"/>
                    </a:lnTo>
                    <a:lnTo>
                      <a:pt x="156" y="82"/>
                    </a:lnTo>
                    <a:lnTo>
                      <a:pt x="157" y="80"/>
                    </a:lnTo>
                    <a:lnTo>
                      <a:pt x="159" y="80"/>
                    </a:lnTo>
                    <a:lnTo>
                      <a:pt x="160" y="82"/>
                    </a:lnTo>
                    <a:lnTo>
                      <a:pt x="160" y="82"/>
                    </a:lnTo>
                    <a:lnTo>
                      <a:pt x="164" y="84"/>
                    </a:lnTo>
                    <a:lnTo>
                      <a:pt x="167" y="85"/>
                    </a:lnTo>
                    <a:lnTo>
                      <a:pt x="167" y="85"/>
                    </a:lnTo>
                    <a:lnTo>
                      <a:pt x="174" y="81"/>
                    </a:lnTo>
                    <a:lnTo>
                      <a:pt x="174" y="81"/>
                    </a:lnTo>
                    <a:lnTo>
                      <a:pt x="182" y="82"/>
                    </a:lnTo>
                    <a:lnTo>
                      <a:pt x="189" y="82"/>
                    </a:lnTo>
                    <a:lnTo>
                      <a:pt x="195" y="86"/>
                    </a:lnTo>
                    <a:lnTo>
                      <a:pt x="195" y="89"/>
                    </a:lnTo>
                    <a:lnTo>
                      <a:pt x="197" y="91"/>
                    </a:lnTo>
                    <a:lnTo>
                      <a:pt x="201" y="91"/>
                    </a:lnTo>
                    <a:lnTo>
                      <a:pt x="201" y="85"/>
                    </a:lnTo>
                    <a:lnTo>
                      <a:pt x="202" y="85"/>
                    </a:lnTo>
                    <a:lnTo>
                      <a:pt x="202" y="85"/>
                    </a:lnTo>
                    <a:lnTo>
                      <a:pt x="206" y="85"/>
                    </a:lnTo>
                    <a:lnTo>
                      <a:pt x="208" y="86"/>
                    </a:lnTo>
                    <a:lnTo>
                      <a:pt x="210" y="86"/>
                    </a:lnTo>
                    <a:lnTo>
                      <a:pt x="210" y="86"/>
                    </a:lnTo>
                    <a:lnTo>
                      <a:pt x="213" y="91"/>
                    </a:lnTo>
                    <a:lnTo>
                      <a:pt x="217" y="93"/>
                    </a:lnTo>
                    <a:lnTo>
                      <a:pt x="217" y="93"/>
                    </a:lnTo>
                    <a:lnTo>
                      <a:pt x="218" y="99"/>
                    </a:lnTo>
                    <a:lnTo>
                      <a:pt x="218" y="99"/>
                    </a:lnTo>
                    <a:lnTo>
                      <a:pt x="221" y="101"/>
                    </a:lnTo>
                    <a:lnTo>
                      <a:pt x="225" y="104"/>
                    </a:lnTo>
                    <a:lnTo>
                      <a:pt x="232" y="107"/>
                    </a:lnTo>
                    <a:lnTo>
                      <a:pt x="237" y="105"/>
                    </a:lnTo>
                    <a:lnTo>
                      <a:pt x="237" y="105"/>
                    </a:lnTo>
                    <a:lnTo>
                      <a:pt x="240" y="107"/>
                    </a:lnTo>
                    <a:lnTo>
                      <a:pt x="243" y="110"/>
                    </a:lnTo>
                    <a:lnTo>
                      <a:pt x="240" y="110"/>
                    </a:lnTo>
                    <a:lnTo>
                      <a:pt x="242" y="112"/>
                    </a:lnTo>
                    <a:lnTo>
                      <a:pt x="244" y="115"/>
                    </a:lnTo>
                    <a:lnTo>
                      <a:pt x="247" y="115"/>
                    </a:lnTo>
                    <a:lnTo>
                      <a:pt x="254" y="120"/>
                    </a:lnTo>
                    <a:lnTo>
                      <a:pt x="252" y="126"/>
                    </a:lnTo>
                    <a:lnTo>
                      <a:pt x="254" y="126"/>
                    </a:lnTo>
                    <a:lnTo>
                      <a:pt x="255" y="124"/>
                    </a:lnTo>
                    <a:lnTo>
                      <a:pt x="255" y="126"/>
                    </a:lnTo>
                    <a:lnTo>
                      <a:pt x="259" y="127"/>
                    </a:lnTo>
                    <a:lnTo>
                      <a:pt x="261" y="127"/>
                    </a:lnTo>
                    <a:lnTo>
                      <a:pt x="261" y="123"/>
                    </a:lnTo>
                    <a:lnTo>
                      <a:pt x="263" y="123"/>
                    </a:lnTo>
                    <a:lnTo>
                      <a:pt x="263" y="123"/>
                    </a:lnTo>
                    <a:lnTo>
                      <a:pt x="263" y="126"/>
                    </a:lnTo>
                    <a:lnTo>
                      <a:pt x="265" y="130"/>
                    </a:lnTo>
                    <a:lnTo>
                      <a:pt x="266" y="139"/>
                    </a:lnTo>
                    <a:lnTo>
                      <a:pt x="263" y="139"/>
                    </a:lnTo>
                    <a:lnTo>
                      <a:pt x="263" y="142"/>
                    </a:lnTo>
                    <a:lnTo>
                      <a:pt x="262" y="143"/>
                    </a:lnTo>
                    <a:lnTo>
                      <a:pt x="256" y="141"/>
                    </a:lnTo>
                    <a:lnTo>
                      <a:pt x="259" y="137"/>
                    </a:lnTo>
                    <a:lnTo>
                      <a:pt x="256" y="137"/>
                    </a:lnTo>
                    <a:lnTo>
                      <a:pt x="252" y="133"/>
                    </a:lnTo>
                    <a:lnTo>
                      <a:pt x="252" y="133"/>
                    </a:lnTo>
                    <a:lnTo>
                      <a:pt x="250" y="137"/>
                    </a:lnTo>
                    <a:lnTo>
                      <a:pt x="248" y="142"/>
                    </a:lnTo>
                    <a:lnTo>
                      <a:pt x="250" y="143"/>
                    </a:lnTo>
                    <a:lnTo>
                      <a:pt x="251" y="141"/>
                    </a:lnTo>
                    <a:lnTo>
                      <a:pt x="251" y="138"/>
                    </a:lnTo>
                    <a:lnTo>
                      <a:pt x="254" y="137"/>
                    </a:lnTo>
                    <a:lnTo>
                      <a:pt x="254" y="137"/>
                    </a:lnTo>
                    <a:lnTo>
                      <a:pt x="255" y="141"/>
                    </a:lnTo>
                    <a:lnTo>
                      <a:pt x="255" y="145"/>
                    </a:lnTo>
                    <a:lnTo>
                      <a:pt x="256" y="143"/>
                    </a:lnTo>
                    <a:lnTo>
                      <a:pt x="259" y="148"/>
                    </a:lnTo>
                    <a:lnTo>
                      <a:pt x="262" y="145"/>
                    </a:lnTo>
                    <a:lnTo>
                      <a:pt x="263" y="149"/>
                    </a:lnTo>
                    <a:lnTo>
                      <a:pt x="259" y="157"/>
                    </a:lnTo>
                    <a:lnTo>
                      <a:pt x="258" y="157"/>
                    </a:lnTo>
                    <a:lnTo>
                      <a:pt x="259" y="161"/>
                    </a:lnTo>
                    <a:lnTo>
                      <a:pt x="258" y="164"/>
                    </a:lnTo>
                    <a:lnTo>
                      <a:pt x="252" y="166"/>
                    </a:lnTo>
                    <a:lnTo>
                      <a:pt x="252" y="166"/>
                    </a:lnTo>
                    <a:lnTo>
                      <a:pt x="250" y="165"/>
                    </a:lnTo>
                    <a:lnTo>
                      <a:pt x="246" y="165"/>
                    </a:lnTo>
                    <a:lnTo>
                      <a:pt x="243" y="165"/>
                    </a:lnTo>
                    <a:lnTo>
                      <a:pt x="240" y="164"/>
                    </a:lnTo>
                    <a:lnTo>
                      <a:pt x="239" y="160"/>
                    </a:lnTo>
                    <a:lnTo>
                      <a:pt x="239" y="156"/>
                    </a:lnTo>
                    <a:lnTo>
                      <a:pt x="242" y="154"/>
                    </a:lnTo>
                    <a:lnTo>
                      <a:pt x="242" y="150"/>
                    </a:lnTo>
                    <a:lnTo>
                      <a:pt x="239" y="148"/>
                    </a:lnTo>
                    <a:lnTo>
                      <a:pt x="237" y="149"/>
                    </a:lnTo>
                    <a:lnTo>
                      <a:pt x="237" y="152"/>
                    </a:lnTo>
                    <a:lnTo>
                      <a:pt x="236" y="152"/>
                    </a:lnTo>
                    <a:lnTo>
                      <a:pt x="235" y="149"/>
                    </a:lnTo>
                    <a:lnTo>
                      <a:pt x="229" y="150"/>
                    </a:lnTo>
                    <a:lnTo>
                      <a:pt x="229" y="153"/>
                    </a:lnTo>
                    <a:lnTo>
                      <a:pt x="232" y="153"/>
                    </a:lnTo>
                    <a:lnTo>
                      <a:pt x="235" y="154"/>
                    </a:lnTo>
                    <a:lnTo>
                      <a:pt x="235" y="160"/>
                    </a:lnTo>
                    <a:lnTo>
                      <a:pt x="231" y="162"/>
                    </a:lnTo>
                    <a:lnTo>
                      <a:pt x="225" y="162"/>
                    </a:lnTo>
                    <a:lnTo>
                      <a:pt x="225" y="162"/>
                    </a:lnTo>
                    <a:lnTo>
                      <a:pt x="224" y="168"/>
                    </a:lnTo>
                    <a:lnTo>
                      <a:pt x="221" y="172"/>
                    </a:lnTo>
                    <a:lnTo>
                      <a:pt x="217" y="175"/>
                    </a:lnTo>
                    <a:lnTo>
                      <a:pt x="213" y="177"/>
                    </a:lnTo>
                    <a:lnTo>
                      <a:pt x="212" y="179"/>
                    </a:lnTo>
                    <a:lnTo>
                      <a:pt x="212" y="179"/>
                    </a:lnTo>
                    <a:lnTo>
                      <a:pt x="216" y="179"/>
                    </a:lnTo>
                    <a:lnTo>
                      <a:pt x="220" y="177"/>
                    </a:lnTo>
                    <a:lnTo>
                      <a:pt x="227" y="175"/>
                    </a:lnTo>
                    <a:lnTo>
                      <a:pt x="227" y="175"/>
                    </a:lnTo>
                    <a:lnTo>
                      <a:pt x="232" y="171"/>
                    </a:lnTo>
                    <a:lnTo>
                      <a:pt x="237" y="168"/>
                    </a:lnTo>
                    <a:lnTo>
                      <a:pt x="243" y="166"/>
                    </a:lnTo>
                    <a:lnTo>
                      <a:pt x="246" y="168"/>
                    </a:lnTo>
                    <a:lnTo>
                      <a:pt x="248" y="169"/>
                    </a:lnTo>
                    <a:lnTo>
                      <a:pt x="250" y="171"/>
                    </a:lnTo>
                    <a:lnTo>
                      <a:pt x="250" y="171"/>
                    </a:lnTo>
                    <a:lnTo>
                      <a:pt x="248" y="172"/>
                    </a:lnTo>
                    <a:lnTo>
                      <a:pt x="247" y="175"/>
                    </a:lnTo>
                    <a:lnTo>
                      <a:pt x="246" y="177"/>
                    </a:lnTo>
                    <a:lnTo>
                      <a:pt x="244" y="180"/>
                    </a:lnTo>
                    <a:lnTo>
                      <a:pt x="244" y="180"/>
                    </a:lnTo>
                    <a:lnTo>
                      <a:pt x="236" y="185"/>
                    </a:lnTo>
                    <a:lnTo>
                      <a:pt x="236" y="185"/>
                    </a:lnTo>
                    <a:lnTo>
                      <a:pt x="232" y="190"/>
                    </a:lnTo>
                    <a:lnTo>
                      <a:pt x="229" y="194"/>
                    </a:lnTo>
                    <a:lnTo>
                      <a:pt x="229" y="194"/>
                    </a:lnTo>
                    <a:lnTo>
                      <a:pt x="225" y="196"/>
                    </a:lnTo>
                    <a:lnTo>
                      <a:pt x="220" y="198"/>
                    </a:lnTo>
                    <a:lnTo>
                      <a:pt x="220" y="198"/>
                    </a:lnTo>
                    <a:lnTo>
                      <a:pt x="210" y="204"/>
                    </a:lnTo>
                    <a:lnTo>
                      <a:pt x="205" y="207"/>
                    </a:lnTo>
                    <a:lnTo>
                      <a:pt x="198" y="210"/>
                    </a:lnTo>
                    <a:lnTo>
                      <a:pt x="199" y="211"/>
                    </a:lnTo>
                    <a:lnTo>
                      <a:pt x="198" y="213"/>
                    </a:lnTo>
                    <a:lnTo>
                      <a:pt x="198" y="213"/>
                    </a:lnTo>
                    <a:lnTo>
                      <a:pt x="193" y="213"/>
                    </a:lnTo>
                    <a:lnTo>
                      <a:pt x="189" y="211"/>
                    </a:lnTo>
                    <a:lnTo>
                      <a:pt x="186" y="211"/>
                    </a:lnTo>
                    <a:lnTo>
                      <a:pt x="178" y="209"/>
                    </a:lnTo>
                    <a:lnTo>
                      <a:pt x="179" y="207"/>
                    </a:lnTo>
                    <a:lnTo>
                      <a:pt x="176" y="206"/>
                    </a:lnTo>
                    <a:lnTo>
                      <a:pt x="176" y="206"/>
                    </a:lnTo>
                    <a:lnTo>
                      <a:pt x="182" y="203"/>
                    </a:lnTo>
                    <a:lnTo>
                      <a:pt x="186" y="199"/>
                    </a:lnTo>
                    <a:lnTo>
                      <a:pt x="186" y="199"/>
                    </a:lnTo>
                    <a:lnTo>
                      <a:pt x="187" y="196"/>
                    </a:lnTo>
                    <a:lnTo>
                      <a:pt x="189" y="195"/>
                    </a:lnTo>
                    <a:lnTo>
                      <a:pt x="193" y="192"/>
                    </a:lnTo>
                    <a:lnTo>
                      <a:pt x="191" y="188"/>
                    </a:lnTo>
                    <a:lnTo>
                      <a:pt x="189" y="185"/>
                    </a:lnTo>
                    <a:lnTo>
                      <a:pt x="183" y="187"/>
                    </a:lnTo>
                    <a:lnTo>
                      <a:pt x="182" y="185"/>
                    </a:lnTo>
                    <a:lnTo>
                      <a:pt x="182" y="185"/>
                    </a:lnTo>
                    <a:lnTo>
                      <a:pt x="179" y="187"/>
                    </a:lnTo>
                    <a:lnTo>
                      <a:pt x="178" y="187"/>
                    </a:lnTo>
                    <a:lnTo>
                      <a:pt x="175" y="187"/>
                    </a:lnTo>
                    <a:lnTo>
                      <a:pt x="176" y="188"/>
                    </a:lnTo>
                    <a:lnTo>
                      <a:pt x="172" y="190"/>
                    </a:lnTo>
                    <a:lnTo>
                      <a:pt x="172" y="190"/>
                    </a:lnTo>
                    <a:lnTo>
                      <a:pt x="166" y="199"/>
                    </a:lnTo>
                    <a:lnTo>
                      <a:pt x="163" y="204"/>
                    </a:lnTo>
                    <a:lnTo>
                      <a:pt x="159" y="207"/>
                    </a:lnTo>
                    <a:lnTo>
                      <a:pt x="149" y="209"/>
                    </a:lnTo>
                    <a:lnTo>
                      <a:pt x="149" y="209"/>
                    </a:lnTo>
                    <a:lnTo>
                      <a:pt x="145" y="206"/>
                    </a:lnTo>
                    <a:lnTo>
                      <a:pt x="141" y="206"/>
                    </a:lnTo>
                    <a:lnTo>
                      <a:pt x="141" y="206"/>
                    </a:lnTo>
                    <a:lnTo>
                      <a:pt x="138" y="211"/>
                    </a:lnTo>
                    <a:lnTo>
                      <a:pt x="136" y="214"/>
                    </a:lnTo>
                    <a:lnTo>
                      <a:pt x="133" y="215"/>
                    </a:lnTo>
                    <a:lnTo>
                      <a:pt x="132" y="217"/>
                    </a:lnTo>
                    <a:lnTo>
                      <a:pt x="132" y="217"/>
                    </a:lnTo>
                    <a:lnTo>
                      <a:pt x="128" y="219"/>
                    </a:lnTo>
                    <a:lnTo>
                      <a:pt x="123" y="222"/>
                    </a:lnTo>
                    <a:lnTo>
                      <a:pt x="119" y="225"/>
                    </a:lnTo>
                    <a:lnTo>
                      <a:pt x="117" y="225"/>
                    </a:lnTo>
                    <a:lnTo>
                      <a:pt x="114" y="223"/>
                    </a:lnTo>
                    <a:lnTo>
                      <a:pt x="114" y="223"/>
                    </a:lnTo>
                    <a:lnTo>
                      <a:pt x="111" y="221"/>
                    </a:lnTo>
                    <a:lnTo>
                      <a:pt x="109" y="219"/>
                    </a:lnTo>
                    <a:lnTo>
                      <a:pt x="109" y="219"/>
                    </a:lnTo>
                    <a:lnTo>
                      <a:pt x="104" y="221"/>
                    </a:lnTo>
                    <a:lnTo>
                      <a:pt x="100" y="222"/>
                    </a:lnTo>
                    <a:lnTo>
                      <a:pt x="91" y="222"/>
                    </a:lnTo>
                    <a:lnTo>
                      <a:pt x="87" y="226"/>
                    </a:lnTo>
                    <a:lnTo>
                      <a:pt x="87" y="229"/>
                    </a:lnTo>
                    <a:lnTo>
                      <a:pt x="85" y="229"/>
                    </a:lnTo>
                    <a:lnTo>
                      <a:pt x="84" y="228"/>
                    </a:lnTo>
                    <a:lnTo>
                      <a:pt x="81" y="229"/>
                    </a:lnTo>
                    <a:lnTo>
                      <a:pt x="79" y="229"/>
                    </a:lnTo>
                    <a:lnTo>
                      <a:pt x="79" y="228"/>
                    </a:lnTo>
                    <a:lnTo>
                      <a:pt x="76" y="226"/>
                    </a:lnTo>
                    <a:lnTo>
                      <a:pt x="73" y="228"/>
                    </a:lnTo>
                    <a:lnTo>
                      <a:pt x="72" y="229"/>
                    </a:lnTo>
                    <a:lnTo>
                      <a:pt x="69" y="226"/>
                    </a:lnTo>
                    <a:lnTo>
                      <a:pt x="68" y="226"/>
                    </a:lnTo>
                    <a:lnTo>
                      <a:pt x="64" y="225"/>
                    </a:lnTo>
                    <a:lnTo>
                      <a:pt x="62" y="228"/>
                    </a:lnTo>
                    <a:lnTo>
                      <a:pt x="60" y="226"/>
                    </a:lnTo>
                    <a:lnTo>
                      <a:pt x="57" y="226"/>
                    </a:lnTo>
                    <a:lnTo>
                      <a:pt x="57" y="229"/>
                    </a:lnTo>
                    <a:lnTo>
                      <a:pt x="56" y="230"/>
                    </a:lnTo>
                    <a:lnTo>
                      <a:pt x="52" y="230"/>
                    </a:lnTo>
                    <a:lnTo>
                      <a:pt x="50" y="228"/>
                    </a:lnTo>
                    <a:lnTo>
                      <a:pt x="45" y="229"/>
                    </a:lnTo>
                    <a:lnTo>
                      <a:pt x="42" y="238"/>
                    </a:lnTo>
                    <a:lnTo>
                      <a:pt x="42" y="238"/>
                    </a:lnTo>
                    <a:lnTo>
                      <a:pt x="41" y="240"/>
                    </a:lnTo>
                    <a:lnTo>
                      <a:pt x="39" y="242"/>
                    </a:lnTo>
                    <a:lnTo>
                      <a:pt x="37" y="241"/>
                    </a:lnTo>
                    <a:lnTo>
                      <a:pt x="37" y="240"/>
                    </a:lnTo>
                    <a:lnTo>
                      <a:pt x="39" y="238"/>
                    </a:lnTo>
                    <a:lnTo>
                      <a:pt x="38" y="237"/>
                    </a:lnTo>
                    <a:lnTo>
                      <a:pt x="31" y="238"/>
                    </a:lnTo>
                    <a:lnTo>
                      <a:pt x="28" y="237"/>
                    </a:lnTo>
                    <a:lnTo>
                      <a:pt x="27" y="237"/>
                    </a:lnTo>
                    <a:lnTo>
                      <a:pt x="26" y="241"/>
                    </a:lnTo>
                    <a:lnTo>
                      <a:pt x="22" y="238"/>
                    </a:lnTo>
                    <a:lnTo>
                      <a:pt x="18" y="238"/>
                    </a:lnTo>
                    <a:lnTo>
                      <a:pt x="16" y="237"/>
                    </a:lnTo>
                    <a:lnTo>
                      <a:pt x="16" y="233"/>
                    </a:lnTo>
                    <a:lnTo>
                      <a:pt x="19" y="232"/>
                    </a:lnTo>
                    <a:lnTo>
                      <a:pt x="16" y="229"/>
                    </a:lnTo>
                    <a:lnTo>
                      <a:pt x="12" y="232"/>
                    </a:lnTo>
                    <a:lnTo>
                      <a:pt x="10" y="230"/>
                    </a:lnTo>
                    <a:lnTo>
                      <a:pt x="8" y="218"/>
                    </a:lnTo>
                    <a:lnTo>
                      <a:pt x="11" y="217"/>
                    </a:lnTo>
                    <a:lnTo>
                      <a:pt x="11" y="217"/>
                    </a:lnTo>
                    <a:lnTo>
                      <a:pt x="7" y="218"/>
                    </a:lnTo>
                    <a:lnTo>
                      <a:pt x="3" y="218"/>
                    </a:lnTo>
                    <a:lnTo>
                      <a:pt x="4" y="214"/>
                    </a:lnTo>
                    <a:lnTo>
                      <a:pt x="0" y="214"/>
                    </a:lnTo>
                    <a:lnTo>
                      <a:pt x="1" y="213"/>
                    </a:lnTo>
                    <a:lnTo>
                      <a:pt x="3" y="211"/>
                    </a:lnTo>
                    <a:lnTo>
                      <a:pt x="1" y="209"/>
                    </a:lnTo>
                    <a:lnTo>
                      <a:pt x="1" y="204"/>
                    </a:lnTo>
                    <a:lnTo>
                      <a:pt x="3" y="204"/>
                    </a:lnTo>
                    <a:lnTo>
                      <a:pt x="3" y="204"/>
                    </a:lnTo>
                    <a:lnTo>
                      <a:pt x="3" y="200"/>
                    </a:lnTo>
                    <a:lnTo>
                      <a:pt x="4" y="198"/>
                    </a:lnTo>
                    <a:lnTo>
                      <a:pt x="7" y="196"/>
                    </a:lnTo>
                    <a:lnTo>
                      <a:pt x="7" y="194"/>
                    </a:lnTo>
                    <a:lnTo>
                      <a:pt x="8" y="194"/>
                    </a:lnTo>
                    <a:lnTo>
                      <a:pt x="10" y="191"/>
                    </a:lnTo>
                    <a:lnTo>
                      <a:pt x="12" y="192"/>
                    </a:lnTo>
                    <a:lnTo>
                      <a:pt x="14" y="191"/>
                    </a:lnTo>
                    <a:lnTo>
                      <a:pt x="14" y="191"/>
                    </a:lnTo>
                    <a:lnTo>
                      <a:pt x="18" y="192"/>
                    </a:lnTo>
                    <a:lnTo>
                      <a:pt x="20" y="195"/>
                    </a:lnTo>
                    <a:lnTo>
                      <a:pt x="23" y="194"/>
                    </a:lnTo>
                    <a:lnTo>
                      <a:pt x="26" y="195"/>
                    </a:lnTo>
                    <a:lnTo>
                      <a:pt x="26" y="194"/>
                    </a:lnTo>
                    <a:lnTo>
                      <a:pt x="30" y="194"/>
                    </a:lnTo>
                    <a:lnTo>
                      <a:pt x="31" y="198"/>
                    </a:lnTo>
                    <a:lnTo>
                      <a:pt x="33" y="195"/>
                    </a:lnTo>
                    <a:lnTo>
                      <a:pt x="35" y="198"/>
                    </a:lnTo>
                    <a:lnTo>
                      <a:pt x="37" y="196"/>
                    </a:lnTo>
                    <a:lnTo>
                      <a:pt x="38" y="204"/>
                    </a:lnTo>
                    <a:lnTo>
                      <a:pt x="35" y="206"/>
                    </a:lnTo>
                    <a:lnTo>
                      <a:pt x="31" y="204"/>
                    </a:lnTo>
                    <a:lnTo>
                      <a:pt x="28" y="206"/>
                    </a:lnTo>
                    <a:lnTo>
                      <a:pt x="28" y="206"/>
                    </a:lnTo>
                    <a:lnTo>
                      <a:pt x="33" y="206"/>
                    </a:lnTo>
                    <a:lnTo>
                      <a:pt x="35" y="206"/>
                    </a:lnTo>
                    <a:lnTo>
                      <a:pt x="35" y="206"/>
                    </a:lnTo>
                    <a:lnTo>
                      <a:pt x="38" y="207"/>
                    </a:lnTo>
                    <a:lnTo>
                      <a:pt x="41" y="209"/>
                    </a:lnTo>
                    <a:lnTo>
                      <a:pt x="42" y="207"/>
                    </a:lnTo>
                    <a:lnTo>
                      <a:pt x="42" y="207"/>
                    </a:lnTo>
                    <a:lnTo>
                      <a:pt x="46" y="207"/>
                    </a:lnTo>
                    <a:lnTo>
                      <a:pt x="50" y="209"/>
                    </a:lnTo>
                    <a:lnTo>
                      <a:pt x="50" y="206"/>
                    </a:lnTo>
                    <a:lnTo>
                      <a:pt x="49" y="206"/>
                    </a:lnTo>
                    <a:lnTo>
                      <a:pt x="50" y="204"/>
                    </a:lnTo>
                    <a:lnTo>
                      <a:pt x="50" y="203"/>
                    </a:lnTo>
                    <a:lnTo>
                      <a:pt x="49" y="200"/>
                    </a:lnTo>
                    <a:lnTo>
                      <a:pt x="47" y="200"/>
                    </a:lnTo>
                    <a:lnTo>
                      <a:pt x="45" y="196"/>
                    </a:lnTo>
                    <a:lnTo>
                      <a:pt x="45" y="195"/>
                    </a:lnTo>
                    <a:lnTo>
                      <a:pt x="45" y="195"/>
                    </a:lnTo>
                    <a:lnTo>
                      <a:pt x="49" y="194"/>
                    </a:lnTo>
                    <a:lnTo>
                      <a:pt x="53" y="194"/>
                    </a:lnTo>
                    <a:lnTo>
                      <a:pt x="57" y="196"/>
                    </a:lnTo>
                    <a:lnTo>
                      <a:pt x="60" y="200"/>
                    </a:lnTo>
                    <a:lnTo>
                      <a:pt x="62" y="199"/>
                    </a:lnTo>
                    <a:lnTo>
                      <a:pt x="61" y="196"/>
                    </a:lnTo>
                    <a:lnTo>
                      <a:pt x="62" y="196"/>
                    </a:lnTo>
                    <a:lnTo>
                      <a:pt x="64" y="198"/>
                    </a:lnTo>
                    <a:lnTo>
                      <a:pt x="66" y="199"/>
                    </a:lnTo>
                    <a:lnTo>
                      <a:pt x="72" y="199"/>
                    </a:lnTo>
                    <a:lnTo>
                      <a:pt x="69" y="198"/>
                    </a:lnTo>
                    <a:lnTo>
                      <a:pt x="73" y="195"/>
                    </a:lnTo>
                    <a:lnTo>
                      <a:pt x="73" y="195"/>
                    </a:lnTo>
                    <a:lnTo>
                      <a:pt x="79" y="196"/>
                    </a:lnTo>
                    <a:lnTo>
                      <a:pt x="85" y="198"/>
                    </a:lnTo>
                    <a:lnTo>
                      <a:pt x="85" y="198"/>
                    </a:lnTo>
                    <a:lnTo>
                      <a:pt x="90" y="195"/>
                    </a:lnTo>
                    <a:lnTo>
                      <a:pt x="91" y="192"/>
                    </a:lnTo>
                    <a:lnTo>
                      <a:pt x="100" y="194"/>
                    </a:lnTo>
                    <a:lnTo>
                      <a:pt x="100" y="194"/>
                    </a:lnTo>
                    <a:lnTo>
                      <a:pt x="100" y="192"/>
                    </a:lnTo>
                    <a:lnTo>
                      <a:pt x="104" y="191"/>
                    </a:lnTo>
                    <a:lnTo>
                      <a:pt x="104" y="190"/>
                    </a:lnTo>
                    <a:lnTo>
                      <a:pt x="104" y="188"/>
                    </a:lnTo>
                    <a:lnTo>
                      <a:pt x="104" y="188"/>
                    </a:lnTo>
                    <a:lnTo>
                      <a:pt x="114" y="185"/>
                    </a:lnTo>
                    <a:lnTo>
                      <a:pt x="119" y="183"/>
                    </a:lnTo>
                    <a:lnTo>
                      <a:pt x="123" y="180"/>
                    </a:lnTo>
                    <a:lnTo>
                      <a:pt x="123" y="180"/>
                    </a:lnTo>
                    <a:lnTo>
                      <a:pt x="126" y="180"/>
                    </a:lnTo>
                    <a:lnTo>
                      <a:pt x="130" y="179"/>
                    </a:lnTo>
                    <a:lnTo>
                      <a:pt x="130" y="179"/>
                    </a:lnTo>
                    <a:lnTo>
                      <a:pt x="133" y="176"/>
                    </a:lnTo>
                    <a:lnTo>
                      <a:pt x="134" y="171"/>
                    </a:lnTo>
                    <a:lnTo>
                      <a:pt x="132" y="172"/>
                    </a:lnTo>
                    <a:lnTo>
                      <a:pt x="133" y="169"/>
                    </a:lnTo>
                    <a:lnTo>
                      <a:pt x="130" y="166"/>
                    </a:lnTo>
                    <a:lnTo>
                      <a:pt x="132" y="165"/>
                    </a:lnTo>
                    <a:lnTo>
                      <a:pt x="133" y="166"/>
                    </a:lnTo>
                    <a:lnTo>
                      <a:pt x="138" y="168"/>
                    </a:lnTo>
                    <a:lnTo>
                      <a:pt x="144" y="166"/>
                    </a:lnTo>
                    <a:lnTo>
                      <a:pt x="144" y="165"/>
                    </a:lnTo>
                    <a:lnTo>
                      <a:pt x="138" y="165"/>
                    </a:lnTo>
                    <a:lnTo>
                      <a:pt x="134" y="162"/>
                    </a:lnTo>
                    <a:lnTo>
                      <a:pt x="132" y="164"/>
                    </a:lnTo>
                    <a:lnTo>
                      <a:pt x="132" y="164"/>
                    </a:lnTo>
                    <a:lnTo>
                      <a:pt x="129" y="162"/>
                    </a:lnTo>
                    <a:lnTo>
                      <a:pt x="126" y="162"/>
                    </a:lnTo>
                    <a:lnTo>
                      <a:pt x="126" y="162"/>
                    </a:lnTo>
                    <a:lnTo>
                      <a:pt x="123" y="164"/>
                    </a:lnTo>
                    <a:lnTo>
                      <a:pt x="119" y="166"/>
                    </a:lnTo>
                    <a:lnTo>
                      <a:pt x="115" y="173"/>
                    </a:lnTo>
                    <a:lnTo>
                      <a:pt x="113" y="173"/>
                    </a:lnTo>
                    <a:lnTo>
                      <a:pt x="113" y="172"/>
                    </a:lnTo>
                    <a:lnTo>
                      <a:pt x="115" y="171"/>
                    </a:lnTo>
                    <a:lnTo>
                      <a:pt x="110" y="169"/>
                    </a:lnTo>
                    <a:lnTo>
                      <a:pt x="110" y="172"/>
                    </a:lnTo>
                    <a:lnTo>
                      <a:pt x="106" y="176"/>
                    </a:lnTo>
                    <a:lnTo>
                      <a:pt x="106" y="176"/>
                    </a:lnTo>
                    <a:lnTo>
                      <a:pt x="103" y="176"/>
                    </a:lnTo>
                    <a:lnTo>
                      <a:pt x="100" y="177"/>
                    </a:lnTo>
                    <a:lnTo>
                      <a:pt x="95" y="180"/>
                    </a:lnTo>
                    <a:lnTo>
                      <a:pt x="91" y="179"/>
                    </a:lnTo>
                    <a:lnTo>
                      <a:pt x="90" y="180"/>
                    </a:lnTo>
                    <a:lnTo>
                      <a:pt x="90" y="180"/>
                    </a:lnTo>
                    <a:lnTo>
                      <a:pt x="87" y="179"/>
                    </a:lnTo>
                    <a:lnTo>
                      <a:pt x="84" y="180"/>
                    </a:lnTo>
                    <a:lnTo>
                      <a:pt x="79" y="181"/>
                    </a:lnTo>
                    <a:lnTo>
                      <a:pt x="73" y="184"/>
                    </a:lnTo>
                    <a:lnTo>
                      <a:pt x="71" y="184"/>
                    </a:lnTo>
                    <a:lnTo>
                      <a:pt x="66" y="184"/>
                    </a:lnTo>
                    <a:lnTo>
                      <a:pt x="66" y="184"/>
                    </a:lnTo>
                    <a:lnTo>
                      <a:pt x="62" y="180"/>
                    </a:lnTo>
                    <a:lnTo>
                      <a:pt x="60" y="176"/>
                    </a:lnTo>
                    <a:lnTo>
                      <a:pt x="61" y="173"/>
                    </a:lnTo>
                    <a:lnTo>
                      <a:pt x="60" y="171"/>
                    </a:lnTo>
                    <a:lnTo>
                      <a:pt x="64" y="165"/>
                    </a:lnTo>
                    <a:lnTo>
                      <a:pt x="68" y="162"/>
                    </a:lnTo>
                    <a:lnTo>
                      <a:pt x="68" y="161"/>
                    </a:lnTo>
                    <a:lnTo>
                      <a:pt x="68" y="161"/>
                    </a:lnTo>
                    <a:lnTo>
                      <a:pt x="71" y="158"/>
                    </a:lnTo>
                    <a:lnTo>
                      <a:pt x="73" y="158"/>
                    </a:lnTo>
                    <a:lnTo>
                      <a:pt x="81" y="150"/>
                    </a:lnTo>
                    <a:lnTo>
                      <a:pt x="83" y="149"/>
                    </a:lnTo>
                    <a:lnTo>
                      <a:pt x="81" y="146"/>
                    </a:lnTo>
                    <a:lnTo>
                      <a:pt x="83" y="145"/>
                    </a:lnTo>
                    <a:lnTo>
                      <a:pt x="84" y="141"/>
                    </a:lnTo>
                    <a:lnTo>
                      <a:pt x="87" y="139"/>
                    </a:lnTo>
                    <a:lnTo>
                      <a:pt x="87" y="138"/>
                    </a:lnTo>
                    <a:lnTo>
                      <a:pt x="85" y="137"/>
                    </a:lnTo>
                    <a:lnTo>
                      <a:pt x="90" y="133"/>
                    </a:lnTo>
                    <a:lnTo>
                      <a:pt x="91" y="129"/>
                    </a:lnTo>
                    <a:lnTo>
                      <a:pt x="94" y="127"/>
                    </a:lnTo>
                    <a:lnTo>
                      <a:pt x="94" y="127"/>
                    </a:lnTo>
                    <a:lnTo>
                      <a:pt x="98" y="127"/>
                    </a:lnTo>
                    <a:lnTo>
                      <a:pt x="102" y="127"/>
                    </a:lnTo>
                    <a:lnTo>
                      <a:pt x="109" y="129"/>
                    </a:lnTo>
                    <a:lnTo>
                      <a:pt x="110" y="129"/>
                    </a:lnTo>
                    <a:lnTo>
                      <a:pt x="113" y="127"/>
                    </a:lnTo>
                    <a:lnTo>
                      <a:pt x="121" y="119"/>
                    </a:lnTo>
                    <a:lnTo>
                      <a:pt x="123" y="119"/>
                    </a:lnTo>
                    <a:lnTo>
                      <a:pt x="125" y="118"/>
                    </a:lnTo>
                    <a:lnTo>
                      <a:pt x="129" y="116"/>
                    </a:lnTo>
                    <a:lnTo>
                      <a:pt x="129" y="116"/>
                    </a:lnTo>
                    <a:lnTo>
                      <a:pt x="130" y="114"/>
                    </a:lnTo>
                    <a:lnTo>
                      <a:pt x="133" y="111"/>
                    </a:lnTo>
                    <a:lnTo>
                      <a:pt x="133" y="111"/>
                    </a:lnTo>
                    <a:lnTo>
                      <a:pt x="137" y="107"/>
                    </a:lnTo>
                    <a:lnTo>
                      <a:pt x="138" y="105"/>
                    </a:lnTo>
                    <a:lnTo>
                      <a:pt x="140" y="101"/>
                    </a:lnTo>
                    <a:lnTo>
                      <a:pt x="137" y="99"/>
                    </a:lnTo>
                    <a:lnTo>
                      <a:pt x="132" y="96"/>
                    </a:lnTo>
                    <a:lnTo>
                      <a:pt x="132" y="96"/>
                    </a:lnTo>
                    <a:lnTo>
                      <a:pt x="128" y="100"/>
                    </a:lnTo>
                    <a:lnTo>
                      <a:pt x="125" y="101"/>
                    </a:lnTo>
                    <a:lnTo>
                      <a:pt x="122" y="104"/>
                    </a:lnTo>
                    <a:lnTo>
                      <a:pt x="115" y="105"/>
                    </a:lnTo>
                    <a:lnTo>
                      <a:pt x="114" y="107"/>
                    </a:lnTo>
                    <a:lnTo>
                      <a:pt x="114" y="107"/>
                    </a:lnTo>
                    <a:lnTo>
                      <a:pt x="110" y="108"/>
                    </a:lnTo>
                    <a:lnTo>
                      <a:pt x="107" y="110"/>
                    </a:lnTo>
                    <a:lnTo>
                      <a:pt x="99" y="110"/>
                    </a:lnTo>
                    <a:lnTo>
                      <a:pt x="95" y="114"/>
                    </a:lnTo>
                    <a:lnTo>
                      <a:pt x="92" y="114"/>
                    </a:lnTo>
                    <a:lnTo>
                      <a:pt x="88" y="111"/>
                    </a:lnTo>
                    <a:lnTo>
                      <a:pt x="87" y="108"/>
                    </a:lnTo>
                    <a:lnTo>
                      <a:pt x="84" y="110"/>
                    </a:lnTo>
                    <a:lnTo>
                      <a:pt x="81" y="107"/>
                    </a:lnTo>
                    <a:lnTo>
                      <a:pt x="81" y="112"/>
                    </a:lnTo>
                    <a:lnTo>
                      <a:pt x="85" y="111"/>
                    </a:lnTo>
                    <a:lnTo>
                      <a:pt x="85" y="114"/>
                    </a:lnTo>
                    <a:lnTo>
                      <a:pt x="84" y="115"/>
                    </a:lnTo>
                    <a:lnTo>
                      <a:pt x="81" y="115"/>
                    </a:lnTo>
                    <a:lnTo>
                      <a:pt x="79" y="119"/>
                    </a:lnTo>
                    <a:lnTo>
                      <a:pt x="79" y="119"/>
                    </a:lnTo>
                    <a:lnTo>
                      <a:pt x="73" y="119"/>
                    </a:lnTo>
                    <a:lnTo>
                      <a:pt x="69" y="118"/>
                    </a:lnTo>
                    <a:lnTo>
                      <a:pt x="65" y="119"/>
                    </a:lnTo>
                    <a:lnTo>
                      <a:pt x="66" y="120"/>
                    </a:lnTo>
                    <a:lnTo>
                      <a:pt x="62" y="122"/>
                    </a:lnTo>
                    <a:lnTo>
                      <a:pt x="61" y="120"/>
                    </a:lnTo>
                    <a:lnTo>
                      <a:pt x="61" y="119"/>
                    </a:lnTo>
                    <a:lnTo>
                      <a:pt x="60" y="120"/>
                    </a:lnTo>
                    <a:lnTo>
                      <a:pt x="61" y="115"/>
                    </a:lnTo>
                    <a:lnTo>
                      <a:pt x="57" y="115"/>
                    </a:lnTo>
                    <a:lnTo>
                      <a:pt x="56" y="115"/>
                    </a:lnTo>
                    <a:lnTo>
                      <a:pt x="54" y="115"/>
                    </a:lnTo>
                    <a:lnTo>
                      <a:pt x="54" y="116"/>
                    </a:lnTo>
                    <a:lnTo>
                      <a:pt x="54" y="116"/>
                    </a:lnTo>
                    <a:lnTo>
                      <a:pt x="52" y="116"/>
                    </a:lnTo>
                    <a:lnTo>
                      <a:pt x="49" y="118"/>
                    </a:lnTo>
                    <a:lnTo>
                      <a:pt x="47" y="118"/>
                    </a:lnTo>
                    <a:lnTo>
                      <a:pt x="47" y="116"/>
                    </a:lnTo>
                    <a:lnTo>
                      <a:pt x="46" y="115"/>
                    </a:lnTo>
                    <a:lnTo>
                      <a:pt x="47" y="114"/>
                    </a:lnTo>
                    <a:lnTo>
                      <a:pt x="46" y="112"/>
                    </a:lnTo>
                    <a:lnTo>
                      <a:pt x="43" y="114"/>
                    </a:lnTo>
                    <a:lnTo>
                      <a:pt x="38" y="110"/>
                    </a:lnTo>
                    <a:lnTo>
                      <a:pt x="39" y="110"/>
                    </a:lnTo>
                    <a:lnTo>
                      <a:pt x="39" y="110"/>
                    </a:lnTo>
                    <a:lnTo>
                      <a:pt x="46" y="101"/>
                    </a:lnTo>
                    <a:lnTo>
                      <a:pt x="46" y="99"/>
                    </a:lnTo>
                    <a:lnTo>
                      <a:pt x="47" y="99"/>
                    </a:lnTo>
                    <a:lnTo>
                      <a:pt x="50" y="100"/>
                    </a:lnTo>
                    <a:lnTo>
                      <a:pt x="53" y="99"/>
                    </a:lnTo>
                    <a:lnTo>
                      <a:pt x="53" y="97"/>
                    </a:lnTo>
                    <a:lnTo>
                      <a:pt x="56" y="96"/>
                    </a:lnTo>
                    <a:lnTo>
                      <a:pt x="62" y="99"/>
                    </a:lnTo>
                    <a:lnTo>
                      <a:pt x="62" y="101"/>
                    </a:lnTo>
                    <a:lnTo>
                      <a:pt x="65" y="101"/>
                    </a:lnTo>
                    <a:lnTo>
                      <a:pt x="66" y="105"/>
                    </a:lnTo>
                    <a:lnTo>
                      <a:pt x="71" y="105"/>
                    </a:lnTo>
                    <a:lnTo>
                      <a:pt x="72" y="108"/>
                    </a:lnTo>
                    <a:lnTo>
                      <a:pt x="72" y="108"/>
                    </a:lnTo>
                    <a:lnTo>
                      <a:pt x="72" y="105"/>
                    </a:lnTo>
                    <a:lnTo>
                      <a:pt x="75" y="104"/>
                    </a:lnTo>
                    <a:lnTo>
                      <a:pt x="76" y="105"/>
                    </a:lnTo>
                    <a:lnTo>
                      <a:pt x="77" y="108"/>
                    </a:lnTo>
                    <a:lnTo>
                      <a:pt x="79" y="110"/>
                    </a:lnTo>
                    <a:lnTo>
                      <a:pt x="79" y="110"/>
                    </a:lnTo>
                    <a:lnTo>
                      <a:pt x="81" y="105"/>
                    </a:lnTo>
                    <a:lnTo>
                      <a:pt x="85" y="104"/>
                    </a:lnTo>
                    <a:lnTo>
                      <a:pt x="85" y="101"/>
                    </a:lnTo>
                    <a:lnTo>
                      <a:pt x="84" y="101"/>
                    </a:lnTo>
                    <a:lnTo>
                      <a:pt x="83" y="99"/>
                    </a:lnTo>
                    <a:lnTo>
                      <a:pt x="81" y="99"/>
                    </a:lnTo>
                    <a:lnTo>
                      <a:pt x="83" y="96"/>
                    </a:lnTo>
                    <a:lnTo>
                      <a:pt x="73" y="92"/>
                    </a:lnTo>
                    <a:lnTo>
                      <a:pt x="73" y="89"/>
                    </a:lnTo>
                    <a:lnTo>
                      <a:pt x="72" y="88"/>
                    </a:lnTo>
                    <a:lnTo>
                      <a:pt x="69" y="91"/>
                    </a:lnTo>
                    <a:lnTo>
                      <a:pt x="66" y="86"/>
                    </a:lnTo>
                    <a:lnTo>
                      <a:pt x="65" y="86"/>
                    </a:lnTo>
                    <a:lnTo>
                      <a:pt x="64" y="85"/>
                    </a:lnTo>
                    <a:lnTo>
                      <a:pt x="64" y="85"/>
                    </a:lnTo>
                    <a:lnTo>
                      <a:pt x="60" y="82"/>
                    </a:lnTo>
                    <a:lnTo>
                      <a:pt x="56" y="82"/>
                    </a:lnTo>
                    <a:lnTo>
                      <a:pt x="54" y="78"/>
                    </a:lnTo>
                    <a:lnTo>
                      <a:pt x="54" y="78"/>
                    </a:lnTo>
                    <a:lnTo>
                      <a:pt x="52" y="78"/>
                    </a:lnTo>
                    <a:lnTo>
                      <a:pt x="49" y="80"/>
                    </a:lnTo>
                    <a:lnTo>
                      <a:pt x="46" y="80"/>
                    </a:lnTo>
                    <a:lnTo>
                      <a:pt x="42" y="80"/>
                    </a:lnTo>
                    <a:lnTo>
                      <a:pt x="42" y="8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1" name="Freeform 170">
                <a:extLst>
                  <a:ext uri="{FF2B5EF4-FFF2-40B4-BE49-F238E27FC236}">
                    <a16:creationId xmlns:a16="http://schemas.microsoft.com/office/drawing/2014/main" id="{AD85B188-A430-41EE-8815-D6A619A062CA}"/>
                  </a:ext>
                </a:extLst>
              </p:cNvPr>
              <p:cNvSpPr>
                <a:spLocks/>
              </p:cNvSpPr>
              <p:nvPr/>
            </p:nvSpPr>
            <p:spPr bwMode="auto">
              <a:xfrm>
                <a:off x="2095500" y="3025844"/>
                <a:ext cx="15875" cy="11113"/>
              </a:xfrm>
              <a:custGeom>
                <a:avLst/>
                <a:gdLst>
                  <a:gd name="T0" fmla="*/ 15 w 20"/>
                  <a:gd name="T1" fmla="*/ 11 h 13"/>
                  <a:gd name="T2" fmla="*/ 12 w 20"/>
                  <a:gd name="T3" fmla="*/ 13 h 13"/>
                  <a:gd name="T4" fmla="*/ 11 w 20"/>
                  <a:gd name="T5" fmla="*/ 12 h 13"/>
                  <a:gd name="T6" fmla="*/ 11 w 20"/>
                  <a:gd name="T7" fmla="*/ 9 h 13"/>
                  <a:gd name="T8" fmla="*/ 8 w 20"/>
                  <a:gd name="T9" fmla="*/ 9 h 13"/>
                  <a:gd name="T10" fmla="*/ 7 w 20"/>
                  <a:gd name="T11" fmla="*/ 11 h 13"/>
                  <a:gd name="T12" fmla="*/ 1 w 20"/>
                  <a:gd name="T13" fmla="*/ 9 h 13"/>
                  <a:gd name="T14" fmla="*/ 1 w 20"/>
                  <a:gd name="T15" fmla="*/ 9 h 13"/>
                  <a:gd name="T16" fmla="*/ 1 w 20"/>
                  <a:gd name="T17" fmla="*/ 6 h 13"/>
                  <a:gd name="T18" fmla="*/ 3 w 20"/>
                  <a:gd name="T19" fmla="*/ 2 h 13"/>
                  <a:gd name="T20" fmla="*/ 4 w 20"/>
                  <a:gd name="T21" fmla="*/ 4 h 13"/>
                  <a:gd name="T22" fmla="*/ 4 w 20"/>
                  <a:gd name="T23" fmla="*/ 2 h 13"/>
                  <a:gd name="T24" fmla="*/ 4 w 20"/>
                  <a:gd name="T25" fmla="*/ 1 h 13"/>
                  <a:gd name="T26" fmla="*/ 1 w 20"/>
                  <a:gd name="T27" fmla="*/ 1 h 13"/>
                  <a:gd name="T28" fmla="*/ 0 w 20"/>
                  <a:gd name="T29" fmla="*/ 0 h 13"/>
                  <a:gd name="T30" fmla="*/ 0 w 20"/>
                  <a:gd name="T31" fmla="*/ 0 h 13"/>
                  <a:gd name="T32" fmla="*/ 12 w 20"/>
                  <a:gd name="T33" fmla="*/ 0 h 13"/>
                  <a:gd name="T34" fmla="*/ 15 w 20"/>
                  <a:gd name="T35" fmla="*/ 4 h 13"/>
                  <a:gd name="T36" fmla="*/ 15 w 20"/>
                  <a:gd name="T37" fmla="*/ 1 h 13"/>
                  <a:gd name="T38" fmla="*/ 19 w 20"/>
                  <a:gd name="T39" fmla="*/ 2 h 13"/>
                  <a:gd name="T40" fmla="*/ 19 w 20"/>
                  <a:gd name="T41" fmla="*/ 1 h 13"/>
                  <a:gd name="T42" fmla="*/ 20 w 20"/>
                  <a:gd name="T43" fmla="*/ 1 h 13"/>
                  <a:gd name="T44" fmla="*/ 20 w 20"/>
                  <a:gd name="T45" fmla="*/ 1 h 13"/>
                  <a:gd name="T46" fmla="*/ 18 w 20"/>
                  <a:gd name="T47" fmla="*/ 5 h 13"/>
                  <a:gd name="T48" fmla="*/ 15 w 20"/>
                  <a:gd name="T49" fmla="*/ 9 h 13"/>
                  <a:gd name="T50" fmla="*/ 15 w 20"/>
                  <a:gd name="T5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3">
                    <a:moveTo>
                      <a:pt x="15" y="11"/>
                    </a:moveTo>
                    <a:lnTo>
                      <a:pt x="12" y="13"/>
                    </a:lnTo>
                    <a:lnTo>
                      <a:pt x="11" y="12"/>
                    </a:lnTo>
                    <a:lnTo>
                      <a:pt x="11" y="9"/>
                    </a:lnTo>
                    <a:lnTo>
                      <a:pt x="8" y="9"/>
                    </a:lnTo>
                    <a:lnTo>
                      <a:pt x="7" y="11"/>
                    </a:lnTo>
                    <a:lnTo>
                      <a:pt x="1" y="9"/>
                    </a:lnTo>
                    <a:lnTo>
                      <a:pt x="1" y="9"/>
                    </a:lnTo>
                    <a:lnTo>
                      <a:pt x="1" y="6"/>
                    </a:lnTo>
                    <a:lnTo>
                      <a:pt x="3" y="2"/>
                    </a:lnTo>
                    <a:lnTo>
                      <a:pt x="4" y="4"/>
                    </a:lnTo>
                    <a:lnTo>
                      <a:pt x="4" y="2"/>
                    </a:lnTo>
                    <a:lnTo>
                      <a:pt x="4" y="1"/>
                    </a:lnTo>
                    <a:lnTo>
                      <a:pt x="1" y="1"/>
                    </a:lnTo>
                    <a:lnTo>
                      <a:pt x="0" y="0"/>
                    </a:lnTo>
                    <a:lnTo>
                      <a:pt x="0" y="0"/>
                    </a:lnTo>
                    <a:lnTo>
                      <a:pt x="12" y="0"/>
                    </a:lnTo>
                    <a:lnTo>
                      <a:pt x="15" y="4"/>
                    </a:lnTo>
                    <a:lnTo>
                      <a:pt x="15" y="1"/>
                    </a:lnTo>
                    <a:lnTo>
                      <a:pt x="19" y="2"/>
                    </a:lnTo>
                    <a:lnTo>
                      <a:pt x="19" y="1"/>
                    </a:lnTo>
                    <a:lnTo>
                      <a:pt x="20" y="1"/>
                    </a:lnTo>
                    <a:lnTo>
                      <a:pt x="20" y="1"/>
                    </a:lnTo>
                    <a:lnTo>
                      <a:pt x="18" y="5"/>
                    </a:lnTo>
                    <a:lnTo>
                      <a:pt x="15" y="9"/>
                    </a:lnTo>
                    <a:lnTo>
                      <a:pt x="15" y="1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2" name="Freeform 171">
                <a:extLst>
                  <a:ext uri="{FF2B5EF4-FFF2-40B4-BE49-F238E27FC236}">
                    <a16:creationId xmlns:a16="http://schemas.microsoft.com/office/drawing/2014/main" id="{1677D08D-1925-4B27-857C-261EE86764C7}"/>
                  </a:ext>
                </a:extLst>
              </p:cNvPr>
              <p:cNvSpPr>
                <a:spLocks/>
              </p:cNvSpPr>
              <p:nvPr/>
            </p:nvSpPr>
            <p:spPr bwMode="auto">
              <a:xfrm>
                <a:off x="2155825" y="3038544"/>
                <a:ext cx="6350" cy="4763"/>
              </a:xfrm>
              <a:custGeom>
                <a:avLst/>
                <a:gdLst>
                  <a:gd name="T0" fmla="*/ 8 w 10"/>
                  <a:gd name="T1" fmla="*/ 1 h 5"/>
                  <a:gd name="T2" fmla="*/ 10 w 10"/>
                  <a:gd name="T3" fmla="*/ 3 h 5"/>
                  <a:gd name="T4" fmla="*/ 7 w 10"/>
                  <a:gd name="T5" fmla="*/ 5 h 5"/>
                  <a:gd name="T6" fmla="*/ 1 w 10"/>
                  <a:gd name="T7" fmla="*/ 4 h 5"/>
                  <a:gd name="T8" fmla="*/ 0 w 10"/>
                  <a:gd name="T9" fmla="*/ 4 h 5"/>
                  <a:gd name="T10" fmla="*/ 1 w 10"/>
                  <a:gd name="T11" fmla="*/ 1 h 5"/>
                  <a:gd name="T12" fmla="*/ 5 w 10"/>
                  <a:gd name="T13" fmla="*/ 0 h 5"/>
                  <a:gd name="T14" fmla="*/ 8 w 10"/>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8" y="1"/>
                    </a:moveTo>
                    <a:lnTo>
                      <a:pt x="10" y="3"/>
                    </a:lnTo>
                    <a:lnTo>
                      <a:pt x="7" y="5"/>
                    </a:lnTo>
                    <a:lnTo>
                      <a:pt x="1" y="4"/>
                    </a:lnTo>
                    <a:lnTo>
                      <a:pt x="0" y="4"/>
                    </a:lnTo>
                    <a:lnTo>
                      <a:pt x="1" y="1"/>
                    </a:lnTo>
                    <a:lnTo>
                      <a:pt x="5" y="0"/>
                    </a:lnTo>
                    <a:lnTo>
                      <a:pt x="8"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3" name="Freeform 172">
                <a:extLst>
                  <a:ext uri="{FF2B5EF4-FFF2-40B4-BE49-F238E27FC236}">
                    <a16:creationId xmlns:a16="http://schemas.microsoft.com/office/drawing/2014/main" id="{EBB29663-4453-4C41-9DBD-752428C990C7}"/>
                  </a:ext>
                </a:extLst>
              </p:cNvPr>
              <p:cNvSpPr>
                <a:spLocks/>
              </p:cNvSpPr>
              <p:nvPr/>
            </p:nvSpPr>
            <p:spPr bwMode="auto">
              <a:xfrm>
                <a:off x="2301875" y="2992506"/>
                <a:ext cx="49213" cy="50800"/>
              </a:xfrm>
              <a:custGeom>
                <a:avLst/>
                <a:gdLst>
                  <a:gd name="T0" fmla="*/ 0 w 62"/>
                  <a:gd name="T1" fmla="*/ 62 h 63"/>
                  <a:gd name="T2" fmla="*/ 8 w 62"/>
                  <a:gd name="T3" fmla="*/ 54 h 63"/>
                  <a:gd name="T4" fmla="*/ 8 w 62"/>
                  <a:gd name="T5" fmla="*/ 54 h 63"/>
                  <a:gd name="T6" fmla="*/ 8 w 62"/>
                  <a:gd name="T7" fmla="*/ 48 h 63"/>
                  <a:gd name="T8" fmla="*/ 9 w 62"/>
                  <a:gd name="T9" fmla="*/ 43 h 63"/>
                  <a:gd name="T10" fmla="*/ 8 w 62"/>
                  <a:gd name="T11" fmla="*/ 42 h 63"/>
                  <a:gd name="T12" fmla="*/ 9 w 62"/>
                  <a:gd name="T13" fmla="*/ 39 h 63"/>
                  <a:gd name="T14" fmla="*/ 10 w 62"/>
                  <a:gd name="T15" fmla="*/ 40 h 63"/>
                  <a:gd name="T16" fmla="*/ 24 w 62"/>
                  <a:gd name="T17" fmla="*/ 34 h 63"/>
                  <a:gd name="T18" fmla="*/ 25 w 62"/>
                  <a:gd name="T19" fmla="*/ 29 h 63"/>
                  <a:gd name="T20" fmla="*/ 25 w 62"/>
                  <a:gd name="T21" fmla="*/ 29 h 63"/>
                  <a:gd name="T22" fmla="*/ 28 w 62"/>
                  <a:gd name="T23" fmla="*/ 29 h 63"/>
                  <a:gd name="T24" fmla="*/ 29 w 62"/>
                  <a:gd name="T25" fmla="*/ 27 h 63"/>
                  <a:gd name="T26" fmla="*/ 33 w 62"/>
                  <a:gd name="T27" fmla="*/ 21 h 63"/>
                  <a:gd name="T28" fmla="*/ 38 w 62"/>
                  <a:gd name="T29" fmla="*/ 15 h 63"/>
                  <a:gd name="T30" fmla="*/ 40 w 62"/>
                  <a:gd name="T31" fmla="*/ 13 h 63"/>
                  <a:gd name="T32" fmla="*/ 42 w 62"/>
                  <a:gd name="T33" fmla="*/ 12 h 63"/>
                  <a:gd name="T34" fmla="*/ 43 w 62"/>
                  <a:gd name="T35" fmla="*/ 9 h 63"/>
                  <a:gd name="T36" fmla="*/ 46 w 62"/>
                  <a:gd name="T37" fmla="*/ 9 h 63"/>
                  <a:gd name="T38" fmla="*/ 47 w 62"/>
                  <a:gd name="T39" fmla="*/ 8 h 63"/>
                  <a:gd name="T40" fmla="*/ 47 w 62"/>
                  <a:gd name="T41" fmla="*/ 6 h 63"/>
                  <a:gd name="T42" fmla="*/ 46 w 62"/>
                  <a:gd name="T43" fmla="*/ 5 h 63"/>
                  <a:gd name="T44" fmla="*/ 46 w 62"/>
                  <a:gd name="T45" fmla="*/ 2 h 63"/>
                  <a:gd name="T46" fmla="*/ 47 w 62"/>
                  <a:gd name="T47" fmla="*/ 2 h 63"/>
                  <a:gd name="T48" fmla="*/ 48 w 62"/>
                  <a:gd name="T49" fmla="*/ 2 h 63"/>
                  <a:gd name="T50" fmla="*/ 48 w 62"/>
                  <a:gd name="T51" fmla="*/ 6 h 63"/>
                  <a:gd name="T52" fmla="*/ 52 w 62"/>
                  <a:gd name="T53" fmla="*/ 6 h 63"/>
                  <a:gd name="T54" fmla="*/ 52 w 62"/>
                  <a:gd name="T55" fmla="*/ 6 h 63"/>
                  <a:gd name="T56" fmla="*/ 57 w 62"/>
                  <a:gd name="T57" fmla="*/ 4 h 63"/>
                  <a:gd name="T58" fmla="*/ 61 w 62"/>
                  <a:gd name="T59" fmla="*/ 0 h 63"/>
                  <a:gd name="T60" fmla="*/ 62 w 62"/>
                  <a:gd name="T61" fmla="*/ 1 h 63"/>
                  <a:gd name="T62" fmla="*/ 62 w 62"/>
                  <a:gd name="T63" fmla="*/ 1 h 63"/>
                  <a:gd name="T64" fmla="*/ 59 w 62"/>
                  <a:gd name="T65" fmla="*/ 8 h 63"/>
                  <a:gd name="T66" fmla="*/ 59 w 62"/>
                  <a:gd name="T67" fmla="*/ 8 h 63"/>
                  <a:gd name="T68" fmla="*/ 54 w 62"/>
                  <a:gd name="T69" fmla="*/ 13 h 63"/>
                  <a:gd name="T70" fmla="*/ 48 w 62"/>
                  <a:gd name="T71" fmla="*/ 19 h 63"/>
                  <a:gd name="T72" fmla="*/ 48 w 62"/>
                  <a:gd name="T73" fmla="*/ 19 h 63"/>
                  <a:gd name="T74" fmla="*/ 38 w 62"/>
                  <a:gd name="T75" fmla="*/ 31 h 63"/>
                  <a:gd name="T76" fmla="*/ 38 w 62"/>
                  <a:gd name="T77" fmla="*/ 31 h 63"/>
                  <a:gd name="T78" fmla="*/ 38 w 62"/>
                  <a:gd name="T79" fmla="*/ 34 h 63"/>
                  <a:gd name="T80" fmla="*/ 38 w 62"/>
                  <a:gd name="T81" fmla="*/ 34 h 63"/>
                  <a:gd name="T82" fmla="*/ 33 w 62"/>
                  <a:gd name="T83" fmla="*/ 39 h 63"/>
                  <a:gd name="T84" fmla="*/ 33 w 62"/>
                  <a:gd name="T85" fmla="*/ 39 h 63"/>
                  <a:gd name="T86" fmla="*/ 31 w 62"/>
                  <a:gd name="T87" fmla="*/ 42 h 63"/>
                  <a:gd name="T88" fmla="*/ 25 w 62"/>
                  <a:gd name="T89" fmla="*/ 44 h 63"/>
                  <a:gd name="T90" fmla="*/ 21 w 62"/>
                  <a:gd name="T91" fmla="*/ 48 h 63"/>
                  <a:gd name="T92" fmla="*/ 16 w 62"/>
                  <a:gd name="T93" fmla="*/ 54 h 63"/>
                  <a:gd name="T94" fmla="*/ 16 w 62"/>
                  <a:gd name="T95" fmla="*/ 54 h 63"/>
                  <a:gd name="T96" fmla="*/ 13 w 62"/>
                  <a:gd name="T97" fmla="*/ 55 h 63"/>
                  <a:gd name="T98" fmla="*/ 9 w 62"/>
                  <a:gd name="T99" fmla="*/ 58 h 63"/>
                  <a:gd name="T100" fmla="*/ 5 w 62"/>
                  <a:gd name="T101" fmla="*/ 61 h 63"/>
                  <a:gd name="T102" fmla="*/ 1 w 62"/>
                  <a:gd name="T103" fmla="*/ 63 h 63"/>
                  <a:gd name="T104" fmla="*/ 0 w 62"/>
                  <a:gd name="T10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63">
                    <a:moveTo>
                      <a:pt x="0" y="62"/>
                    </a:moveTo>
                    <a:lnTo>
                      <a:pt x="8" y="54"/>
                    </a:lnTo>
                    <a:lnTo>
                      <a:pt x="8" y="54"/>
                    </a:lnTo>
                    <a:lnTo>
                      <a:pt x="8" y="48"/>
                    </a:lnTo>
                    <a:lnTo>
                      <a:pt x="9" y="43"/>
                    </a:lnTo>
                    <a:lnTo>
                      <a:pt x="8" y="42"/>
                    </a:lnTo>
                    <a:lnTo>
                      <a:pt x="9" y="39"/>
                    </a:lnTo>
                    <a:lnTo>
                      <a:pt x="10" y="40"/>
                    </a:lnTo>
                    <a:lnTo>
                      <a:pt x="24" y="34"/>
                    </a:lnTo>
                    <a:lnTo>
                      <a:pt x="25" y="29"/>
                    </a:lnTo>
                    <a:lnTo>
                      <a:pt x="25" y="29"/>
                    </a:lnTo>
                    <a:lnTo>
                      <a:pt x="28" y="29"/>
                    </a:lnTo>
                    <a:lnTo>
                      <a:pt x="29" y="27"/>
                    </a:lnTo>
                    <a:lnTo>
                      <a:pt x="33" y="21"/>
                    </a:lnTo>
                    <a:lnTo>
                      <a:pt x="38" y="15"/>
                    </a:lnTo>
                    <a:lnTo>
                      <a:pt x="40" y="13"/>
                    </a:lnTo>
                    <a:lnTo>
                      <a:pt x="42" y="12"/>
                    </a:lnTo>
                    <a:lnTo>
                      <a:pt x="43" y="9"/>
                    </a:lnTo>
                    <a:lnTo>
                      <a:pt x="46" y="9"/>
                    </a:lnTo>
                    <a:lnTo>
                      <a:pt x="47" y="8"/>
                    </a:lnTo>
                    <a:lnTo>
                      <a:pt x="47" y="6"/>
                    </a:lnTo>
                    <a:lnTo>
                      <a:pt x="46" y="5"/>
                    </a:lnTo>
                    <a:lnTo>
                      <a:pt x="46" y="2"/>
                    </a:lnTo>
                    <a:lnTo>
                      <a:pt x="47" y="2"/>
                    </a:lnTo>
                    <a:lnTo>
                      <a:pt x="48" y="2"/>
                    </a:lnTo>
                    <a:lnTo>
                      <a:pt x="48" y="6"/>
                    </a:lnTo>
                    <a:lnTo>
                      <a:pt x="52" y="6"/>
                    </a:lnTo>
                    <a:lnTo>
                      <a:pt x="52" y="6"/>
                    </a:lnTo>
                    <a:lnTo>
                      <a:pt x="57" y="4"/>
                    </a:lnTo>
                    <a:lnTo>
                      <a:pt x="61" y="0"/>
                    </a:lnTo>
                    <a:lnTo>
                      <a:pt x="62" y="1"/>
                    </a:lnTo>
                    <a:lnTo>
                      <a:pt x="62" y="1"/>
                    </a:lnTo>
                    <a:lnTo>
                      <a:pt x="59" y="8"/>
                    </a:lnTo>
                    <a:lnTo>
                      <a:pt x="59" y="8"/>
                    </a:lnTo>
                    <a:lnTo>
                      <a:pt x="54" y="13"/>
                    </a:lnTo>
                    <a:lnTo>
                      <a:pt x="48" y="19"/>
                    </a:lnTo>
                    <a:lnTo>
                      <a:pt x="48" y="19"/>
                    </a:lnTo>
                    <a:lnTo>
                      <a:pt x="38" y="31"/>
                    </a:lnTo>
                    <a:lnTo>
                      <a:pt x="38" y="31"/>
                    </a:lnTo>
                    <a:lnTo>
                      <a:pt x="38" y="34"/>
                    </a:lnTo>
                    <a:lnTo>
                      <a:pt x="38" y="34"/>
                    </a:lnTo>
                    <a:lnTo>
                      <a:pt x="33" y="39"/>
                    </a:lnTo>
                    <a:lnTo>
                      <a:pt x="33" y="39"/>
                    </a:lnTo>
                    <a:lnTo>
                      <a:pt x="31" y="42"/>
                    </a:lnTo>
                    <a:lnTo>
                      <a:pt x="25" y="44"/>
                    </a:lnTo>
                    <a:lnTo>
                      <a:pt x="21" y="48"/>
                    </a:lnTo>
                    <a:lnTo>
                      <a:pt x="16" y="54"/>
                    </a:lnTo>
                    <a:lnTo>
                      <a:pt x="16" y="54"/>
                    </a:lnTo>
                    <a:lnTo>
                      <a:pt x="13" y="55"/>
                    </a:lnTo>
                    <a:lnTo>
                      <a:pt x="9" y="58"/>
                    </a:lnTo>
                    <a:lnTo>
                      <a:pt x="5" y="61"/>
                    </a:lnTo>
                    <a:lnTo>
                      <a:pt x="1" y="63"/>
                    </a:lnTo>
                    <a:lnTo>
                      <a:pt x="0" y="6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4" name="Freeform 173">
                <a:extLst>
                  <a:ext uri="{FF2B5EF4-FFF2-40B4-BE49-F238E27FC236}">
                    <a16:creationId xmlns:a16="http://schemas.microsoft.com/office/drawing/2014/main" id="{35629200-5E34-4800-A103-37E2E8862D82}"/>
                  </a:ext>
                </a:extLst>
              </p:cNvPr>
              <p:cNvSpPr>
                <a:spLocks/>
              </p:cNvSpPr>
              <p:nvPr/>
            </p:nvSpPr>
            <p:spPr bwMode="auto">
              <a:xfrm>
                <a:off x="2108200" y="3046481"/>
                <a:ext cx="3175" cy="4763"/>
              </a:xfrm>
              <a:custGeom>
                <a:avLst/>
                <a:gdLst>
                  <a:gd name="T0" fmla="*/ 2 w 6"/>
                  <a:gd name="T1" fmla="*/ 2 h 6"/>
                  <a:gd name="T2" fmla="*/ 3 w 6"/>
                  <a:gd name="T3" fmla="*/ 0 h 6"/>
                  <a:gd name="T4" fmla="*/ 6 w 6"/>
                  <a:gd name="T5" fmla="*/ 2 h 6"/>
                  <a:gd name="T6" fmla="*/ 6 w 6"/>
                  <a:gd name="T7" fmla="*/ 5 h 6"/>
                  <a:gd name="T8" fmla="*/ 3 w 6"/>
                  <a:gd name="T9" fmla="*/ 6 h 6"/>
                  <a:gd name="T10" fmla="*/ 0 w 6"/>
                  <a:gd name="T11" fmla="*/ 3 h 6"/>
                  <a:gd name="T12" fmla="*/ 0 w 6"/>
                  <a:gd name="T13" fmla="*/ 0 h 6"/>
                  <a:gd name="T14" fmla="*/ 2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2" y="2"/>
                    </a:moveTo>
                    <a:lnTo>
                      <a:pt x="3" y="0"/>
                    </a:lnTo>
                    <a:lnTo>
                      <a:pt x="6" y="2"/>
                    </a:lnTo>
                    <a:lnTo>
                      <a:pt x="6" y="5"/>
                    </a:lnTo>
                    <a:lnTo>
                      <a:pt x="3" y="6"/>
                    </a:lnTo>
                    <a:lnTo>
                      <a:pt x="0" y="3"/>
                    </a:lnTo>
                    <a:lnTo>
                      <a:pt x="0" y="0"/>
                    </a:lnTo>
                    <a:lnTo>
                      <a:pt x="2" y="2"/>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5" name="Freeform 174">
                <a:extLst>
                  <a:ext uri="{FF2B5EF4-FFF2-40B4-BE49-F238E27FC236}">
                    <a16:creationId xmlns:a16="http://schemas.microsoft.com/office/drawing/2014/main" id="{01E36AAD-4116-4F73-BD7F-FDB04F463889}"/>
                  </a:ext>
                </a:extLst>
              </p:cNvPr>
              <p:cNvSpPr>
                <a:spLocks/>
              </p:cNvSpPr>
              <p:nvPr/>
            </p:nvSpPr>
            <p:spPr bwMode="auto">
              <a:xfrm>
                <a:off x="1897063" y="2995681"/>
                <a:ext cx="79375" cy="57150"/>
              </a:xfrm>
              <a:custGeom>
                <a:avLst/>
                <a:gdLst>
                  <a:gd name="T0" fmla="*/ 68 w 99"/>
                  <a:gd name="T1" fmla="*/ 27 h 72"/>
                  <a:gd name="T2" fmla="*/ 72 w 99"/>
                  <a:gd name="T3" fmla="*/ 28 h 72"/>
                  <a:gd name="T4" fmla="*/ 68 w 99"/>
                  <a:gd name="T5" fmla="*/ 36 h 72"/>
                  <a:gd name="T6" fmla="*/ 66 w 99"/>
                  <a:gd name="T7" fmla="*/ 40 h 72"/>
                  <a:gd name="T8" fmla="*/ 68 w 99"/>
                  <a:gd name="T9" fmla="*/ 42 h 72"/>
                  <a:gd name="T10" fmla="*/ 59 w 99"/>
                  <a:gd name="T11" fmla="*/ 42 h 72"/>
                  <a:gd name="T12" fmla="*/ 57 w 99"/>
                  <a:gd name="T13" fmla="*/ 42 h 72"/>
                  <a:gd name="T14" fmla="*/ 54 w 99"/>
                  <a:gd name="T15" fmla="*/ 44 h 72"/>
                  <a:gd name="T16" fmla="*/ 55 w 99"/>
                  <a:gd name="T17" fmla="*/ 40 h 72"/>
                  <a:gd name="T18" fmla="*/ 43 w 99"/>
                  <a:gd name="T19" fmla="*/ 42 h 72"/>
                  <a:gd name="T20" fmla="*/ 39 w 99"/>
                  <a:gd name="T21" fmla="*/ 47 h 72"/>
                  <a:gd name="T22" fmla="*/ 35 w 99"/>
                  <a:gd name="T23" fmla="*/ 53 h 72"/>
                  <a:gd name="T24" fmla="*/ 36 w 99"/>
                  <a:gd name="T25" fmla="*/ 63 h 72"/>
                  <a:gd name="T26" fmla="*/ 39 w 99"/>
                  <a:gd name="T27" fmla="*/ 66 h 72"/>
                  <a:gd name="T28" fmla="*/ 39 w 99"/>
                  <a:gd name="T29" fmla="*/ 69 h 72"/>
                  <a:gd name="T30" fmla="*/ 31 w 99"/>
                  <a:gd name="T31" fmla="*/ 72 h 72"/>
                  <a:gd name="T32" fmla="*/ 23 w 99"/>
                  <a:gd name="T33" fmla="*/ 68 h 72"/>
                  <a:gd name="T34" fmla="*/ 19 w 99"/>
                  <a:gd name="T35" fmla="*/ 61 h 72"/>
                  <a:gd name="T36" fmla="*/ 13 w 99"/>
                  <a:gd name="T37" fmla="*/ 59 h 72"/>
                  <a:gd name="T38" fmla="*/ 9 w 99"/>
                  <a:gd name="T39" fmla="*/ 63 h 72"/>
                  <a:gd name="T40" fmla="*/ 5 w 99"/>
                  <a:gd name="T41" fmla="*/ 61 h 72"/>
                  <a:gd name="T42" fmla="*/ 7 w 99"/>
                  <a:gd name="T43" fmla="*/ 58 h 72"/>
                  <a:gd name="T44" fmla="*/ 7 w 99"/>
                  <a:gd name="T45" fmla="*/ 49 h 72"/>
                  <a:gd name="T46" fmla="*/ 7 w 99"/>
                  <a:gd name="T47" fmla="*/ 44 h 72"/>
                  <a:gd name="T48" fmla="*/ 5 w 99"/>
                  <a:gd name="T49" fmla="*/ 40 h 72"/>
                  <a:gd name="T50" fmla="*/ 7 w 99"/>
                  <a:gd name="T51" fmla="*/ 38 h 72"/>
                  <a:gd name="T52" fmla="*/ 4 w 99"/>
                  <a:gd name="T53" fmla="*/ 35 h 72"/>
                  <a:gd name="T54" fmla="*/ 2 w 99"/>
                  <a:gd name="T55" fmla="*/ 32 h 72"/>
                  <a:gd name="T56" fmla="*/ 0 w 99"/>
                  <a:gd name="T57" fmla="*/ 32 h 72"/>
                  <a:gd name="T58" fmla="*/ 5 w 99"/>
                  <a:gd name="T59" fmla="*/ 31 h 72"/>
                  <a:gd name="T60" fmla="*/ 8 w 99"/>
                  <a:gd name="T61" fmla="*/ 23 h 72"/>
                  <a:gd name="T62" fmla="*/ 12 w 99"/>
                  <a:gd name="T63" fmla="*/ 21 h 72"/>
                  <a:gd name="T64" fmla="*/ 16 w 99"/>
                  <a:gd name="T65" fmla="*/ 19 h 72"/>
                  <a:gd name="T66" fmla="*/ 24 w 99"/>
                  <a:gd name="T67" fmla="*/ 16 h 72"/>
                  <a:gd name="T68" fmla="*/ 26 w 99"/>
                  <a:gd name="T69" fmla="*/ 19 h 72"/>
                  <a:gd name="T70" fmla="*/ 30 w 99"/>
                  <a:gd name="T71" fmla="*/ 16 h 72"/>
                  <a:gd name="T72" fmla="*/ 34 w 99"/>
                  <a:gd name="T73" fmla="*/ 17 h 72"/>
                  <a:gd name="T74" fmla="*/ 34 w 99"/>
                  <a:gd name="T75" fmla="*/ 19 h 72"/>
                  <a:gd name="T76" fmla="*/ 38 w 99"/>
                  <a:gd name="T77" fmla="*/ 19 h 72"/>
                  <a:gd name="T78" fmla="*/ 45 w 99"/>
                  <a:gd name="T79" fmla="*/ 23 h 72"/>
                  <a:gd name="T80" fmla="*/ 47 w 99"/>
                  <a:gd name="T81" fmla="*/ 21 h 72"/>
                  <a:gd name="T82" fmla="*/ 49 w 99"/>
                  <a:gd name="T83" fmla="*/ 17 h 72"/>
                  <a:gd name="T84" fmla="*/ 51 w 99"/>
                  <a:gd name="T85" fmla="*/ 15 h 72"/>
                  <a:gd name="T86" fmla="*/ 61 w 99"/>
                  <a:gd name="T87" fmla="*/ 9 h 72"/>
                  <a:gd name="T88" fmla="*/ 65 w 99"/>
                  <a:gd name="T89" fmla="*/ 8 h 72"/>
                  <a:gd name="T90" fmla="*/ 68 w 99"/>
                  <a:gd name="T91" fmla="*/ 8 h 72"/>
                  <a:gd name="T92" fmla="*/ 73 w 99"/>
                  <a:gd name="T93" fmla="*/ 12 h 72"/>
                  <a:gd name="T94" fmla="*/ 76 w 99"/>
                  <a:gd name="T95" fmla="*/ 12 h 72"/>
                  <a:gd name="T96" fmla="*/ 80 w 99"/>
                  <a:gd name="T97" fmla="*/ 11 h 72"/>
                  <a:gd name="T98" fmla="*/ 83 w 99"/>
                  <a:gd name="T99" fmla="*/ 8 h 72"/>
                  <a:gd name="T100" fmla="*/ 85 w 99"/>
                  <a:gd name="T101" fmla="*/ 5 h 72"/>
                  <a:gd name="T102" fmla="*/ 87 w 99"/>
                  <a:gd name="T103" fmla="*/ 0 h 72"/>
                  <a:gd name="T104" fmla="*/ 88 w 99"/>
                  <a:gd name="T105" fmla="*/ 2 h 72"/>
                  <a:gd name="T106" fmla="*/ 96 w 99"/>
                  <a:gd name="T107" fmla="*/ 8 h 72"/>
                  <a:gd name="T108" fmla="*/ 99 w 99"/>
                  <a:gd name="T109" fmla="*/ 16 h 72"/>
                  <a:gd name="T110" fmla="*/ 92 w 99"/>
                  <a:gd name="T111" fmla="*/ 17 h 72"/>
                  <a:gd name="T112" fmla="*/ 89 w 99"/>
                  <a:gd name="T113" fmla="*/ 20 h 72"/>
                  <a:gd name="T114" fmla="*/ 84 w 99"/>
                  <a:gd name="T115" fmla="*/ 20 h 72"/>
                  <a:gd name="T116" fmla="*/ 70 w 99"/>
                  <a:gd name="T117" fmla="*/ 2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 h="72">
                    <a:moveTo>
                      <a:pt x="65" y="25"/>
                    </a:moveTo>
                    <a:lnTo>
                      <a:pt x="68" y="27"/>
                    </a:lnTo>
                    <a:lnTo>
                      <a:pt x="68" y="28"/>
                    </a:lnTo>
                    <a:lnTo>
                      <a:pt x="72" y="28"/>
                    </a:lnTo>
                    <a:lnTo>
                      <a:pt x="72" y="31"/>
                    </a:lnTo>
                    <a:lnTo>
                      <a:pt x="68" y="36"/>
                    </a:lnTo>
                    <a:lnTo>
                      <a:pt x="68" y="39"/>
                    </a:lnTo>
                    <a:lnTo>
                      <a:pt x="66" y="40"/>
                    </a:lnTo>
                    <a:lnTo>
                      <a:pt x="68" y="42"/>
                    </a:lnTo>
                    <a:lnTo>
                      <a:pt x="68" y="42"/>
                    </a:lnTo>
                    <a:lnTo>
                      <a:pt x="64" y="40"/>
                    </a:lnTo>
                    <a:lnTo>
                      <a:pt x="59" y="42"/>
                    </a:lnTo>
                    <a:lnTo>
                      <a:pt x="59" y="43"/>
                    </a:lnTo>
                    <a:lnTo>
                      <a:pt x="57" y="42"/>
                    </a:lnTo>
                    <a:lnTo>
                      <a:pt x="57" y="43"/>
                    </a:lnTo>
                    <a:lnTo>
                      <a:pt x="54" y="44"/>
                    </a:lnTo>
                    <a:lnTo>
                      <a:pt x="54" y="42"/>
                    </a:lnTo>
                    <a:lnTo>
                      <a:pt x="55" y="40"/>
                    </a:lnTo>
                    <a:lnTo>
                      <a:pt x="51" y="39"/>
                    </a:lnTo>
                    <a:lnTo>
                      <a:pt x="43" y="42"/>
                    </a:lnTo>
                    <a:lnTo>
                      <a:pt x="40" y="47"/>
                    </a:lnTo>
                    <a:lnTo>
                      <a:pt x="39" y="47"/>
                    </a:lnTo>
                    <a:lnTo>
                      <a:pt x="36" y="50"/>
                    </a:lnTo>
                    <a:lnTo>
                      <a:pt x="35" y="53"/>
                    </a:lnTo>
                    <a:lnTo>
                      <a:pt x="38" y="59"/>
                    </a:lnTo>
                    <a:lnTo>
                      <a:pt x="36" y="63"/>
                    </a:lnTo>
                    <a:lnTo>
                      <a:pt x="36" y="66"/>
                    </a:lnTo>
                    <a:lnTo>
                      <a:pt x="39" y="66"/>
                    </a:lnTo>
                    <a:lnTo>
                      <a:pt x="39" y="69"/>
                    </a:lnTo>
                    <a:lnTo>
                      <a:pt x="39" y="69"/>
                    </a:lnTo>
                    <a:lnTo>
                      <a:pt x="35" y="69"/>
                    </a:lnTo>
                    <a:lnTo>
                      <a:pt x="31" y="72"/>
                    </a:lnTo>
                    <a:lnTo>
                      <a:pt x="23" y="70"/>
                    </a:lnTo>
                    <a:lnTo>
                      <a:pt x="23" y="68"/>
                    </a:lnTo>
                    <a:lnTo>
                      <a:pt x="21" y="66"/>
                    </a:lnTo>
                    <a:lnTo>
                      <a:pt x="19" y="61"/>
                    </a:lnTo>
                    <a:lnTo>
                      <a:pt x="19" y="61"/>
                    </a:lnTo>
                    <a:lnTo>
                      <a:pt x="13" y="59"/>
                    </a:lnTo>
                    <a:lnTo>
                      <a:pt x="12" y="59"/>
                    </a:lnTo>
                    <a:lnTo>
                      <a:pt x="9" y="63"/>
                    </a:lnTo>
                    <a:lnTo>
                      <a:pt x="7" y="65"/>
                    </a:lnTo>
                    <a:lnTo>
                      <a:pt x="5" y="61"/>
                    </a:lnTo>
                    <a:lnTo>
                      <a:pt x="5" y="61"/>
                    </a:lnTo>
                    <a:lnTo>
                      <a:pt x="7" y="58"/>
                    </a:lnTo>
                    <a:lnTo>
                      <a:pt x="9" y="55"/>
                    </a:lnTo>
                    <a:lnTo>
                      <a:pt x="7" y="49"/>
                    </a:lnTo>
                    <a:lnTo>
                      <a:pt x="8" y="47"/>
                    </a:lnTo>
                    <a:lnTo>
                      <a:pt x="7" y="44"/>
                    </a:lnTo>
                    <a:lnTo>
                      <a:pt x="8" y="42"/>
                    </a:lnTo>
                    <a:lnTo>
                      <a:pt x="5" y="40"/>
                    </a:lnTo>
                    <a:lnTo>
                      <a:pt x="5" y="40"/>
                    </a:lnTo>
                    <a:lnTo>
                      <a:pt x="7" y="38"/>
                    </a:lnTo>
                    <a:lnTo>
                      <a:pt x="7" y="35"/>
                    </a:lnTo>
                    <a:lnTo>
                      <a:pt x="4" y="35"/>
                    </a:lnTo>
                    <a:lnTo>
                      <a:pt x="4" y="32"/>
                    </a:lnTo>
                    <a:lnTo>
                      <a:pt x="2" y="32"/>
                    </a:lnTo>
                    <a:lnTo>
                      <a:pt x="1" y="32"/>
                    </a:lnTo>
                    <a:lnTo>
                      <a:pt x="0" y="32"/>
                    </a:lnTo>
                    <a:lnTo>
                      <a:pt x="1" y="30"/>
                    </a:lnTo>
                    <a:lnTo>
                      <a:pt x="5" y="31"/>
                    </a:lnTo>
                    <a:lnTo>
                      <a:pt x="7" y="28"/>
                    </a:lnTo>
                    <a:lnTo>
                      <a:pt x="8" y="23"/>
                    </a:lnTo>
                    <a:lnTo>
                      <a:pt x="9" y="24"/>
                    </a:lnTo>
                    <a:lnTo>
                      <a:pt x="12" y="21"/>
                    </a:lnTo>
                    <a:lnTo>
                      <a:pt x="16" y="20"/>
                    </a:lnTo>
                    <a:lnTo>
                      <a:pt x="16" y="19"/>
                    </a:lnTo>
                    <a:lnTo>
                      <a:pt x="17" y="17"/>
                    </a:lnTo>
                    <a:lnTo>
                      <a:pt x="24" y="16"/>
                    </a:lnTo>
                    <a:lnTo>
                      <a:pt x="24" y="17"/>
                    </a:lnTo>
                    <a:lnTo>
                      <a:pt x="26" y="19"/>
                    </a:lnTo>
                    <a:lnTo>
                      <a:pt x="30" y="16"/>
                    </a:lnTo>
                    <a:lnTo>
                      <a:pt x="30" y="16"/>
                    </a:lnTo>
                    <a:lnTo>
                      <a:pt x="31" y="16"/>
                    </a:lnTo>
                    <a:lnTo>
                      <a:pt x="34" y="17"/>
                    </a:lnTo>
                    <a:lnTo>
                      <a:pt x="34" y="19"/>
                    </a:lnTo>
                    <a:lnTo>
                      <a:pt x="34" y="19"/>
                    </a:lnTo>
                    <a:lnTo>
                      <a:pt x="36" y="20"/>
                    </a:lnTo>
                    <a:lnTo>
                      <a:pt x="38" y="19"/>
                    </a:lnTo>
                    <a:lnTo>
                      <a:pt x="39" y="21"/>
                    </a:lnTo>
                    <a:lnTo>
                      <a:pt x="45" y="23"/>
                    </a:lnTo>
                    <a:lnTo>
                      <a:pt x="45" y="23"/>
                    </a:lnTo>
                    <a:lnTo>
                      <a:pt x="47" y="21"/>
                    </a:lnTo>
                    <a:lnTo>
                      <a:pt x="50" y="19"/>
                    </a:lnTo>
                    <a:lnTo>
                      <a:pt x="49" y="17"/>
                    </a:lnTo>
                    <a:lnTo>
                      <a:pt x="49" y="17"/>
                    </a:lnTo>
                    <a:lnTo>
                      <a:pt x="51" y="15"/>
                    </a:lnTo>
                    <a:lnTo>
                      <a:pt x="53" y="15"/>
                    </a:lnTo>
                    <a:lnTo>
                      <a:pt x="61" y="9"/>
                    </a:lnTo>
                    <a:lnTo>
                      <a:pt x="64" y="9"/>
                    </a:lnTo>
                    <a:lnTo>
                      <a:pt x="65" y="8"/>
                    </a:lnTo>
                    <a:lnTo>
                      <a:pt x="68" y="8"/>
                    </a:lnTo>
                    <a:lnTo>
                      <a:pt x="68" y="8"/>
                    </a:lnTo>
                    <a:lnTo>
                      <a:pt x="70" y="11"/>
                    </a:lnTo>
                    <a:lnTo>
                      <a:pt x="73" y="12"/>
                    </a:lnTo>
                    <a:lnTo>
                      <a:pt x="76" y="11"/>
                    </a:lnTo>
                    <a:lnTo>
                      <a:pt x="76" y="12"/>
                    </a:lnTo>
                    <a:lnTo>
                      <a:pt x="78" y="12"/>
                    </a:lnTo>
                    <a:lnTo>
                      <a:pt x="80" y="11"/>
                    </a:lnTo>
                    <a:lnTo>
                      <a:pt x="80" y="8"/>
                    </a:lnTo>
                    <a:lnTo>
                      <a:pt x="83" y="8"/>
                    </a:lnTo>
                    <a:lnTo>
                      <a:pt x="84" y="5"/>
                    </a:lnTo>
                    <a:lnTo>
                      <a:pt x="85" y="5"/>
                    </a:lnTo>
                    <a:lnTo>
                      <a:pt x="85" y="2"/>
                    </a:lnTo>
                    <a:lnTo>
                      <a:pt x="87" y="0"/>
                    </a:lnTo>
                    <a:lnTo>
                      <a:pt x="88" y="1"/>
                    </a:lnTo>
                    <a:lnTo>
                      <a:pt x="88" y="2"/>
                    </a:lnTo>
                    <a:lnTo>
                      <a:pt x="92" y="8"/>
                    </a:lnTo>
                    <a:lnTo>
                      <a:pt x="96" y="8"/>
                    </a:lnTo>
                    <a:lnTo>
                      <a:pt x="97" y="9"/>
                    </a:lnTo>
                    <a:lnTo>
                      <a:pt x="99" y="16"/>
                    </a:lnTo>
                    <a:lnTo>
                      <a:pt x="95" y="20"/>
                    </a:lnTo>
                    <a:lnTo>
                      <a:pt x="92" y="17"/>
                    </a:lnTo>
                    <a:lnTo>
                      <a:pt x="91" y="19"/>
                    </a:lnTo>
                    <a:lnTo>
                      <a:pt x="89" y="20"/>
                    </a:lnTo>
                    <a:lnTo>
                      <a:pt x="87" y="19"/>
                    </a:lnTo>
                    <a:lnTo>
                      <a:pt x="84" y="20"/>
                    </a:lnTo>
                    <a:lnTo>
                      <a:pt x="78" y="19"/>
                    </a:lnTo>
                    <a:lnTo>
                      <a:pt x="70" y="20"/>
                    </a:lnTo>
                    <a:lnTo>
                      <a:pt x="65" y="2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6" name="Freeform 175">
                <a:extLst>
                  <a:ext uri="{FF2B5EF4-FFF2-40B4-BE49-F238E27FC236}">
                    <a16:creationId xmlns:a16="http://schemas.microsoft.com/office/drawing/2014/main" id="{C6F8ADFD-A379-4C1E-BFB5-C9599D4D3BAE}"/>
                  </a:ext>
                </a:extLst>
              </p:cNvPr>
              <p:cNvSpPr>
                <a:spLocks/>
              </p:cNvSpPr>
              <p:nvPr/>
            </p:nvSpPr>
            <p:spPr bwMode="auto">
              <a:xfrm>
                <a:off x="2136775" y="3051244"/>
                <a:ext cx="4763" cy="6350"/>
              </a:xfrm>
              <a:custGeom>
                <a:avLst/>
                <a:gdLst>
                  <a:gd name="T0" fmla="*/ 7 w 7"/>
                  <a:gd name="T1" fmla="*/ 1 h 8"/>
                  <a:gd name="T2" fmla="*/ 1 w 7"/>
                  <a:gd name="T3" fmla="*/ 4 h 8"/>
                  <a:gd name="T4" fmla="*/ 3 w 7"/>
                  <a:gd name="T5" fmla="*/ 7 h 8"/>
                  <a:gd name="T6" fmla="*/ 1 w 7"/>
                  <a:gd name="T7" fmla="*/ 8 h 8"/>
                  <a:gd name="T8" fmla="*/ 0 w 7"/>
                  <a:gd name="T9" fmla="*/ 5 h 8"/>
                  <a:gd name="T10" fmla="*/ 1 w 7"/>
                  <a:gd name="T11" fmla="*/ 4 h 8"/>
                  <a:gd name="T12" fmla="*/ 0 w 7"/>
                  <a:gd name="T13" fmla="*/ 1 h 8"/>
                  <a:gd name="T14" fmla="*/ 0 w 7"/>
                  <a:gd name="T15" fmla="*/ 1 h 8"/>
                  <a:gd name="T16" fmla="*/ 3 w 7"/>
                  <a:gd name="T17" fmla="*/ 0 h 8"/>
                  <a:gd name="T18" fmla="*/ 5 w 7"/>
                  <a:gd name="T19" fmla="*/ 0 h 8"/>
                  <a:gd name="T20" fmla="*/ 7 w 7"/>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7" y="1"/>
                    </a:moveTo>
                    <a:lnTo>
                      <a:pt x="1" y="4"/>
                    </a:lnTo>
                    <a:lnTo>
                      <a:pt x="3" y="7"/>
                    </a:lnTo>
                    <a:lnTo>
                      <a:pt x="1" y="8"/>
                    </a:lnTo>
                    <a:lnTo>
                      <a:pt x="0" y="5"/>
                    </a:lnTo>
                    <a:lnTo>
                      <a:pt x="1" y="4"/>
                    </a:lnTo>
                    <a:lnTo>
                      <a:pt x="0" y="1"/>
                    </a:lnTo>
                    <a:lnTo>
                      <a:pt x="0" y="1"/>
                    </a:lnTo>
                    <a:lnTo>
                      <a:pt x="3" y="0"/>
                    </a:lnTo>
                    <a:lnTo>
                      <a:pt x="5" y="0"/>
                    </a:lnTo>
                    <a:lnTo>
                      <a:pt x="7"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7" name="Freeform 176">
                <a:extLst>
                  <a:ext uri="{FF2B5EF4-FFF2-40B4-BE49-F238E27FC236}">
                    <a16:creationId xmlns:a16="http://schemas.microsoft.com/office/drawing/2014/main" id="{60670B69-EA0C-491F-83C9-ABF90C157C0D}"/>
                  </a:ext>
                </a:extLst>
              </p:cNvPr>
              <p:cNvSpPr>
                <a:spLocks/>
              </p:cNvSpPr>
              <p:nvPr/>
            </p:nvSpPr>
            <p:spPr bwMode="auto">
              <a:xfrm>
                <a:off x="2303463" y="3060769"/>
                <a:ext cx="28575" cy="25400"/>
              </a:xfrm>
              <a:custGeom>
                <a:avLst/>
                <a:gdLst>
                  <a:gd name="T0" fmla="*/ 37 w 37"/>
                  <a:gd name="T1" fmla="*/ 3 h 33"/>
                  <a:gd name="T2" fmla="*/ 34 w 37"/>
                  <a:gd name="T3" fmla="*/ 4 h 33"/>
                  <a:gd name="T4" fmla="*/ 34 w 37"/>
                  <a:gd name="T5" fmla="*/ 7 h 33"/>
                  <a:gd name="T6" fmla="*/ 29 w 37"/>
                  <a:gd name="T7" fmla="*/ 11 h 33"/>
                  <a:gd name="T8" fmla="*/ 27 w 37"/>
                  <a:gd name="T9" fmla="*/ 15 h 33"/>
                  <a:gd name="T10" fmla="*/ 25 w 37"/>
                  <a:gd name="T11" fmla="*/ 18 h 33"/>
                  <a:gd name="T12" fmla="*/ 23 w 37"/>
                  <a:gd name="T13" fmla="*/ 22 h 33"/>
                  <a:gd name="T14" fmla="*/ 21 w 37"/>
                  <a:gd name="T15" fmla="*/ 23 h 33"/>
                  <a:gd name="T16" fmla="*/ 21 w 37"/>
                  <a:gd name="T17" fmla="*/ 24 h 33"/>
                  <a:gd name="T18" fmla="*/ 18 w 37"/>
                  <a:gd name="T19" fmla="*/ 26 h 33"/>
                  <a:gd name="T20" fmla="*/ 18 w 37"/>
                  <a:gd name="T21" fmla="*/ 29 h 33"/>
                  <a:gd name="T22" fmla="*/ 18 w 37"/>
                  <a:gd name="T23" fmla="*/ 29 h 33"/>
                  <a:gd name="T24" fmla="*/ 12 w 37"/>
                  <a:gd name="T25" fmla="*/ 33 h 33"/>
                  <a:gd name="T26" fmla="*/ 11 w 37"/>
                  <a:gd name="T27" fmla="*/ 33 h 33"/>
                  <a:gd name="T28" fmla="*/ 11 w 37"/>
                  <a:gd name="T29" fmla="*/ 31 h 33"/>
                  <a:gd name="T30" fmla="*/ 12 w 37"/>
                  <a:gd name="T31" fmla="*/ 30 h 33"/>
                  <a:gd name="T32" fmla="*/ 12 w 37"/>
                  <a:gd name="T33" fmla="*/ 29 h 33"/>
                  <a:gd name="T34" fmla="*/ 10 w 37"/>
                  <a:gd name="T35" fmla="*/ 29 h 33"/>
                  <a:gd name="T36" fmla="*/ 10 w 37"/>
                  <a:gd name="T37" fmla="*/ 27 h 33"/>
                  <a:gd name="T38" fmla="*/ 2 w 37"/>
                  <a:gd name="T39" fmla="*/ 27 h 33"/>
                  <a:gd name="T40" fmla="*/ 0 w 37"/>
                  <a:gd name="T41" fmla="*/ 26 h 33"/>
                  <a:gd name="T42" fmla="*/ 3 w 37"/>
                  <a:gd name="T43" fmla="*/ 20 h 33"/>
                  <a:gd name="T44" fmla="*/ 6 w 37"/>
                  <a:gd name="T45" fmla="*/ 20 h 33"/>
                  <a:gd name="T46" fmla="*/ 6 w 37"/>
                  <a:gd name="T47" fmla="*/ 18 h 33"/>
                  <a:gd name="T48" fmla="*/ 6 w 37"/>
                  <a:gd name="T49" fmla="*/ 16 h 33"/>
                  <a:gd name="T50" fmla="*/ 8 w 37"/>
                  <a:gd name="T51" fmla="*/ 16 h 33"/>
                  <a:gd name="T52" fmla="*/ 7 w 37"/>
                  <a:gd name="T53" fmla="*/ 14 h 33"/>
                  <a:gd name="T54" fmla="*/ 10 w 37"/>
                  <a:gd name="T55" fmla="*/ 11 h 33"/>
                  <a:gd name="T56" fmla="*/ 12 w 37"/>
                  <a:gd name="T57" fmla="*/ 10 h 33"/>
                  <a:gd name="T58" fmla="*/ 17 w 37"/>
                  <a:gd name="T59" fmla="*/ 10 h 33"/>
                  <a:gd name="T60" fmla="*/ 22 w 37"/>
                  <a:gd name="T61" fmla="*/ 7 h 33"/>
                  <a:gd name="T62" fmla="*/ 22 w 37"/>
                  <a:gd name="T63" fmla="*/ 8 h 33"/>
                  <a:gd name="T64" fmla="*/ 23 w 37"/>
                  <a:gd name="T65" fmla="*/ 8 h 33"/>
                  <a:gd name="T66" fmla="*/ 27 w 37"/>
                  <a:gd name="T67" fmla="*/ 7 h 33"/>
                  <a:gd name="T68" fmla="*/ 27 w 37"/>
                  <a:gd name="T69" fmla="*/ 6 h 33"/>
                  <a:gd name="T70" fmla="*/ 31 w 37"/>
                  <a:gd name="T71" fmla="*/ 3 h 33"/>
                  <a:gd name="T72" fmla="*/ 31 w 37"/>
                  <a:gd name="T73" fmla="*/ 1 h 33"/>
                  <a:gd name="T74" fmla="*/ 33 w 37"/>
                  <a:gd name="T75" fmla="*/ 0 h 33"/>
                  <a:gd name="T76" fmla="*/ 33 w 37"/>
                  <a:gd name="T77" fmla="*/ 0 h 33"/>
                  <a:gd name="T78" fmla="*/ 37 w 37"/>
                  <a:gd name="T79" fmla="*/ 3 h 33"/>
                  <a:gd name="T80" fmla="*/ 37 w 37"/>
                  <a:gd name="T8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 h="33">
                    <a:moveTo>
                      <a:pt x="37" y="3"/>
                    </a:moveTo>
                    <a:lnTo>
                      <a:pt x="34" y="4"/>
                    </a:lnTo>
                    <a:lnTo>
                      <a:pt x="34" y="7"/>
                    </a:lnTo>
                    <a:lnTo>
                      <a:pt x="29" y="11"/>
                    </a:lnTo>
                    <a:lnTo>
                      <a:pt x="27" y="15"/>
                    </a:lnTo>
                    <a:lnTo>
                      <a:pt x="25" y="18"/>
                    </a:lnTo>
                    <a:lnTo>
                      <a:pt x="23" y="22"/>
                    </a:lnTo>
                    <a:lnTo>
                      <a:pt x="21" y="23"/>
                    </a:lnTo>
                    <a:lnTo>
                      <a:pt x="21" y="24"/>
                    </a:lnTo>
                    <a:lnTo>
                      <a:pt x="18" y="26"/>
                    </a:lnTo>
                    <a:lnTo>
                      <a:pt x="18" y="29"/>
                    </a:lnTo>
                    <a:lnTo>
                      <a:pt x="18" y="29"/>
                    </a:lnTo>
                    <a:lnTo>
                      <a:pt x="12" y="33"/>
                    </a:lnTo>
                    <a:lnTo>
                      <a:pt x="11" y="33"/>
                    </a:lnTo>
                    <a:lnTo>
                      <a:pt x="11" y="31"/>
                    </a:lnTo>
                    <a:lnTo>
                      <a:pt x="12" y="30"/>
                    </a:lnTo>
                    <a:lnTo>
                      <a:pt x="12" y="29"/>
                    </a:lnTo>
                    <a:lnTo>
                      <a:pt x="10" y="29"/>
                    </a:lnTo>
                    <a:lnTo>
                      <a:pt x="10" y="27"/>
                    </a:lnTo>
                    <a:lnTo>
                      <a:pt x="2" y="27"/>
                    </a:lnTo>
                    <a:lnTo>
                      <a:pt x="0" y="26"/>
                    </a:lnTo>
                    <a:lnTo>
                      <a:pt x="3" y="20"/>
                    </a:lnTo>
                    <a:lnTo>
                      <a:pt x="6" y="20"/>
                    </a:lnTo>
                    <a:lnTo>
                      <a:pt x="6" y="18"/>
                    </a:lnTo>
                    <a:lnTo>
                      <a:pt x="6" y="16"/>
                    </a:lnTo>
                    <a:lnTo>
                      <a:pt x="8" y="16"/>
                    </a:lnTo>
                    <a:lnTo>
                      <a:pt x="7" y="14"/>
                    </a:lnTo>
                    <a:lnTo>
                      <a:pt x="10" y="11"/>
                    </a:lnTo>
                    <a:lnTo>
                      <a:pt x="12" y="10"/>
                    </a:lnTo>
                    <a:lnTo>
                      <a:pt x="17" y="10"/>
                    </a:lnTo>
                    <a:lnTo>
                      <a:pt x="22" y="7"/>
                    </a:lnTo>
                    <a:lnTo>
                      <a:pt x="22" y="8"/>
                    </a:lnTo>
                    <a:lnTo>
                      <a:pt x="23" y="8"/>
                    </a:lnTo>
                    <a:lnTo>
                      <a:pt x="27" y="7"/>
                    </a:lnTo>
                    <a:lnTo>
                      <a:pt x="27" y="6"/>
                    </a:lnTo>
                    <a:lnTo>
                      <a:pt x="31" y="3"/>
                    </a:lnTo>
                    <a:lnTo>
                      <a:pt x="31" y="1"/>
                    </a:lnTo>
                    <a:lnTo>
                      <a:pt x="33" y="0"/>
                    </a:lnTo>
                    <a:lnTo>
                      <a:pt x="33" y="0"/>
                    </a:lnTo>
                    <a:lnTo>
                      <a:pt x="37" y="3"/>
                    </a:lnTo>
                    <a:lnTo>
                      <a:pt x="37" y="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8" name="Freeform 177">
                <a:extLst>
                  <a:ext uri="{FF2B5EF4-FFF2-40B4-BE49-F238E27FC236}">
                    <a16:creationId xmlns:a16="http://schemas.microsoft.com/office/drawing/2014/main" id="{00B211D2-F057-4EBA-9230-A72CB4C72ABF}"/>
                  </a:ext>
                </a:extLst>
              </p:cNvPr>
              <p:cNvSpPr>
                <a:spLocks/>
              </p:cNvSpPr>
              <p:nvPr/>
            </p:nvSpPr>
            <p:spPr bwMode="auto">
              <a:xfrm>
                <a:off x="2057400" y="3098869"/>
                <a:ext cx="17463" cy="20638"/>
              </a:xfrm>
              <a:custGeom>
                <a:avLst/>
                <a:gdLst>
                  <a:gd name="T0" fmla="*/ 21 w 21"/>
                  <a:gd name="T1" fmla="*/ 0 h 25"/>
                  <a:gd name="T2" fmla="*/ 20 w 21"/>
                  <a:gd name="T3" fmla="*/ 2 h 25"/>
                  <a:gd name="T4" fmla="*/ 21 w 21"/>
                  <a:gd name="T5" fmla="*/ 8 h 25"/>
                  <a:gd name="T6" fmla="*/ 16 w 21"/>
                  <a:gd name="T7" fmla="*/ 16 h 25"/>
                  <a:gd name="T8" fmla="*/ 15 w 21"/>
                  <a:gd name="T9" fmla="*/ 17 h 25"/>
                  <a:gd name="T10" fmla="*/ 15 w 21"/>
                  <a:gd name="T11" fmla="*/ 17 h 25"/>
                  <a:gd name="T12" fmla="*/ 13 w 21"/>
                  <a:gd name="T13" fmla="*/ 20 h 25"/>
                  <a:gd name="T14" fmla="*/ 12 w 21"/>
                  <a:gd name="T15" fmla="*/ 23 h 25"/>
                  <a:gd name="T16" fmla="*/ 8 w 21"/>
                  <a:gd name="T17" fmla="*/ 25 h 25"/>
                  <a:gd name="T18" fmla="*/ 0 w 21"/>
                  <a:gd name="T19" fmla="*/ 23 h 25"/>
                  <a:gd name="T20" fmla="*/ 0 w 21"/>
                  <a:gd name="T21" fmla="*/ 21 h 25"/>
                  <a:gd name="T22" fmla="*/ 0 w 21"/>
                  <a:gd name="T23" fmla="*/ 20 h 25"/>
                  <a:gd name="T24" fmla="*/ 2 w 21"/>
                  <a:gd name="T25" fmla="*/ 20 h 25"/>
                  <a:gd name="T26" fmla="*/ 4 w 21"/>
                  <a:gd name="T27" fmla="*/ 17 h 25"/>
                  <a:gd name="T28" fmla="*/ 6 w 21"/>
                  <a:gd name="T29" fmla="*/ 17 h 25"/>
                  <a:gd name="T30" fmla="*/ 6 w 21"/>
                  <a:gd name="T31" fmla="*/ 14 h 25"/>
                  <a:gd name="T32" fmla="*/ 8 w 21"/>
                  <a:gd name="T33" fmla="*/ 13 h 25"/>
                  <a:gd name="T34" fmla="*/ 8 w 21"/>
                  <a:gd name="T35" fmla="*/ 12 h 25"/>
                  <a:gd name="T36" fmla="*/ 2 w 21"/>
                  <a:gd name="T37" fmla="*/ 9 h 25"/>
                  <a:gd name="T38" fmla="*/ 2 w 21"/>
                  <a:gd name="T39" fmla="*/ 9 h 25"/>
                  <a:gd name="T40" fmla="*/ 8 w 21"/>
                  <a:gd name="T41" fmla="*/ 6 h 25"/>
                  <a:gd name="T42" fmla="*/ 10 w 21"/>
                  <a:gd name="T43" fmla="*/ 2 h 25"/>
                  <a:gd name="T44" fmla="*/ 17 w 21"/>
                  <a:gd name="T45" fmla="*/ 2 h 25"/>
                  <a:gd name="T46" fmla="*/ 20 w 21"/>
                  <a:gd name="T47" fmla="*/ 0 h 25"/>
                  <a:gd name="T48" fmla="*/ 21 w 21"/>
                  <a:gd name="T4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5">
                    <a:moveTo>
                      <a:pt x="21" y="0"/>
                    </a:moveTo>
                    <a:lnTo>
                      <a:pt x="20" y="2"/>
                    </a:lnTo>
                    <a:lnTo>
                      <a:pt x="21" y="8"/>
                    </a:lnTo>
                    <a:lnTo>
                      <a:pt x="16" y="16"/>
                    </a:lnTo>
                    <a:lnTo>
                      <a:pt x="15" y="17"/>
                    </a:lnTo>
                    <a:lnTo>
                      <a:pt x="15" y="17"/>
                    </a:lnTo>
                    <a:lnTo>
                      <a:pt x="13" y="20"/>
                    </a:lnTo>
                    <a:lnTo>
                      <a:pt x="12" y="23"/>
                    </a:lnTo>
                    <a:lnTo>
                      <a:pt x="8" y="25"/>
                    </a:lnTo>
                    <a:lnTo>
                      <a:pt x="0" y="23"/>
                    </a:lnTo>
                    <a:lnTo>
                      <a:pt x="0" y="21"/>
                    </a:lnTo>
                    <a:lnTo>
                      <a:pt x="0" y="20"/>
                    </a:lnTo>
                    <a:lnTo>
                      <a:pt x="2" y="20"/>
                    </a:lnTo>
                    <a:lnTo>
                      <a:pt x="4" y="17"/>
                    </a:lnTo>
                    <a:lnTo>
                      <a:pt x="6" y="17"/>
                    </a:lnTo>
                    <a:lnTo>
                      <a:pt x="6" y="14"/>
                    </a:lnTo>
                    <a:lnTo>
                      <a:pt x="8" y="13"/>
                    </a:lnTo>
                    <a:lnTo>
                      <a:pt x="8" y="12"/>
                    </a:lnTo>
                    <a:lnTo>
                      <a:pt x="2" y="9"/>
                    </a:lnTo>
                    <a:lnTo>
                      <a:pt x="2" y="9"/>
                    </a:lnTo>
                    <a:lnTo>
                      <a:pt x="8" y="6"/>
                    </a:lnTo>
                    <a:lnTo>
                      <a:pt x="10" y="2"/>
                    </a:lnTo>
                    <a:lnTo>
                      <a:pt x="17" y="2"/>
                    </a:lnTo>
                    <a:lnTo>
                      <a:pt x="20" y="0"/>
                    </a:lnTo>
                    <a:lnTo>
                      <a:pt x="21"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49" name="Freeform 178">
                <a:extLst>
                  <a:ext uri="{FF2B5EF4-FFF2-40B4-BE49-F238E27FC236}">
                    <a16:creationId xmlns:a16="http://schemas.microsoft.com/office/drawing/2014/main" id="{A1D63ABB-B1E2-427D-AD31-FF9DC9BC0929}"/>
                  </a:ext>
                </a:extLst>
              </p:cNvPr>
              <p:cNvSpPr>
                <a:spLocks/>
              </p:cNvSpPr>
              <p:nvPr/>
            </p:nvSpPr>
            <p:spPr bwMode="auto">
              <a:xfrm>
                <a:off x="2074863" y="3121094"/>
                <a:ext cx="6350" cy="7938"/>
              </a:xfrm>
              <a:custGeom>
                <a:avLst/>
                <a:gdLst>
                  <a:gd name="T0" fmla="*/ 10 w 10"/>
                  <a:gd name="T1" fmla="*/ 4 h 11"/>
                  <a:gd name="T2" fmla="*/ 10 w 10"/>
                  <a:gd name="T3" fmla="*/ 4 h 11"/>
                  <a:gd name="T4" fmla="*/ 10 w 10"/>
                  <a:gd name="T5" fmla="*/ 8 h 11"/>
                  <a:gd name="T6" fmla="*/ 7 w 10"/>
                  <a:gd name="T7" fmla="*/ 11 h 11"/>
                  <a:gd name="T8" fmla="*/ 4 w 10"/>
                  <a:gd name="T9" fmla="*/ 10 h 11"/>
                  <a:gd name="T10" fmla="*/ 4 w 10"/>
                  <a:gd name="T11" fmla="*/ 8 h 11"/>
                  <a:gd name="T12" fmla="*/ 3 w 10"/>
                  <a:gd name="T13" fmla="*/ 8 h 11"/>
                  <a:gd name="T14" fmla="*/ 2 w 10"/>
                  <a:gd name="T15" fmla="*/ 11 h 11"/>
                  <a:gd name="T16" fmla="*/ 0 w 10"/>
                  <a:gd name="T17" fmla="*/ 10 h 11"/>
                  <a:gd name="T18" fmla="*/ 3 w 10"/>
                  <a:gd name="T19" fmla="*/ 5 h 11"/>
                  <a:gd name="T20" fmla="*/ 3 w 10"/>
                  <a:gd name="T21" fmla="*/ 1 h 11"/>
                  <a:gd name="T22" fmla="*/ 6 w 10"/>
                  <a:gd name="T23" fmla="*/ 0 h 11"/>
                  <a:gd name="T24" fmla="*/ 10 w 10"/>
                  <a:gd name="T2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1">
                    <a:moveTo>
                      <a:pt x="10" y="4"/>
                    </a:moveTo>
                    <a:lnTo>
                      <a:pt x="10" y="4"/>
                    </a:lnTo>
                    <a:lnTo>
                      <a:pt x="10" y="8"/>
                    </a:lnTo>
                    <a:lnTo>
                      <a:pt x="7" y="11"/>
                    </a:lnTo>
                    <a:lnTo>
                      <a:pt x="4" y="10"/>
                    </a:lnTo>
                    <a:lnTo>
                      <a:pt x="4" y="8"/>
                    </a:lnTo>
                    <a:lnTo>
                      <a:pt x="3" y="8"/>
                    </a:lnTo>
                    <a:lnTo>
                      <a:pt x="2" y="11"/>
                    </a:lnTo>
                    <a:lnTo>
                      <a:pt x="0" y="10"/>
                    </a:lnTo>
                    <a:lnTo>
                      <a:pt x="3" y="5"/>
                    </a:lnTo>
                    <a:lnTo>
                      <a:pt x="3" y="1"/>
                    </a:lnTo>
                    <a:lnTo>
                      <a:pt x="6" y="0"/>
                    </a:lnTo>
                    <a:lnTo>
                      <a:pt x="10"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0" name="Freeform 179">
                <a:extLst>
                  <a:ext uri="{FF2B5EF4-FFF2-40B4-BE49-F238E27FC236}">
                    <a16:creationId xmlns:a16="http://schemas.microsoft.com/office/drawing/2014/main" id="{ED333900-0416-4EFA-93A5-4DD1774A63E0}"/>
                  </a:ext>
                </a:extLst>
              </p:cNvPr>
              <p:cNvSpPr>
                <a:spLocks/>
              </p:cNvSpPr>
              <p:nvPr/>
            </p:nvSpPr>
            <p:spPr bwMode="auto">
              <a:xfrm>
                <a:off x="2293938" y="3140144"/>
                <a:ext cx="4763" cy="6350"/>
              </a:xfrm>
              <a:custGeom>
                <a:avLst/>
                <a:gdLst>
                  <a:gd name="T0" fmla="*/ 0 w 7"/>
                  <a:gd name="T1" fmla="*/ 7 h 9"/>
                  <a:gd name="T2" fmla="*/ 0 w 7"/>
                  <a:gd name="T3" fmla="*/ 7 h 9"/>
                  <a:gd name="T4" fmla="*/ 1 w 7"/>
                  <a:gd name="T5" fmla="*/ 3 h 9"/>
                  <a:gd name="T6" fmla="*/ 3 w 7"/>
                  <a:gd name="T7" fmla="*/ 0 h 9"/>
                  <a:gd name="T8" fmla="*/ 5 w 7"/>
                  <a:gd name="T9" fmla="*/ 0 h 9"/>
                  <a:gd name="T10" fmla="*/ 7 w 7"/>
                  <a:gd name="T11" fmla="*/ 5 h 9"/>
                  <a:gd name="T12" fmla="*/ 7 w 7"/>
                  <a:gd name="T13" fmla="*/ 5 h 9"/>
                  <a:gd name="T14" fmla="*/ 5 w 7"/>
                  <a:gd name="T15" fmla="*/ 7 h 9"/>
                  <a:gd name="T16" fmla="*/ 3 w 7"/>
                  <a:gd name="T17" fmla="*/ 9 h 9"/>
                  <a:gd name="T18" fmla="*/ 0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7"/>
                    </a:moveTo>
                    <a:lnTo>
                      <a:pt x="0" y="7"/>
                    </a:lnTo>
                    <a:lnTo>
                      <a:pt x="1" y="3"/>
                    </a:lnTo>
                    <a:lnTo>
                      <a:pt x="3" y="0"/>
                    </a:lnTo>
                    <a:lnTo>
                      <a:pt x="5" y="0"/>
                    </a:lnTo>
                    <a:lnTo>
                      <a:pt x="7" y="5"/>
                    </a:lnTo>
                    <a:lnTo>
                      <a:pt x="7" y="5"/>
                    </a:lnTo>
                    <a:lnTo>
                      <a:pt x="5" y="7"/>
                    </a:lnTo>
                    <a:lnTo>
                      <a:pt x="3" y="9"/>
                    </a:lnTo>
                    <a:lnTo>
                      <a:pt x="0" y="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1" name="Freeform 180">
                <a:extLst>
                  <a:ext uri="{FF2B5EF4-FFF2-40B4-BE49-F238E27FC236}">
                    <a16:creationId xmlns:a16="http://schemas.microsoft.com/office/drawing/2014/main" id="{764B8102-0E98-4A22-998A-DE0EAA4C29EF}"/>
                  </a:ext>
                </a:extLst>
              </p:cNvPr>
              <p:cNvSpPr>
                <a:spLocks/>
              </p:cNvSpPr>
              <p:nvPr/>
            </p:nvSpPr>
            <p:spPr bwMode="auto">
              <a:xfrm>
                <a:off x="2249488" y="3146494"/>
                <a:ext cx="6350" cy="6350"/>
              </a:xfrm>
              <a:custGeom>
                <a:avLst/>
                <a:gdLst>
                  <a:gd name="T0" fmla="*/ 3 w 10"/>
                  <a:gd name="T1" fmla="*/ 8 h 8"/>
                  <a:gd name="T2" fmla="*/ 1 w 10"/>
                  <a:gd name="T3" fmla="*/ 8 h 8"/>
                  <a:gd name="T4" fmla="*/ 0 w 10"/>
                  <a:gd name="T5" fmla="*/ 6 h 8"/>
                  <a:gd name="T6" fmla="*/ 1 w 10"/>
                  <a:gd name="T7" fmla="*/ 4 h 8"/>
                  <a:gd name="T8" fmla="*/ 8 w 10"/>
                  <a:gd name="T9" fmla="*/ 0 h 8"/>
                  <a:gd name="T10" fmla="*/ 10 w 10"/>
                  <a:gd name="T11" fmla="*/ 1 h 8"/>
                  <a:gd name="T12" fmla="*/ 10 w 10"/>
                  <a:gd name="T13" fmla="*/ 2 h 8"/>
                  <a:gd name="T14" fmla="*/ 8 w 10"/>
                  <a:gd name="T15" fmla="*/ 5 h 8"/>
                  <a:gd name="T16" fmla="*/ 8 w 10"/>
                  <a:gd name="T17" fmla="*/ 5 h 8"/>
                  <a:gd name="T18" fmla="*/ 6 w 10"/>
                  <a:gd name="T19" fmla="*/ 6 h 8"/>
                  <a:gd name="T20" fmla="*/ 3 w 10"/>
                  <a:gd name="T21" fmla="*/ 8 h 8"/>
                  <a:gd name="T22" fmla="*/ 3 w 10"/>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3" y="8"/>
                    </a:moveTo>
                    <a:lnTo>
                      <a:pt x="1" y="8"/>
                    </a:lnTo>
                    <a:lnTo>
                      <a:pt x="0" y="6"/>
                    </a:lnTo>
                    <a:lnTo>
                      <a:pt x="1" y="4"/>
                    </a:lnTo>
                    <a:lnTo>
                      <a:pt x="8" y="0"/>
                    </a:lnTo>
                    <a:lnTo>
                      <a:pt x="10" y="1"/>
                    </a:lnTo>
                    <a:lnTo>
                      <a:pt x="10" y="2"/>
                    </a:lnTo>
                    <a:lnTo>
                      <a:pt x="8" y="5"/>
                    </a:lnTo>
                    <a:lnTo>
                      <a:pt x="8" y="5"/>
                    </a:lnTo>
                    <a:lnTo>
                      <a:pt x="6" y="6"/>
                    </a:lnTo>
                    <a:lnTo>
                      <a:pt x="3" y="8"/>
                    </a:lnTo>
                    <a:lnTo>
                      <a:pt x="3" y="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2" name="Freeform 181">
                <a:extLst>
                  <a:ext uri="{FF2B5EF4-FFF2-40B4-BE49-F238E27FC236}">
                    <a16:creationId xmlns:a16="http://schemas.microsoft.com/office/drawing/2014/main" id="{485C754B-3371-42A3-99CA-B45DC687C19E}"/>
                  </a:ext>
                </a:extLst>
              </p:cNvPr>
              <p:cNvSpPr>
                <a:spLocks/>
              </p:cNvSpPr>
              <p:nvPr/>
            </p:nvSpPr>
            <p:spPr bwMode="auto">
              <a:xfrm>
                <a:off x="2263775" y="3154431"/>
                <a:ext cx="4763" cy="4763"/>
              </a:xfrm>
              <a:custGeom>
                <a:avLst/>
                <a:gdLst>
                  <a:gd name="T0" fmla="*/ 3 w 7"/>
                  <a:gd name="T1" fmla="*/ 6 h 6"/>
                  <a:gd name="T2" fmla="*/ 0 w 7"/>
                  <a:gd name="T3" fmla="*/ 6 h 6"/>
                  <a:gd name="T4" fmla="*/ 0 w 7"/>
                  <a:gd name="T5" fmla="*/ 4 h 6"/>
                  <a:gd name="T6" fmla="*/ 1 w 7"/>
                  <a:gd name="T7" fmla="*/ 1 h 6"/>
                  <a:gd name="T8" fmla="*/ 6 w 7"/>
                  <a:gd name="T9" fmla="*/ 0 h 6"/>
                  <a:gd name="T10" fmla="*/ 7 w 7"/>
                  <a:gd name="T11" fmla="*/ 1 h 6"/>
                  <a:gd name="T12" fmla="*/ 7 w 7"/>
                  <a:gd name="T13" fmla="*/ 1 h 6"/>
                  <a:gd name="T14" fmla="*/ 4 w 7"/>
                  <a:gd name="T15" fmla="*/ 3 h 6"/>
                  <a:gd name="T16" fmla="*/ 3 w 7"/>
                  <a:gd name="T17" fmla="*/ 6 h 6"/>
                  <a:gd name="T18" fmla="*/ 3 w 7"/>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3" y="6"/>
                    </a:moveTo>
                    <a:lnTo>
                      <a:pt x="0" y="6"/>
                    </a:lnTo>
                    <a:lnTo>
                      <a:pt x="0" y="4"/>
                    </a:lnTo>
                    <a:lnTo>
                      <a:pt x="1" y="1"/>
                    </a:lnTo>
                    <a:lnTo>
                      <a:pt x="6" y="0"/>
                    </a:lnTo>
                    <a:lnTo>
                      <a:pt x="7" y="1"/>
                    </a:lnTo>
                    <a:lnTo>
                      <a:pt x="7" y="1"/>
                    </a:lnTo>
                    <a:lnTo>
                      <a:pt x="4" y="3"/>
                    </a:lnTo>
                    <a:lnTo>
                      <a:pt x="3" y="6"/>
                    </a:lnTo>
                    <a:lnTo>
                      <a:pt x="3" y="6"/>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3" name="Freeform 182">
                <a:extLst>
                  <a:ext uri="{FF2B5EF4-FFF2-40B4-BE49-F238E27FC236}">
                    <a16:creationId xmlns:a16="http://schemas.microsoft.com/office/drawing/2014/main" id="{345F23A2-3CBD-45B5-AD18-D89A1D306169}"/>
                  </a:ext>
                </a:extLst>
              </p:cNvPr>
              <p:cNvSpPr>
                <a:spLocks/>
              </p:cNvSpPr>
              <p:nvPr/>
            </p:nvSpPr>
            <p:spPr bwMode="auto">
              <a:xfrm>
                <a:off x="2271713" y="3154431"/>
                <a:ext cx="3175" cy="6350"/>
              </a:xfrm>
              <a:custGeom>
                <a:avLst/>
                <a:gdLst>
                  <a:gd name="T0" fmla="*/ 2 w 4"/>
                  <a:gd name="T1" fmla="*/ 8 h 8"/>
                  <a:gd name="T2" fmla="*/ 0 w 4"/>
                  <a:gd name="T3" fmla="*/ 6 h 8"/>
                  <a:gd name="T4" fmla="*/ 2 w 4"/>
                  <a:gd name="T5" fmla="*/ 0 h 8"/>
                  <a:gd name="T6" fmla="*/ 4 w 4"/>
                  <a:gd name="T7" fmla="*/ 0 h 8"/>
                  <a:gd name="T8" fmla="*/ 2 w 4"/>
                  <a:gd name="T9" fmla="*/ 8 h 8"/>
                </a:gdLst>
                <a:ahLst/>
                <a:cxnLst>
                  <a:cxn ang="0">
                    <a:pos x="T0" y="T1"/>
                  </a:cxn>
                  <a:cxn ang="0">
                    <a:pos x="T2" y="T3"/>
                  </a:cxn>
                  <a:cxn ang="0">
                    <a:pos x="T4" y="T5"/>
                  </a:cxn>
                  <a:cxn ang="0">
                    <a:pos x="T6" y="T7"/>
                  </a:cxn>
                  <a:cxn ang="0">
                    <a:pos x="T8" y="T9"/>
                  </a:cxn>
                </a:cxnLst>
                <a:rect l="0" t="0" r="r" b="b"/>
                <a:pathLst>
                  <a:path w="4" h="8">
                    <a:moveTo>
                      <a:pt x="2" y="8"/>
                    </a:moveTo>
                    <a:lnTo>
                      <a:pt x="0" y="6"/>
                    </a:lnTo>
                    <a:lnTo>
                      <a:pt x="2" y="0"/>
                    </a:lnTo>
                    <a:lnTo>
                      <a:pt x="4" y="0"/>
                    </a:lnTo>
                    <a:lnTo>
                      <a:pt x="2" y="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4" name="Freeform 183">
                <a:extLst>
                  <a:ext uri="{FF2B5EF4-FFF2-40B4-BE49-F238E27FC236}">
                    <a16:creationId xmlns:a16="http://schemas.microsoft.com/office/drawing/2014/main" id="{B4DB2FF5-33AD-4420-A2F4-FC4DD7F9E8EF}"/>
                  </a:ext>
                </a:extLst>
              </p:cNvPr>
              <p:cNvSpPr>
                <a:spLocks/>
              </p:cNvSpPr>
              <p:nvPr/>
            </p:nvSpPr>
            <p:spPr bwMode="auto">
              <a:xfrm>
                <a:off x="2236788" y="3157606"/>
                <a:ext cx="6350" cy="6350"/>
              </a:xfrm>
              <a:custGeom>
                <a:avLst/>
                <a:gdLst>
                  <a:gd name="T0" fmla="*/ 7 w 8"/>
                  <a:gd name="T1" fmla="*/ 0 h 8"/>
                  <a:gd name="T2" fmla="*/ 8 w 8"/>
                  <a:gd name="T3" fmla="*/ 0 h 8"/>
                  <a:gd name="T4" fmla="*/ 7 w 8"/>
                  <a:gd name="T5" fmla="*/ 4 h 8"/>
                  <a:gd name="T6" fmla="*/ 7 w 8"/>
                  <a:gd name="T7" fmla="*/ 4 h 8"/>
                  <a:gd name="T8" fmla="*/ 4 w 8"/>
                  <a:gd name="T9" fmla="*/ 6 h 8"/>
                  <a:gd name="T10" fmla="*/ 3 w 8"/>
                  <a:gd name="T11" fmla="*/ 8 h 8"/>
                  <a:gd name="T12" fmla="*/ 0 w 8"/>
                  <a:gd name="T13" fmla="*/ 8 h 8"/>
                  <a:gd name="T14" fmla="*/ 7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7" y="0"/>
                    </a:moveTo>
                    <a:lnTo>
                      <a:pt x="8" y="0"/>
                    </a:lnTo>
                    <a:lnTo>
                      <a:pt x="7" y="4"/>
                    </a:lnTo>
                    <a:lnTo>
                      <a:pt x="7" y="4"/>
                    </a:lnTo>
                    <a:lnTo>
                      <a:pt x="4" y="6"/>
                    </a:lnTo>
                    <a:lnTo>
                      <a:pt x="3" y="8"/>
                    </a:lnTo>
                    <a:lnTo>
                      <a:pt x="0" y="8"/>
                    </a:lnTo>
                    <a:lnTo>
                      <a:pt x="7"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5" name="Freeform 184">
                <a:extLst>
                  <a:ext uri="{FF2B5EF4-FFF2-40B4-BE49-F238E27FC236}">
                    <a16:creationId xmlns:a16="http://schemas.microsoft.com/office/drawing/2014/main" id="{4A2C120C-2DF0-4B49-BDCD-8A1E1E99F120}"/>
                  </a:ext>
                </a:extLst>
              </p:cNvPr>
              <p:cNvSpPr>
                <a:spLocks/>
              </p:cNvSpPr>
              <p:nvPr/>
            </p:nvSpPr>
            <p:spPr bwMode="auto">
              <a:xfrm>
                <a:off x="2263775" y="3160781"/>
                <a:ext cx="12700" cy="9525"/>
              </a:xfrm>
              <a:custGeom>
                <a:avLst/>
                <a:gdLst>
                  <a:gd name="T0" fmla="*/ 16 w 16"/>
                  <a:gd name="T1" fmla="*/ 11 h 12"/>
                  <a:gd name="T2" fmla="*/ 15 w 16"/>
                  <a:gd name="T3" fmla="*/ 12 h 12"/>
                  <a:gd name="T4" fmla="*/ 11 w 16"/>
                  <a:gd name="T5" fmla="*/ 12 h 12"/>
                  <a:gd name="T6" fmla="*/ 10 w 16"/>
                  <a:gd name="T7" fmla="*/ 6 h 12"/>
                  <a:gd name="T8" fmla="*/ 8 w 16"/>
                  <a:gd name="T9" fmla="*/ 6 h 12"/>
                  <a:gd name="T10" fmla="*/ 7 w 16"/>
                  <a:gd name="T11" fmla="*/ 8 h 12"/>
                  <a:gd name="T12" fmla="*/ 4 w 16"/>
                  <a:gd name="T13" fmla="*/ 8 h 12"/>
                  <a:gd name="T14" fmla="*/ 3 w 16"/>
                  <a:gd name="T15" fmla="*/ 11 h 12"/>
                  <a:gd name="T16" fmla="*/ 0 w 16"/>
                  <a:gd name="T17" fmla="*/ 11 h 12"/>
                  <a:gd name="T18" fmla="*/ 1 w 16"/>
                  <a:gd name="T19" fmla="*/ 8 h 12"/>
                  <a:gd name="T20" fmla="*/ 4 w 16"/>
                  <a:gd name="T21" fmla="*/ 8 h 12"/>
                  <a:gd name="T22" fmla="*/ 6 w 16"/>
                  <a:gd name="T23" fmla="*/ 3 h 12"/>
                  <a:gd name="T24" fmla="*/ 12 w 16"/>
                  <a:gd name="T25" fmla="*/ 0 h 12"/>
                  <a:gd name="T26" fmla="*/ 12 w 16"/>
                  <a:gd name="T27" fmla="*/ 0 h 12"/>
                  <a:gd name="T28" fmla="*/ 14 w 16"/>
                  <a:gd name="T29" fmla="*/ 4 h 12"/>
                  <a:gd name="T30" fmla="*/ 12 w 16"/>
                  <a:gd name="T31" fmla="*/ 8 h 12"/>
                  <a:gd name="T32" fmla="*/ 16 w 16"/>
                  <a:gd name="T3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2">
                    <a:moveTo>
                      <a:pt x="16" y="11"/>
                    </a:moveTo>
                    <a:lnTo>
                      <a:pt x="15" y="12"/>
                    </a:lnTo>
                    <a:lnTo>
                      <a:pt x="11" y="12"/>
                    </a:lnTo>
                    <a:lnTo>
                      <a:pt x="10" y="6"/>
                    </a:lnTo>
                    <a:lnTo>
                      <a:pt x="8" y="6"/>
                    </a:lnTo>
                    <a:lnTo>
                      <a:pt x="7" y="8"/>
                    </a:lnTo>
                    <a:lnTo>
                      <a:pt x="4" y="8"/>
                    </a:lnTo>
                    <a:lnTo>
                      <a:pt x="3" y="11"/>
                    </a:lnTo>
                    <a:lnTo>
                      <a:pt x="0" y="11"/>
                    </a:lnTo>
                    <a:lnTo>
                      <a:pt x="1" y="8"/>
                    </a:lnTo>
                    <a:lnTo>
                      <a:pt x="4" y="8"/>
                    </a:lnTo>
                    <a:lnTo>
                      <a:pt x="6" y="3"/>
                    </a:lnTo>
                    <a:lnTo>
                      <a:pt x="12" y="0"/>
                    </a:lnTo>
                    <a:lnTo>
                      <a:pt x="12" y="0"/>
                    </a:lnTo>
                    <a:lnTo>
                      <a:pt x="14" y="4"/>
                    </a:lnTo>
                    <a:lnTo>
                      <a:pt x="12" y="8"/>
                    </a:lnTo>
                    <a:lnTo>
                      <a:pt x="16" y="1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6" name="Freeform 185">
                <a:extLst>
                  <a:ext uri="{FF2B5EF4-FFF2-40B4-BE49-F238E27FC236}">
                    <a16:creationId xmlns:a16="http://schemas.microsoft.com/office/drawing/2014/main" id="{CD252354-77B0-440B-99F4-C70F0FB6A518}"/>
                  </a:ext>
                </a:extLst>
              </p:cNvPr>
              <p:cNvSpPr>
                <a:spLocks/>
              </p:cNvSpPr>
              <p:nvPr/>
            </p:nvSpPr>
            <p:spPr bwMode="auto">
              <a:xfrm>
                <a:off x="2295525" y="3156019"/>
                <a:ext cx="7938" cy="17463"/>
              </a:xfrm>
              <a:custGeom>
                <a:avLst/>
                <a:gdLst>
                  <a:gd name="T0" fmla="*/ 6 w 11"/>
                  <a:gd name="T1" fmla="*/ 0 h 22"/>
                  <a:gd name="T2" fmla="*/ 7 w 11"/>
                  <a:gd name="T3" fmla="*/ 1 h 22"/>
                  <a:gd name="T4" fmla="*/ 10 w 11"/>
                  <a:gd name="T5" fmla="*/ 4 h 22"/>
                  <a:gd name="T6" fmla="*/ 10 w 11"/>
                  <a:gd name="T7" fmla="*/ 4 h 22"/>
                  <a:gd name="T8" fmla="*/ 10 w 11"/>
                  <a:gd name="T9" fmla="*/ 9 h 22"/>
                  <a:gd name="T10" fmla="*/ 11 w 11"/>
                  <a:gd name="T11" fmla="*/ 13 h 22"/>
                  <a:gd name="T12" fmla="*/ 11 w 11"/>
                  <a:gd name="T13" fmla="*/ 15 h 22"/>
                  <a:gd name="T14" fmla="*/ 11 w 11"/>
                  <a:gd name="T15" fmla="*/ 16 h 22"/>
                  <a:gd name="T16" fmla="*/ 3 w 11"/>
                  <a:gd name="T17" fmla="*/ 22 h 22"/>
                  <a:gd name="T18" fmla="*/ 3 w 11"/>
                  <a:gd name="T19" fmla="*/ 22 h 22"/>
                  <a:gd name="T20" fmla="*/ 3 w 11"/>
                  <a:gd name="T21" fmla="*/ 19 h 22"/>
                  <a:gd name="T22" fmla="*/ 3 w 11"/>
                  <a:gd name="T23" fmla="*/ 16 h 22"/>
                  <a:gd name="T24" fmla="*/ 0 w 11"/>
                  <a:gd name="T25" fmla="*/ 15 h 22"/>
                  <a:gd name="T26" fmla="*/ 0 w 11"/>
                  <a:gd name="T27" fmla="*/ 15 h 22"/>
                  <a:gd name="T28" fmla="*/ 0 w 11"/>
                  <a:gd name="T29" fmla="*/ 11 h 22"/>
                  <a:gd name="T30" fmla="*/ 2 w 11"/>
                  <a:gd name="T31" fmla="*/ 5 h 22"/>
                  <a:gd name="T32" fmla="*/ 3 w 11"/>
                  <a:gd name="T33" fmla="*/ 4 h 22"/>
                  <a:gd name="T34" fmla="*/ 3 w 11"/>
                  <a:gd name="T35" fmla="*/ 1 h 22"/>
                  <a:gd name="T36" fmla="*/ 6 w 11"/>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2">
                    <a:moveTo>
                      <a:pt x="6" y="0"/>
                    </a:moveTo>
                    <a:lnTo>
                      <a:pt x="7" y="1"/>
                    </a:lnTo>
                    <a:lnTo>
                      <a:pt x="10" y="4"/>
                    </a:lnTo>
                    <a:lnTo>
                      <a:pt x="10" y="4"/>
                    </a:lnTo>
                    <a:lnTo>
                      <a:pt x="10" y="9"/>
                    </a:lnTo>
                    <a:lnTo>
                      <a:pt x="11" y="13"/>
                    </a:lnTo>
                    <a:lnTo>
                      <a:pt x="11" y="15"/>
                    </a:lnTo>
                    <a:lnTo>
                      <a:pt x="11" y="16"/>
                    </a:lnTo>
                    <a:lnTo>
                      <a:pt x="3" y="22"/>
                    </a:lnTo>
                    <a:lnTo>
                      <a:pt x="3" y="22"/>
                    </a:lnTo>
                    <a:lnTo>
                      <a:pt x="3" y="19"/>
                    </a:lnTo>
                    <a:lnTo>
                      <a:pt x="3" y="16"/>
                    </a:lnTo>
                    <a:lnTo>
                      <a:pt x="0" y="15"/>
                    </a:lnTo>
                    <a:lnTo>
                      <a:pt x="0" y="15"/>
                    </a:lnTo>
                    <a:lnTo>
                      <a:pt x="0" y="11"/>
                    </a:lnTo>
                    <a:lnTo>
                      <a:pt x="2" y="5"/>
                    </a:lnTo>
                    <a:lnTo>
                      <a:pt x="3" y="4"/>
                    </a:lnTo>
                    <a:lnTo>
                      <a:pt x="3" y="1"/>
                    </a:lnTo>
                    <a:lnTo>
                      <a:pt x="6"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7" name="Freeform 186">
                <a:extLst>
                  <a:ext uri="{FF2B5EF4-FFF2-40B4-BE49-F238E27FC236}">
                    <a16:creationId xmlns:a16="http://schemas.microsoft.com/office/drawing/2014/main" id="{6C11924C-3B89-46D2-BFDD-8D4E079ACCEF}"/>
                  </a:ext>
                </a:extLst>
              </p:cNvPr>
              <p:cNvSpPr>
                <a:spLocks/>
              </p:cNvSpPr>
              <p:nvPr/>
            </p:nvSpPr>
            <p:spPr bwMode="auto">
              <a:xfrm>
                <a:off x="2282825" y="3136969"/>
                <a:ext cx="12700" cy="42863"/>
              </a:xfrm>
              <a:custGeom>
                <a:avLst/>
                <a:gdLst>
                  <a:gd name="T0" fmla="*/ 4 w 16"/>
                  <a:gd name="T1" fmla="*/ 45 h 53"/>
                  <a:gd name="T2" fmla="*/ 6 w 16"/>
                  <a:gd name="T3" fmla="*/ 38 h 53"/>
                  <a:gd name="T4" fmla="*/ 2 w 16"/>
                  <a:gd name="T5" fmla="*/ 37 h 53"/>
                  <a:gd name="T6" fmla="*/ 3 w 16"/>
                  <a:gd name="T7" fmla="*/ 34 h 53"/>
                  <a:gd name="T8" fmla="*/ 0 w 16"/>
                  <a:gd name="T9" fmla="*/ 33 h 53"/>
                  <a:gd name="T10" fmla="*/ 0 w 16"/>
                  <a:gd name="T11" fmla="*/ 30 h 53"/>
                  <a:gd name="T12" fmla="*/ 0 w 16"/>
                  <a:gd name="T13" fmla="*/ 30 h 53"/>
                  <a:gd name="T14" fmla="*/ 2 w 16"/>
                  <a:gd name="T15" fmla="*/ 26 h 53"/>
                  <a:gd name="T16" fmla="*/ 2 w 16"/>
                  <a:gd name="T17" fmla="*/ 22 h 53"/>
                  <a:gd name="T18" fmla="*/ 3 w 16"/>
                  <a:gd name="T19" fmla="*/ 21 h 53"/>
                  <a:gd name="T20" fmla="*/ 6 w 16"/>
                  <a:gd name="T21" fmla="*/ 15 h 53"/>
                  <a:gd name="T22" fmla="*/ 3 w 16"/>
                  <a:gd name="T23" fmla="*/ 10 h 53"/>
                  <a:gd name="T24" fmla="*/ 6 w 16"/>
                  <a:gd name="T25" fmla="*/ 4 h 53"/>
                  <a:gd name="T26" fmla="*/ 8 w 16"/>
                  <a:gd name="T27" fmla="*/ 3 h 53"/>
                  <a:gd name="T28" fmla="*/ 8 w 16"/>
                  <a:gd name="T29" fmla="*/ 0 h 53"/>
                  <a:gd name="T30" fmla="*/ 10 w 16"/>
                  <a:gd name="T31" fmla="*/ 0 h 53"/>
                  <a:gd name="T32" fmla="*/ 10 w 16"/>
                  <a:gd name="T33" fmla="*/ 0 h 53"/>
                  <a:gd name="T34" fmla="*/ 12 w 16"/>
                  <a:gd name="T35" fmla="*/ 4 h 53"/>
                  <a:gd name="T36" fmla="*/ 12 w 16"/>
                  <a:gd name="T37" fmla="*/ 7 h 53"/>
                  <a:gd name="T38" fmla="*/ 11 w 16"/>
                  <a:gd name="T39" fmla="*/ 10 h 53"/>
                  <a:gd name="T40" fmla="*/ 14 w 16"/>
                  <a:gd name="T41" fmla="*/ 11 h 53"/>
                  <a:gd name="T42" fmla="*/ 15 w 16"/>
                  <a:gd name="T43" fmla="*/ 14 h 53"/>
                  <a:gd name="T44" fmla="*/ 16 w 16"/>
                  <a:gd name="T45" fmla="*/ 14 h 53"/>
                  <a:gd name="T46" fmla="*/ 16 w 16"/>
                  <a:gd name="T47" fmla="*/ 14 h 53"/>
                  <a:gd name="T48" fmla="*/ 16 w 16"/>
                  <a:gd name="T49" fmla="*/ 18 h 53"/>
                  <a:gd name="T50" fmla="*/ 15 w 16"/>
                  <a:gd name="T51" fmla="*/ 22 h 53"/>
                  <a:gd name="T52" fmla="*/ 14 w 16"/>
                  <a:gd name="T53" fmla="*/ 26 h 53"/>
                  <a:gd name="T54" fmla="*/ 14 w 16"/>
                  <a:gd name="T55" fmla="*/ 29 h 53"/>
                  <a:gd name="T56" fmla="*/ 12 w 16"/>
                  <a:gd name="T57" fmla="*/ 32 h 53"/>
                  <a:gd name="T58" fmla="*/ 12 w 16"/>
                  <a:gd name="T59" fmla="*/ 33 h 53"/>
                  <a:gd name="T60" fmla="*/ 14 w 16"/>
                  <a:gd name="T61" fmla="*/ 36 h 53"/>
                  <a:gd name="T62" fmla="*/ 12 w 16"/>
                  <a:gd name="T63" fmla="*/ 38 h 53"/>
                  <a:gd name="T64" fmla="*/ 12 w 16"/>
                  <a:gd name="T65" fmla="*/ 40 h 53"/>
                  <a:gd name="T66" fmla="*/ 11 w 16"/>
                  <a:gd name="T67" fmla="*/ 42 h 53"/>
                  <a:gd name="T68" fmla="*/ 12 w 16"/>
                  <a:gd name="T69" fmla="*/ 44 h 53"/>
                  <a:gd name="T70" fmla="*/ 14 w 16"/>
                  <a:gd name="T71" fmla="*/ 47 h 53"/>
                  <a:gd name="T72" fmla="*/ 11 w 16"/>
                  <a:gd name="T73" fmla="*/ 49 h 53"/>
                  <a:gd name="T74" fmla="*/ 12 w 16"/>
                  <a:gd name="T75" fmla="*/ 51 h 53"/>
                  <a:gd name="T76" fmla="*/ 11 w 16"/>
                  <a:gd name="T77" fmla="*/ 53 h 53"/>
                  <a:gd name="T78" fmla="*/ 10 w 16"/>
                  <a:gd name="T79" fmla="*/ 53 h 53"/>
                  <a:gd name="T80" fmla="*/ 10 w 16"/>
                  <a:gd name="T81" fmla="*/ 53 h 53"/>
                  <a:gd name="T82" fmla="*/ 8 w 16"/>
                  <a:gd name="T83" fmla="*/ 51 h 53"/>
                  <a:gd name="T84" fmla="*/ 7 w 16"/>
                  <a:gd name="T85" fmla="*/ 48 h 53"/>
                  <a:gd name="T86" fmla="*/ 4 w 16"/>
                  <a:gd name="T87" fmla="*/ 45 h 53"/>
                  <a:gd name="T88" fmla="*/ 4 w 16"/>
                  <a:gd name="T89"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53">
                    <a:moveTo>
                      <a:pt x="4" y="45"/>
                    </a:moveTo>
                    <a:lnTo>
                      <a:pt x="6" y="38"/>
                    </a:lnTo>
                    <a:lnTo>
                      <a:pt x="2" y="37"/>
                    </a:lnTo>
                    <a:lnTo>
                      <a:pt x="3" y="34"/>
                    </a:lnTo>
                    <a:lnTo>
                      <a:pt x="0" y="33"/>
                    </a:lnTo>
                    <a:lnTo>
                      <a:pt x="0" y="30"/>
                    </a:lnTo>
                    <a:lnTo>
                      <a:pt x="0" y="30"/>
                    </a:lnTo>
                    <a:lnTo>
                      <a:pt x="2" y="26"/>
                    </a:lnTo>
                    <a:lnTo>
                      <a:pt x="2" y="22"/>
                    </a:lnTo>
                    <a:lnTo>
                      <a:pt x="3" y="21"/>
                    </a:lnTo>
                    <a:lnTo>
                      <a:pt x="6" y="15"/>
                    </a:lnTo>
                    <a:lnTo>
                      <a:pt x="3" y="10"/>
                    </a:lnTo>
                    <a:lnTo>
                      <a:pt x="6" y="4"/>
                    </a:lnTo>
                    <a:lnTo>
                      <a:pt x="8" y="3"/>
                    </a:lnTo>
                    <a:lnTo>
                      <a:pt x="8" y="0"/>
                    </a:lnTo>
                    <a:lnTo>
                      <a:pt x="10" y="0"/>
                    </a:lnTo>
                    <a:lnTo>
                      <a:pt x="10" y="0"/>
                    </a:lnTo>
                    <a:lnTo>
                      <a:pt x="12" y="4"/>
                    </a:lnTo>
                    <a:lnTo>
                      <a:pt x="12" y="7"/>
                    </a:lnTo>
                    <a:lnTo>
                      <a:pt x="11" y="10"/>
                    </a:lnTo>
                    <a:lnTo>
                      <a:pt x="14" y="11"/>
                    </a:lnTo>
                    <a:lnTo>
                      <a:pt x="15" y="14"/>
                    </a:lnTo>
                    <a:lnTo>
                      <a:pt x="16" y="14"/>
                    </a:lnTo>
                    <a:lnTo>
                      <a:pt x="16" y="14"/>
                    </a:lnTo>
                    <a:lnTo>
                      <a:pt x="16" y="18"/>
                    </a:lnTo>
                    <a:lnTo>
                      <a:pt x="15" y="22"/>
                    </a:lnTo>
                    <a:lnTo>
                      <a:pt x="14" y="26"/>
                    </a:lnTo>
                    <a:lnTo>
                      <a:pt x="14" y="29"/>
                    </a:lnTo>
                    <a:lnTo>
                      <a:pt x="12" y="32"/>
                    </a:lnTo>
                    <a:lnTo>
                      <a:pt x="12" y="33"/>
                    </a:lnTo>
                    <a:lnTo>
                      <a:pt x="14" y="36"/>
                    </a:lnTo>
                    <a:lnTo>
                      <a:pt x="12" y="38"/>
                    </a:lnTo>
                    <a:lnTo>
                      <a:pt x="12" y="40"/>
                    </a:lnTo>
                    <a:lnTo>
                      <a:pt x="11" y="42"/>
                    </a:lnTo>
                    <a:lnTo>
                      <a:pt x="12" y="44"/>
                    </a:lnTo>
                    <a:lnTo>
                      <a:pt x="14" y="47"/>
                    </a:lnTo>
                    <a:lnTo>
                      <a:pt x="11" y="49"/>
                    </a:lnTo>
                    <a:lnTo>
                      <a:pt x="12" y="51"/>
                    </a:lnTo>
                    <a:lnTo>
                      <a:pt x="11" y="53"/>
                    </a:lnTo>
                    <a:lnTo>
                      <a:pt x="10" y="53"/>
                    </a:lnTo>
                    <a:lnTo>
                      <a:pt x="10" y="53"/>
                    </a:lnTo>
                    <a:lnTo>
                      <a:pt x="8" y="51"/>
                    </a:lnTo>
                    <a:lnTo>
                      <a:pt x="7" y="48"/>
                    </a:lnTo>
                    <a:lnTo>
                      <a:pt x="4" y="45"/>
                    </a:lnTo>
                    <a:lnTo>
                      <a:pt x="4" y="4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8" name="Freeform 187">
                <a:extLst>
                  <a:ext uri="{FF2B5EF4-FFF2-40B4-BE49-F238E27FC236}">
                    <a16:creationId xmlns:a16="http://schemas.microsoft.com/office/drawing/2014/main" id="{EB7ACD2E-CC01-4903-8161-FB71BA6373F1}"/>
                  </a:ext>
                </a:extLst>
              </p:cNvPr>
              <p:cNvSpPr>
                <a:spLocks/>
              </p:cNvSpPr>
              <p:nvPr/>
            </p:nvSpPr>
            <p:spPr bwMode="auto">
              <a:xfrm>
                <a:off x="3176588" y="3176656"/>
                <a:ext cx="4763" cy="4763"/>
              </a:xfrm>
              <a:custGeom>
                <a:avLst/>
                <a:gdLst>
                  <a:gd name="T0" fmla="*/ 3 w 7"/>
                  <a:gd name="T1" fmla="*/ 0 h 7"/>
                  <a:gd name="T2" fmla="*/ 7 w 7"/>
                  <a:gd name="T3" fmla="*/ 7 h 7"/>
                  <a:gd name="T4" fmla="*/ 6 w 7"/>
                  <a:gd name="T5" fmla="*/ 7 h 7"/>
                  <a:gd name="T6" fmla="*/ 6 w 7"/>
                  <a:gd name="T7" fmla="*/ 7 h 7"/>
                  <a:gd name="T8" fmla="*/ 2 w 7"/>
                  <a:gd name="T9" fmla="*/ 4 h 7"/>
                  <a:gd name="T10" fmla="*/ 0 w 7"/>
                  <a:gd name="T11" fmla="*/ 0 h 7"/>
                  <a:gd name="T12" fmla="*/ 3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3" y="0"/>
                    </a:moveTo>
                    <a:lnTo>
                      <a:pt x="7" y="7"/>
                    </a:lnTo>
                    <a:lnTo>
                      <a:pt x="6" y="7"/>
                    </a:lnTo>
                    <a:lnTo>
                      <a:pt x="6" y="7"/>
                    </a:lnTo>
                    <a:lnTo>
                      <a:pt x="2" y="4"/>
                    </a:lnTo>
                    <a:lnTo>
                      <a:pt x="0" y="0"/>
                    </a:lnTo>
                    <a:lnTo>
                      <a:pt x="3"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59" name="Freeform 188">
                <a:extLst>
                  <a:ext uri="{FF2B5EF4-FFF2-40B4-BE49-F238E27FC236}">
                    <a16:creationId xmlns:a16="http://schemas.microsoft.com/office/drawing/2014/main" id="{1BC251A3-16B4-48C0-8189-4574AD51941D}"/>
                  </a:ext>
                </a:extLst>
              </p:cNvPr>
              <p:cNvSpPr>
                <a:spLocks/>
              </p:cNvSpPr>
              <p:nvPr/>
            </p:nvSpPr>
            <p:spPr bwMode="auto">
              <a:xfrm>
                <a:off x="2255838" y="3171894"/>
                <a:ext cx="23813" cy="20638"/>
              </a:xfrm>
              <a:custGeom>
                <a:avLst/>
                <a:gdLst>
                  <a:gd name="T0" fmla="*/ 24 w 29"/>
                  <a:gd name="T1" fmla="*/ 1 h 26"/>
                  <a:gd name="T2" fmla="*/ 25 w 29"/>
                  <a:gd name="T3" fmla="*/ 4 h 26"/>
                  <a:gd name="T4" fmla="*/ 28 w 29"/>
                  <a:gd name="T5" fmla="*/ 5 h 26"/>
                  <a:gd name="T6" fmla="*/ 27 w 29"/>
                  <a:gd name="T7" fmla="*/ 7 h 26"/>
                  <a:gd name="T8" fmla="*/ 27 w 29"/>
                  <a:gd name="T9" fmla="*/ 7 h 26"/>
                  <a:gd name="T10" fmla="*/ 27 w 29"/>
                  <a:gd name="T11" fmla="*/ 9 h 26"/>
                  <a:gd name="T12" fmla="*/ 28 w 29"/>
                  <a:gd name="T13" fmla="*/ 13 h 26"/>
                  <a:gd name="T14" fmla="*/ 29 w 29"/>
                  <a:gd name="T15" fmla="*/ 19 h 26"/>
                  <a:gd name="T16" fmla="*/ 28 w 29"/>
                  <a:gd name="T17" fmla="*/ 20 h 26"/>
                  <a:gd name="T18" fmla="*/ 27 w 29"/>
                  <a:gd name="T19" fmla="*/ 22 h 26"/>
                  <a:gd name="T20" fmla="*/ 25 w 29"/>
                  <a:gd name="T21" fmla="*/ 20 h 26"/>
                  <a:gd name="T22" fmla="*/ 20 w 29"/>
                  <a:gd name="T23" fmla="*/ 26 h 26"/>
                  <a:gd name="T24" fmla="*/ 20 w 29"/>
                  <a:gd name="T25" fmla="*/ 26 h 26"/>
                  <a:gd name="T26" fmla="*/ 10 w 29"/>
                  <a:gd name="T27" fmla="*/ 26 h 26"/>
                  <a:gd name="T28" fmla="*/ 5 w 29"/>
                  <a:gd name="T29" fmla="*/ 26 h 26"/>
                  <a:gd name="T30" fmla="*/ 2 w 29"/>
                  <a:gd name="T31" fmla="*/ 24 h 26"/>
                  <a:gd name="T32" fmla="*/ 0 w 29"/>
                  <a:gd name="T33" fmla="*/ 19 h 26"/>
                  <a:gd name="T34" fmla="*/ 2 w 29"/>
                  <a:gd name="T35" fmla="*/ 15 h 26"/>
                  <a:gd name="T36" fmla="*/ 4 w 29"/>
                  <a:gd name="T37" fmla="*/ 13 h 26"/>
                  <a:gd name="T38" fmla="*/ 5 w 29"/>
                  <a:gd name="T39" fmla="*/ 15 h 26"/>
                  <a:gd name="T40" fmla="*/ 8 w 29"/>
                  <a:gd name="T41" fmla="*/ 12 h 26"/>
                  <a:gd name="T42" fmla="*/ 8 w 29"/>
                  <a:gd name="T43" fmla="*/ 8 h 26"/>
                  <a:gd name="T44" fmla="*/ 12 w 29"/>
                  <a:gd name="T45" fmla="*/ 5 h 26"/>
                  <a:gd name="T46" fmla="*/ 13 w 29"/>
                  <a:gd name="T47" fmla="*/ 5 h 26"/>
                  <a:gd name="T48" fmla="*/ 13 w 29"/>
                  <a:gd name="T49" fmla="*/ 5 h 26"/>
                  <a:gd name="T50" fmla="*/ 17 w 29"/>
                  <a:gd name="T51" fmla="*/ 3 h 26"/>
                  <a:gd name="T52" fmla="*/ 21 w 29"/>
                  <a:gd name="T53" fmla="*/ 3 h 26"/>
                  <a:gd name="T54" fmla="*/ 23 w 29"/>
                  <a:gd name="T55" fmla="*/ 0 h 26"/>
                  <a:gd name="T56" fmla="*/ 24 w 29"/>
                  <a:gd name="T57"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26">
                    <a:moveTo>
                      <a:pt x="24" y="1"/>
                    </a:moveTo>
                    <a:lnTo>
                      <a:pt x="25" y="4"/>
                    </a:lnTo>
                    <a:lnTo>
                      <a:pt x="28" y="5"/>
                    </a:lnTo>
                    <a:lnTo>
                      <a:pt x="27" y="7"/>
                    </a:lnTo>
                    <a:lnTo>
                      <a:pt x="27" y="7"/>
                    </a:lnTo>
                    <a:lnTo>
                      <a:pt x="27" y="9"/>
                    </a:lnTo>
                    <a:lnTo>
                      <a:pt x="28" y="13"/>
                    </a:lnTo>
                    <a:lnTo>
                      <a:pt x="29" y="19"/>
                    </a:lnTo>
                    <a:lnTo>
                      <a:pt x="28" y="20"/>
                    </a:lnTo>
                    <a:lnTo>
                      <a:pt x="27" y="22"/>
                    </a:lnTo>
                    <a:lnTo>
                      <a:pt x="25" y="20"/>
                    </a:lnTo>
                    <a:lnTo>
                      <a:pt x="20" y="26"/>
                    </a:lnTo>
                    <a:lnTo>
                      <a:pt x="20" y="26"/>
                    </a:lnTo>
                    <a:lnTo>
                      <a:pt x="10" y="26"/>
                    </a:lnTo>
                    <a:lnTo>
                      <a:pt x="5" y="26"/>
                    </a:lnTo>
                    <a:lnTo>
                      <a:pt x="2" y="24"/>
                    </a:lnTo>
                    <a:lnTo>
                      <a:pt x="0" y="19"/>
                    </a:lnTo>
                    <a:lnTo>
                      <a:pt x="2" y="15"/>
                    </a:lnTo>
                    <a:lnTo>
                      <a:pt x="4" y="13"/>
                    </a:lnTo>
                    <a:lnTo>
                      <a:pt x="5" y="15"/>
                    </a:lnTo>
                    <a:lnTo>
                      <a:pt x="8" y="12"/>
                    </a:lnTo>
                    <a:lnTo>
                      <a:pt x="8" y="8"/>
                    </a:lnTo>
                    <a:lnTo>
                      <a:pt x="12" y="5"/>
                    </a:lnTo>
                    <a:lnTo>
                      <a:pt x="13" y="5"/>
                    </a:lnTo>
                    <a:lnTo>
                      <a:pt x="13" y="5"/>
                    </a:lnTo>
                    <a:lnTo>
                      <a:pt x="17" y="3"/>
                    </a:lnTo>
                    <a:lnTo>
                      <a:pt x="21" y="3"/>
                    </a:lnTo>
                    <a:lnTo>
                      <a:pt x="23" y="0"/>
                    </a:lnTo>
                    <a:lnTo>
                      <a:pt x="24"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0" name="Freeform 189">
                <a:extLst>
                  <a:ext uri="{FF2B5EF4-FFF2-40B4-BE49-F238E27FC236}">
                    <a16:creationId xmlns:a16="http://schemas.microsoft.com/office/drawing/2014/main" id="{43BA0191-811D-4330-A8FF-E439197F3EE8}"/>
                  </a:ext>
                </a:extLst>
              </p:cNvPr>
              <p:cNvSpPr>
                <a:spLocks/>
              </p:cNvSpPr>
              <p:nvPr/>
            </p:nvSpPr>
            <p:spPr bwMode="auto">
              <a:xfrm>
                <a:off x="2312988" y="3187769"/>
                <a:ext cx="9525" cy="11113"/>
              </a:xfrm>
              <a:custGeom>
                <a:avLst/>
                <a:gdLst>
                  <a:gd name="T0" fmla="*/ 10 w 11"/>
                  <a:gd name="T1" fmla="*/ 0 h 14"/>
                  <a:gd name="T2" fmla="*/ 11 w 11"/>
                  <a:gd name="T3" fmla="*/ 0 h 14"/>
                  <a:gd name="T4" fmla="*/ 11 w 11"/>
                  <a:gd name="T5" fmla="*/ 0 h 14"/>
                  <a:gd name="T6" fmla="*/ 7 w 11"/>
                  <a:gd name="T7" fmla="*/ 6 h 14"/>
                  <a:gd name="T8" fmla="*/ 3 w 11"/>
                  <a:gd name="T9" fmla="*/ 12 h 14"/>
                  <a:gd name="T10" fmla="*/ 0 w 11"/>
                  <a:gd name="T11" fmla="*/ 14 h 14"/>
                  <a:gd name="T12" fmla="*/ 0 w 11"/>
                  <a:gd name="T13" fmla="*/ 12 h 14"/>
                  <a:gd name="T14" fmla="*/ 0 w 11"/>
                  <a:gd name="T15" fmla="*/ 12 h 14"/>
                  <a:gd name="T16" fmla="*/ 2 w 11"/>
                  <a:gd name="T17" fmla="*/ 11 h 14"/>
                  <a:gd name="T18" fmla="*/ 5 w 11"/>
                  <a:gd name="T19" fmla="*/ 8 h 14"/>
                  <a:gd name="T20" fmla="*/ 6 w 11"/>
                  <a:gd name="T21" fmla="*/ 3 h 14"/>
                  <a:gd name="T22" fmla="*/ 10 w 11"/>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10" y="0"/>
                    </a:moveTo>
                    <a:lnTo>
                      <a:pt x="11" y="0"/>
                    </a:lnTo>
                    <a:lnTo>
                      <a:pt x="11" y="0"/>
                    </a:lnTo>
                    <a:lnTo>
                      <a:pt x="7" y="6"/>
                    </a:lnTo>
                    <a:lnTo>
                      <a:pt x="3" y="12"/>
                    </a:lnTo>
                    <a:lnTo>
                      <a:pt x="0" y="14"/>
                    </a:lnTo>
                    <a:lnTo>
                      <a:pt x="0" y="12"/>
                    </a:lnTo>
                    <a:lnTo>
                      <a:pt x="0" y="12"/>
                    </a:lnTo>
                    <a:lnTo>
                      <a:pt x="2" y="11"/>
                    </a:lnTo>
                    <a:lnTo>
                      <a:pt x="5" y="8"/>
                    </a:lnTo>
                    <a:lnTo>
                      <a:pt x="6" y="3"/>
                    </a:lnTo>
                    <a:lnTo>
                      <a:pt x="10"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1" name="Freeform 190">
                <a:extLst>
                  <a:ext uri="{FF2B5EF4-FFF2-40B4-BE49-F238E27FC236}">
                    <a16:creationId xmlns:a16="http://schemas.microsoft.com/office/drawing/2014/main" id="{582FB572-CAAA-4445-BAB1-237FFC6916F8}"/>
                  </a:ext>
                </a:extLst>
              </p:cNvPr>
              <p:cNvSpPr>
                <a:spLocks/>
              </p:cNvSpPr>
              <p:nvPr/>
            </p:nvSpPr>
            <p:spPr bwMode="auto">
              <a:xfrm>
                <a:off x="2308225" y="3200469"/>
                <a:ext cx="4763" cy="6350"/>
              </a:xfrm>
              <a:custGeom>
                <a:avLst/>
                <a:gdLst>
                  <a:gd name="T0" fmla="*/ 6 w 6"/>
                  <a:gd name="T1" fmla="*/ 1 h 10"/>
                  <a:gd name="T2" fmla="*/ 6 w 6"/>
                  <a:gd name="T3" fmla="*/ 4 h 10"/>
                  <a:gd name="T4" fmla="*/ 1 w 6"/>
                  <a:gd name="T5" fmla="*/ 10 h 10"/>
                  <a:gd name="T6" fmla="*/ 0 w 6"/>
                  <a:gd name="T7" fmla="*/ 10 h 10"/>
                  <a:gd name="T8" fmla="*/ 4 w 6"/>
                  <a:gd name="T9" fmla="*/ 1 h 10"/>
                  <a:gd name="T10" fmla="*/ 5 w 6"/>
                  <a:gd name="T11" fmla="*/ 0 h 10"/>
                  <a:gd name="T12" fmla="*/ 6 w 6"/>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1"/>
                    </a:moveTo>
                    <a:lnTo>
                      <a:pt x="6" y="4"/>
                    </a:lnTo>
                    <a:lnTo>
                      <a:pt x="1" y="10"/>
                    </a:lnTo>
                    <a:lnTo>
                      <a:pt x="0" y="10"/>
                    </a:lnTo>
                    <a:lnTo>
                      <a:pt x="4" y="1"/>
                    </a:lnTo>
                    <a:lnTo>
                      <a:pt x="5" y="0"/>
                    </a:lnTo>
                    <a:lnTo>
                      <a:pt x="6" y="1"/>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2" name="Freeform 191">
                <a:extLst>
                  <a:ext uri="{FF2B5EF4-FFF2-40B4-BE49-F238E27FC236}">
                    <a16:creationId xmlns:a16="http://schemas.microsoft.com/office/drawing/2014/main" id="{04FF3F51-421A-43C0-8FFD-80E122C5294E}"/>
                  </a:ext>
                </a:extLst>
              </p:cNvPr>
              <p:cNvSpPr>
                <a:spLocks/>
              </p:cNvSpPr>
              <p:nvPr/>
            </p:nvSpPr>
            <p:spPr bwMode="auto">
              <a:xfrm>
                <a:off x="2106613" y="3206819"/>
                <a:ext cx="41275" cy="49213"/>
              </a:xfrm>
              <a:custGeom>
                <a:avLst/>
                <a:gdLst>
                  <a:gd name="T0" fmla="*/ 47 w 52"/>
                  <a:gd name="T1" fmla="*/ 0 h 64"/>
                  <a:gd name="T2" fmla="*/ 47 w 52"/>
                  <a:gd name="T3" fmla="*/ 6 h 64"/>
                  <a:gd name="T4" fmla="*/ 47 w 52"/>
                  <a:gd name="T5" fmla="*/ 10 h 64"/>
                  <a:gd name="T6" fmla="*/ 46 w 52"/>
                  <a:gd name="T7" fmla="*/ 12 h 64"/>
                  <a:gd name="T8" fmla="*/ 43 w 52"/>
                  <a:gd name="T9" fmla="*/ 19 h 64"/>
                  <a:gd name="T10" fmla="*/ 38 w 52"/>
                  <a:gd name="T11" fmla="*/ 33 h 64"/>
                  <a:gd name="T12" fmla="*/ 31 w 52"/>
                  <a:gd name="T13" fmla="*/ 41 h 64"/>
                  <a:gd name="T14" fmla="*/ 28 w 52"/>
                  <a:gd name="T15" fmla="*/ 45 h 64"/>
                  <a:gd name="T16" fmla="*/ 33 w 52"/>
                  <a:gd name="T17" fmla="*/ 49 h 64"/>
                  <a:gd name="T18" fmla="*/ 31 w 52"/>
                  <a:gd name="T19" fmla="*/ 54 h 64"/>
                  <a:gd name="T20" fmla="*/ 28 w 52"/>
                  <a:gd name="T21" fmla="*/ 57 h 64"/>
                  <a:gd name="T22" fmla="*/ 24 w 52"/>
                  <a:gd name="T23" fmla="*/ 63 h 64"/>
                  <a:gd name="T24" fmla="*/ 20 w 52"/>
                  <a:gd name="T25" fmla="*/ 64 h 64"/>
                  <a:gd name="T26" fmla="*/ 19 w 52"/>
                  <a:gd name="T27" fmla="*/ 59 h 64"/>
                  <a:gd name="T28" fmla="*/ 16 w 52"/>
                  <a:gd name="T29" fmla="*/ 57 h 64"/>
                  <a:gd name="T30" fmla="*/ 12 w 52"/>
                  <a:gd name="T31" fmla="*/ 61 h 64"/>
                  <a:gd name="T32" fmla="*/ 5 w 52"/>
                  <a:gd name="T33" fmla="*/ 59 h 64"/>
                  <a:gd name="T34" fmla="*/ 9 w 52"/>
                  <a:gd name="T35" fmla="*/ 54 h 64"/>
                  <a:gd name="T36" fmla="*/ 5 w 52"/>
                  <a:gd name="T37" fmla="*/ 56 h 64"/>
                  <a:gd name="T38" fmla="*/ 0 w 52"/>
                  <a:gd name="T39" fmla="*/ 59 h 64"/>
                  <a:gd name="T40" fmla="*/ 3 w 52"/>
                  <a:gd name="T41" fmla="*/ 53 h 64"/>
                  <a:gd name="T42" fmla="*/ 5 w 52"/>
                  <a:gd name="T43" fmla="*/ 52 h 64"/>
                  <a:gd name="T44" fmla="*/ 8 w 52"/>
                  <a:gd name="T45" fmla="*/ 46 h 64"/>
                  <a:gd name="T46" fmla="*/ 5 w 52"/>
                  <a:gd name="T47" fmla="*/ 46 h 64"/>
                  <a:gd name="T48" fmla="*/ 8 w 52"/>
                  <a:gd name="T49" fmla="*/ 42 h 64"/>
                  <a:gd name="T50" fmla="*/ 4 w 52"/>
                  <a:gd name="T51" fmla="*/ 41 h 64"/>
                  <a:gd name="T52" fmla="*/ 8 w 52"/>
                  <a:gd name="T53" fmla="*/ 37 h 64"/>
                  <a:gd name="T54" fmla="*/ 9 w 52"/>
                  <a:gd name="T55" fmla="*/ 35 h 64"/>
                  <a:gd name="T56" fmla="*/ 8 w 52"/>
                  <a:gd name="T57" fmla="*/ 33 h 64"/>
                  <a:gd name="T58" fmla="*/ 8 w 52"/>
                  <a:gd name="T59" fmla="*/ 29 h 64"/>
                  <a:gd name="T60" fmla="*/ 14 w 52"/>
                  <a:gd name="T61" fmla="*/ 23 h 64"/>
                  <a:gd name="T62" fmla="*/ 16 w 52"/>
                  <a:gd name="T63" fmla="*/ 21 h 64"/>
                  <a:gd name="T64" fmla="*/ 22 w 52"/>
                  <a:gd name="T65" fmla="*/ 18 h 64"/>
                  <a:gd name="T66" fmla="*/ 22 w 52"/>
                  <a:gd name="T67" fmla="*/ 15 h 64"/>
                  <a:gd name="T68" fmla="*/ 24 w 52"/>
                  <a:gd name="T69" fmla="*/ 14 h 64"/>
                  <a:gd name="T70" fmla="*/ 27 w 52"/>
                  <a:gd name="T71" fmla="*/ 15 h 64"/>
                  <a:gd name="T72" fmla="*/ 34 w 52"/>
                  <a:gd name="T73" fmla="*/ 16 h 64"/>
                  <a:gd name="T74" fmla="*/ 33 w 52"/>
                  <a:gd name="T75" fmla="*/ 12 h 64"/>
                  <a:gd name="T76" fmla="*/ 34 w 52"/>
                  <a:gd name="T77" fmla="*/ 7 h 64"/>
                  <a:gd name="T78" fmla="*/ 37 w 52"/>
                  <a:gd name="T79" fmla="*/ 8 h 64"/>
                  <a:gd name="T80" fmla="*/ 38 w 52"/>
                  <a:gd name="T81" fmla="*/ 4 h 64"/>
                  <a:gd name="T82" fmla="*/ 42 w 52"/>
                  <a:gd name="T83" fmla="*/ 2 h 64"/>
                  <a:gd name="T84" fmla="*/ 45 w 52"/>
                  <a:gd name="T8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64">
                    <a:moveTo>
                      <a:pt x="45" y="0"/>
                    </a:moveTo>
                    <a:lnTo>
                      <a:pt x="47" y="0"/>
                    </a:lnTo>
                    <a:lnTo>
                      <a:pt x="47" y="3"/>
                    </a:lnTo>
                    <a:lnTo>
                      <a:pt x="47" y="6"/>
                    </a:lnTo>
                    <a:lnTo>
                      <a:pt x="52" y="6"/>
                    </a:lnTo>
                    <a:lnTo>
                      <a:pt x="47" y="10"/>
                    </a:lnTo>
                    <a:lnTo>
                      <a:pt x="47" y="10"/>
                    </a:lnTo>
                    <a:lnTo>
                      <a:pt x="46" y="12"/>
                    </a:lnTo>
                    <a:lnTo>
                      <a:pt x="43" y="16"/>
                    </a:lnTo>
                    <a:lnTo>
                      <a:pt x="43" y="19"/>
                    </a:lnTo>
                    <a:lnTo>
                      <a:pt x="38" y="25"/>
                    </a:lnTo>
                    <a:lnTo>
                      <a:pt x="38" y="33"/>
                    </a:lnTo>
                    <a:lnTo>
                      <a:pt x="31" y="38"/>
                    </a:lnTo>
                    <a:lnTo>
                      <a:pt x="31" y="41"/>
                    </a:lnTo>
                    <a:lnTo>
                      <a:pt x="27" y="44"/>
                    </a:lnTo>
                    <a:lnTo>
                      <a:pt x="28" y="45"/>
                    </a:lnTo>
                    <a:lnTo>
                      <a:pt x="28" y="48"/>
                    </a:lnTo>
                    <a:lnTo>
                      <a:pt x="33" y="49"/>
                    </a:lnTo>
                    <a:lnTo>
                      <a:pt x="30" y="53"/>
                    </a:lnTo>
                    <a:lnTo>
                      <a:pt x="31" y="54"/>
                    </a:lnTo>
                    <a:lnTo>
                      <a:pt x="31" y="54"/>
                    </a:lnTo>
                    <a:lnTo>
                      <a:pt x="28" y="57"/>
                    </a:lnTo>
                    <a:lnTo>
                      <a:pt x="26" y="60"/>
                    </a:lnTo>
                    <a:lnTo>
                      <a:pt x="24" y="63"/>
                    </a:lnTo>
                    <a:lnTo>
                      <a:pt x="22" y="63"/>
                    </a:lnTo>
                    <a:lnTo>
                      <a:pt x="20" y="64"/>
                    </a:lnTo>
                    <a:lnTo>
                      <a:pt x="18" y="61"/>
                    </a:lnTo>
                    <a:lnTo>
                      <a:pt x="19" y="59"/>
                    </a:lnTo>
                    <a:lnTo>
                      <a:pt x="18" y="57"/>
                    </a:lnTo>
                    <a:lnTo>
                      <a:pt x="16" y="57"/>
                    </a:lnTo>
                    <a:lnTo>
                      <a:pt x="16" y="60"/>
                    </a:lnTo>
                    <a:lnTo>
                      <a:pt x="12" y="61"/>
                    </a:lnTo>
                    <a:lnTo>
                      <a:pt x="11" y="60"/>
                    </a:lnTo>
                    <a:lnTo>
                      <a:pt x="5" y="59"/>
                    </a:lnTo>
                    <a:lnTo>
                      <a:pt x="9" y="57"/>
                    </a:lnTo>
                    <a:lnTo>
                      <a:pt x="9" y="54"/>
                    </a:lnTo>
                    <a:lnTo>
                      <a:pt x="9" y="54"/>
                    </a:lnTo>
                    <a:lnTo>
                      <a:pt x="5" y="56"/>
                    </a:lnTo>
                    <a:lnTo>
                      <a:pt x="3" y="59"/>
                    </a:lnTo>
                    <a:lnTo>
                      <a:pt x="0" y="59"/>
                    </a:lnTo>
                    <a:lnTo>
                      <a:pt x="1" y="53"/>
                    </a:lnTo>
                    <a:lnTo>
                      <a:pt x="3" y="53"/>
                    </a:lnTo>
                    <a:lnTo>
                      <a:pt x="4" y="53"/>
                    </a:lnTo>
                    <a:lnTo>
                      <a:pt x="5" y="52"/>
                    </a:lnTo>
                    <a:lnTo>
                      <a:pt x="4" y="49"/>
                    </a:lnTo>
                    <a:lnTo>
                      <a:pt x="8" y="46"/>
                    </a:lnTo>
                    <a:lnTo>
                      <a:pt x="7" y="46"/>
                    </a:lnTo>
                    <a:lnTo>
                      <a:pt x="5" y="46"/>
                    </a:lnTo>
                    <a:lnTo>
                      <a:pt x="3" y="45"/>
                    </a:lnTo>
                    <a:lnTo>
                      <a:pt x="8" y="42"/>
                    </a:lnTo>
                    <a:lnTo>
                      <a:pt x="8" y="42"/>
                    </a:lnTo>
                    <a:lnTo>
                      <a:pt x="4" y="41"/>
                    </a:lnTo>
                    <a:lnTo>
                      <a:pt x="8" y="40"/>
                    </a:lnTo>
                    <a:lnTo>
                      <a:pt x="8" y="37"/>
                    </a:lnTo>
                    <a:lnTo>
                      <a:pt x="9" y="37"/>
                    </a:lnTo>
                    <a:lnTo>
                      <a:pt x="9" y="35"/>
                    </a:lnTo>
                    <a:lnTo>
                      <a:pt x="7" y="34"/>
                    </a:lnTo>
                    <a:lnTo>
                      <a:pt x="8" y="33"/>
                    </a:lnTo>
                    <a:lnTo>
                      <a:pt x="8" y="29"/>
                    </a:lnTo>
                    <a:lnTo>
                      <a:pt x="8" y="29"/>
                    </a:lnTo>
                    <a:lnTo>
                      <a:pt x="11" y="27"/>
                    </a:lnTo>
                    <a:lnTo>
                      <a:pt x="14" y="23"/>
                    </a:lnTo>
                    <a:lnTo>
                      <a:pt x="16" y="23"/>
                    </a:lnTo>
                    <a:lnTo>
                      <a:pt x="16" y="21"/>
                    </a:lnTo>
                    <a:lnTo>
                      <a:pt x="22" y="19"/>
                    </a:lnTo>
                    <a:lnTo>
                      <a:pt x="22" y="18"/>
                    </a:lnTo>
                    <a:lnTo>
                      <a:pt x="20" y="16"/>
                    </a:lnTo>
                    <a:lnTo>
                      <a:pt x="22" y="15"/>
                    </a:lnTo>
                    <a:lnTo>
                      <a:pt x="23" y="15"/>
                    </a:lnTo>
                    <a:lnTo>
                      <a:pt x="24" y="14"/>
                    </a:lnTo>
                    <a:lnTo>
                      <a:pt x="24" y="14"/>
                    </a:lnTo>
                    <a:lnTo>
                      <a:pt x="27" y="15"/>
                    </a:lnTo>
                    <a:lnTo>
                      <a:pt x="31" y="18"/>
                    </a:lnTo>
                    <a:lnTo>
                      <a:pt x="34" y="16"/>
                    </a:lnTo>
                    <a:lnTo>
                      <a:pt x="34" y="15"/>
                    </a:lnTo>
                    <a:lnTo>
                      <a:pt x="33" y="12"/>
                    </a:lnTo>
                    <a:lnTo>
                      <a:pt x="35" y="10"/>
                    </a:lnTo>
                    <a:lnTo>
                      <a:pt x="34" y="7"/>
                    </a:lnTo>
                    <a:lnTo>
                      <a:pt x="34" y="7"/>
                    </a:lnTo>
                    <a:lnTo>
                      <a:pt x="37" y="8"/>
                    </a:lnTo>
                    <a:lnTo>
                      <a:pt x="37" y="7"/>
                    </a:lnTo>
                    <a:lnTo>
                      <a:pt x="38" y="4"/>
                    </a:lnTo>
                    <a:lnTo>
                      <a:pt x="41" y="4"/>
                    </a:lnTo>
                    <a:lnTo>
                      <a:pt x="42" y="2"/>
                    </a:lnTo>
                    <a:lnTo>
                      <a:pt x="45" y="2"/>
                    </a:lnTo>
                    <a:lnTo>
                      <a:pt x="45"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3" name="Freeform 192">
                <a:extLst>
                  <a:ext uri="{FF2B5EF4-FFF2-40B4-BE49-F238E27FC236}">
                    <a16:creationId xmlns:a16="http://schemas.microsoft.com/office/drawing/2014/main" id="{05B63E56-6510-49EC-ABA1-73EF92B3902C}"/>
                  </a:ext>
                </a:extLst>
              </p:cNvPr>
              <p:cNvSpPr>
                <a:spLocks/>
              </p:cNvSpPr>
              <p:nvPr/>
            </p:nvSpPr>
            <p:spPr bwMode="auto">
              <a:xfrm>
                <a:off x="2105025" y="3256031"/>
                <a:ext cx="20638" cy="15875"/>
              </a:xfrm>
              <a:custGeom>
                <a:avLst/>
                <a:gdLst>
                  <a:gd name="T0" fmla="*/ 6 w 24"/>
                  <a:gd name="T1" fmla="*/ 9 h 19"/>
                  <a:gd name="T2" fmla="*/ 6 w 24"/>
                  <a:gd name="T3" fmla="*/ 9 h 19"/>
                  <a:gd name="T4" fmla="*/ 4 w 24"/>
                  <a:gd name="T5" fmla="*/ 7 h 19"/>
                  <a:gd name="T6" fmla="*/ 0 w 24"/>
                  <a:gd name="T7" fmla="*/ 5 h 19"/>
                  <a:gd name="T8" fmla="*/ 1 w 24"/>
                  <a:gd name="T9" fmla="*/ 3 h 19"/>
                  <a:gd name="T10" fmla="*/ 1 w 24"/>
                  <a:gd name="T11" fmla="*/ 3 h 19"/>
                  <a:gd name="T12" fmla="*/ 10 w 24"/>
                  <a:gd name="T13" fmla="*/ 1 h 19"/>
                  <a:gd name="T14" fmla="*/ 13 w 24"/>
                  <a:gd name="T15" fmla="*/ 3 h 19"/>
                  <a:gd name="T16" fmla="*/ 13 w 24"/>
                  <a:gd name="T17" fmla="*/ 3 h 19"/>
                  <a:gd name="T18" fmla="*/ 17 w 24"/>
                  <a:gd name="T19" fmla="*/ 0 h 19"/>
                  <a:gd name="T20" fmla="*/ 21 w 24"/>
                  <a:gd name="T21" fmla="*/ 0 h 19"/>
                  <a:gd name="T22" fmla="*/ 24 w 24"/>
                  <a:gd name="T23" fmla="*/ 5 h 19"/>
                  <a:gd name="T24" fmla="*/ 23 w 24"/>
                  <a:gd name="T25" fmla="*/ 7 h 19"/>
                  <a:gd name="T26" fmla="*/ 21 w 24"/>
                  <a:gd name="T27" fmla="*/ 4 h 19"/>
                  <a:gd name="T28" fmla="*/ 17 w 24"/>
                  <a:gd name="T29" fmla="*/ 7 h 19"/>
                  <a:gd name="T30" fmla="*/ 16 w 24"/>
                  <a:gd name="T31" fmla="*/ 5 h 19"/>
                  <a:gd name="T32" fmla="*/ 16 w 24"/>
                  <a:gd name="T33" fmla="*/ 5 h 19"/>
                  <a:gd name="T34" fmla="*/ 13 w 24"/>
                  <a:gd name="T35" fmla="*/ 11 h 19"/>
                  <a:gd name="T36" fmla="*/ 12 w 24"/>
                  <a:gd name="T37" fmla="*/ 15 h 19"/>
                  <a:gd name="T38" fmla="*/ 6 w 24"/>
                  <a:gd name="T39" fmla="*/ 19 h 19"/>
                  <a:gd name="T40" fmla="*/ 5 w 24"/>
                  <a:gd name="T41" fmla="*/ 15 h 19"/>
                  <a:gd name="T42" fmla="*/ 6 w 24"/>
                  <a:gd name="T43" fmla="*/ 12 h 19"/>
                  <a:gd name="T44" fmla="*/ 6 w 24"/>
                  <a:gd name="T45" fmla="*/ 12 h 19"/>
                  <a:gd name="T46" fmla="*/ 6 w 24"/>
                  <a:gd name="T47" fmla="*/ 9 h 19"/>
                  <a:gd name="T48" fmla="*/ 6 w 24"/>
                  <a:gd name="T4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19">
                    <a:moveTo>
                      <a:pt x="6" y="9"/>
                    </a:moveTo>
                    <a:lnTo>
                      <a:pt x="6" y="9"/>
                    </a:lnTo>
                    <a:lnTo>
                      <a:pt x="4" y="7"/>
                    </a:lnTo>
                    <a:lnTo>
                      <a:pt x="0" y="5"/>
                    </a:lnTo>
                    <a:lnTo>
                      <a:pt x="1" y="3"/>
                    </a:lnTo>
                    <a:lnTo>
                      <a:pt x="1" y="3"/>
                    </a:lnTo>
                    <a:lnTo>
                      <a:pt x="10" y="1"/>
                    </a:lnTo>
                    <a:lnTo>
                      <a:pt x="13" y="3"/>
                    </a:lnTo>
                    <a:lnTo>
                      <a:pt x="13" y="3"/>
                    </a:lnTo>
                    <a:lnTo>
                      <a:pt x="17" y="0"/>
                    </a:lnTo>
                    <a:lnTo>
                      <a:pt x="21" y="0"/>
                    </a:lnTo>
                    <a:lnTo>
                      <a:pt x="24" y="5"/>
                    </a:lnTo>
                    <a:lnTo>
                      <a:pt x="23" y="7"/>
                    </a:lnTo>
                    <a:lnTo>
                      <a:pt x="21" y="4"/>
                    </a:lnTo>
                    <a:lnTo>
                      <a:pt x="17" y="7"/>
                    </a:lnTo>
                    <a:lnTo>
                      <a:pt x="16" y="5"/>
                    </a:lnTo>
                    <a:lnTo>
                      <a:pt x="16" y="5"/>
                    </a:lnTo>
                    <a:lnTo>
                      <a:pt x="13" y="11"/>
                    </a:lnTo>
                    <a:lnTo>
                      <a:pt x="12" y="15"/>
                    </a:lnTo>
                    <a:lnTo>
                      <a:pt x="6" y="19"/>
                    </a:lnTo>
                    <a:lnTo>
                      <a:pt x="5" y="15"/>
                    </a:lnTo>
                    <a:lnTo>
                      <a:pt x="6" y="12"/>
                    </a:lnTo>
                    <a:lnTo>
                      <a:pt x="6" y="12"/>
                    </a:lnTo>
                    <a:lnTo>
                      <a:pt x="6" y="9"/>
                    </a:lnTo>
                    <a:lnTo>
                      <a:pt x="6" y="9"/>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4" name="Freeform 193">
                <a:extLst>
                  <a:ext uri="{FF2B5EF4-FFF2-40B4-BE49-F238E27FC236}">
                    <a16:creationId xmlns:a16="http://schemas.microsoft.com/office/drawing/2014/main" id="{DB4FEBF7-FD85-4C57-9284-BB6667E2736D}"/>
                  </a:ext>
                </a:extLst>
              </p:cNvPr>
              <p:cNvSpPr>
                <a:spLocks/>
              </p:cNvSpPr>
              <p:nvPr/>
            </p:nvSpPr>
            <p:spPr bwMode="auto">
              <a:xfrm>
                <a:off x="2157413" y="3195706"/>
                <a:ext cx="119063" cy="177800"/>
              </a:xfrm>
              <a:custGeom>
                <a:avLst/>
                <a:gdLst>
                  <a:gd name="T0" fmla="*/ 107 w 149"/>
                  <a:gd name="T1" fmla="*/ 94 h 222"/>
                  <a:gd name="T2" fmla="*/ 102 w 149"/>
                  <a:gd name="T3" fmla="*/ 107 h 222"/>
                  <a:gd name="T4" fmla="*/ 95 w 149"/>
                  <a:gd name="T5" fmla="*/ 113 h 222"/>
                  <a:gd name="T6" fmla="*/ 91 w 149"/>
                  <a:gd name="T7" fmla="*/ 133 h 222"/>
                  <a:gd name="T8" fmla="*/ 83 w 149"/>
                  <a:gd name="T9" fmla="*/ 145 h 222"/>
                  <a:gd name="T10" fmla="*/ 81 w 149"/>
                  <a:gd name="T11" fmla="*/ 159 h 222"/>
                  <a:gd name="T12" fmla="*/ 76 w 149"/>
                  <a:gd name="T13" fmla="*/ 168 h 222"/>
                  <a:gd name="T14" fmla="*/ 76 w 149"/>
                  <a:gd name="T15" fmla="*/ 160 h 222"/>
                  <a:gd name="T16" fmla="*/ 72 w 149"/>
                  <a:gd name="T17" fmla="*/ 172 h 222"/>
                  <a:gd name="T18" fmla="*/ 69 w 149"/>
                  <a:gd name="T19" fmla="*/ 174 h 222"/>
                  <a:gd name="T20" fmla="*/ 59 w 149"/>
                  <a:gd name="T21" fmla="*/ 175 h 222"/>
                  <a:gd name="T22" fmla="*/ 54 w 149"/>
                  <a:gd name="T23" fmla="*/ 197 h 222"/>
                  <a:gd name="T24" fmla="*/ 54 w 149"/>
                  <a:gd name="T25" fmla="*/ 205 h 222"/>
                  <a:gd name="T26" fmla="*/ 50 w 149"/>
                  <a:gd name="T27" fmla="*/ 216 h 222"/>
                  <a:gd name="T28" fmla="*/ 38 w 149"/>
                  <a:gd name="T29" fmla="*/ 222 h 222"/>
                  <a:gd name="T30" fmla="*/ 24 w 149"/>
                  <a:gd name="T31" fmla="*/ 220 h 222"/>
                  <a:gd name="T32" fmla="*/ 19 w 149"/>
                  <a:gd name="T33" fmla="*/ 216 h 222"/>
                  <a:gd name="T34" fmla="*/ 2 w 149"/>
                  <a:gd name="T35" fmla="*/ 197 h 222"/>
                  <a:gd name="T36" fmla="*/ 1 w 149"/>
                  <a:gd name="T37" fmla="*/ 187 h 222"/>
                  <a:gd name="T38" fmla="*/ 0 w 149"/>
                  <a:gd name="T39" fmla="*/ 174 h 222"/>
                  <a:gd name="T40" fmla="*/ 1 w 149"/>
                  <a:gd name="T41" fmla="*/ 159 h 222"/>
                  <a:gd name="T42" fmla="*/ 12 w 149"/>
                  <a:gd name="T43" fmla="*/ 141 h 222"/>
                  <a:gd name="T44" fmla="*/ 26 w 149"/>
                  <a:gd name="T45" fmla="*/ 126 h 222"/>
                  <a:gd name="T46" fmla="*/ 38 w 149"/>
                  <a:gd name="T47" fmla="*/ 125 h 222"/>
                  <a:gd name="T48" fmla="*/ 50 w 149"/>
                  <a:gd name="T49" fmla="*/ 121 h 222"/>
                  <a:gd name="T50" fmla="*/ 66 w 149"/>
                  <a:gd name="T51" fmla="*/ 121 h 222"/>
                  <a:gd name="T52" fmla="*/ 77 w 149"/>
                  <a:gd name="T53" fmla="*/ 114 h 222"/>
                  <a:gd name="T54" fmla="*/ 89 w 149"/>
                  <a:gd name="T55" fmla="*/ 107 h 222"/>
                  <a:gd name="T56" fmla="*/ 83 w 149"/>
                  <a:gd name="T57" fmla="*/ 109 h 222"/>
                  <a:gd name="T58" fmla="*/ 77 w 149"/>
                  <a:gd name="T59" fmla="*/ 110 h 222"/>
                  <a:gd name="T60" fmla="*/ 70 w 149"/>
                  <a:gd name="T61" fmla="*/ 109 h 222"/>
                  <a:gd name="T62" fmla="*/ 62 w 149"/>
                  <a:gd name="T63" fmla="*/ 117 h 222"/>
                  <a:gd name="T64" fmla="*/ 53 w 149"/>
                  <a:gd name="T65" fmla="*/ 117 h 222"/>
                  <a:gd name="T66" fmla="*/ 46 w 149"/>
                  <a:gd name="T67" fmla="*/ 113 h 222"/>
                  <a:gd name="T68" fmla="*/ 32 w 149"/>
                  <a:gd name="T69" fmla="*/ 110 h 222"/>
                  <a:gd name="T70" fmla="*/ 35 w 149"/>
                  <a:gd name="T71" fmla="*/ 103 h 222"/>
                  <a:gd name="T72" fmla="*/ 40 w 149"/>
                  <a:gd name="T73" fmla="*/ 91 h 222"/>
                  <a:gd name="T74" fmla="*/ 47 w 149"/>
                  <a:gd name="T75" fmla="*/ 80 h 222"/>
                  <a:gd name="T76" fmla="*/ 51 w 149"/>
                  <a:gd name="T77" fmla="*/ 72 h 222"/>
                  <a:gd name="T78" fmla="*/ 64 w 149"/>
                  <a:gd name="T79" fmla="*/ 62 h 222"/>
                  <a:gd name="T80" fmla="*/ 78 w 149"/>
                  <a:gd name="T81" fmla="*/ 50 h 222"/>
                  <a:gd name="T82" fmla="*/ 92 w 149"/>
                  <a:gd name="T83" fmla="*/ 41 h 222"/>
                  <a:gd name="T84" fmla="*/ 99 w 149"/>
                  <a:gd name="T85" fmla="*/ 37 h 222"/>
                  <a:gd name="T86" fmla="*/ 106 w 149"/>
                  <a:gd name="T87" fmla="*/ 26 h 222"/>
                  <a:gd name="T88" fmla="*/ 112 w 149"/>
                  <a:gd name="T89" fmla="*/ 26 h 222"/>
                  <a:gd name="T90" fmla="*/ 121 w 149"/>
                  <a:gd name="T91" fmla="*/ 16 h 222"/>
                  <a:gd name="T92" fmla="*/ 127 w 149"/>
                  <a:gd name="T93" fmla="*/ 7 h 222"/>
                  <a:gd name="T94" fmla="*/ 135 w 149"/>
                  <a:gd name="T95" fmla="*/ 7 h 222"/>
                  <a:gd name="T96" fmla="*/ 146 w 149"/>
                  <a:gd name="T97" fmla="*/ 12 h 222"/>
                  <a:gd name="T98" fmla="*/ 146 w 149"/>
                  <a:gd name="T99" fmla="*/ 19 h 222"/>
                  <a:gd name="T100" fmla="*/ 148 w 149"/>
                  <a:gd name="T101" fmla="*/ 27 h 222"/>
                  <a:gd name="T102" fmla="*/ 141 w 149"/>
                  <a:gd name="T103" fmla="*/ 34 h 222"/>
                  <a:gd name="T104" fmla="*/ 135 w 149"/>
                  <a:gd name="T105" fmla="*/ 45 h 222"/>
                  <a:gd name="T106" fmla="*/ 125 w 149"/>
                  <a:gd name="T107" fmla="*/ 68 h 222"/>
                  <a:gd name="T108" fmla="*/ 116 w 149"/>
                  <a:gd name="T109" fmla="*/ 8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22">
                    <a:moveTo>
                      <a:pt x="112" y="83"/>
                    </a:moveTo>
                    <a:lnTo>
                      <a:pt x="110" y="85"/>
                    </a:lnTo>
                    <a:lnTo>
                      <a:pt x="110" y="90"/>
                    </a:lnTo>
                    <a:lnTo>
                      <a:pt x="107" y="94"/>
                    </a:lnTo>
                    <a:lnTo>
                      <a:pt x="104" y="99"/>
                    </a:lnTo>
                    <a:lnTo>
                      <a:pt x="104" y="100"/>
                    </a:lnTo>
                    <a:lnTo>
                      <a:pt x="104" y="100"/>
                    </a:lnTo>
                    <a:lnTo>
                      <a:pt x="102" y="107"/>
                    </a:lnTo>
                    <a:lnTo>
                      <a:pt x="100" y="111"/>
                    </a:lnTo>
                    <a:lnTo>
                      <a:pt x="97" y="113"/>
                    </a:lnTo>
                    <a:lnTo>
                      <a:pt x="95" y="113"/>
                    </a:lnTo>
                    <a:lnTo>
                      <a:pt x="95" y="113"/>
                    </a:lnTo>
                    <a:lnTo>
                      <a:pt x="95" y="118"/>
                    </a:lnTo>
                    <a:lnTo>
                      <a:pt x="93" y="122"/>
                    </a:lnTo>
                    <a:lnTo>
                      <a:pt x="89" y="130"/>
                    </a:lnTo>
                    <a:lnTo>
                      <a:pt x="91" y="133"/>
                    </a:lnTo>
                    <a:lnTo>
                      <a:pt x="91" y="133"/>
                    </a:lnTo>
                    <a:lnTo>
                      <a:pt x="88" y="140"/>
                    </a:lnTo>
                    <a:lnTo>
                      <a:pt x="83" y="145"/>
                    </a:lnTo>
                    <a:lnTo>
                      <a:pt x="83" y="145"/>
                    </a:lnTo>
                    <a:lnTo>
                      <a:pt x="83" y="148"/>
                    </a:lnTo>
                    <a:lnTo>
                      <a:pt x="83" y="149"/>
                    </a:lnTo>
                    <a:lnTo>
                      <a:pt x="80" y="153"/>
                    </a:lnTo>
                    <a:lnTo>
                      <a:pt x="81" y="159"/>
                    </a:lnTo>
                    <a:lnTo>
                      <a:pt x="80" y="160"/>
                    </a:lnTo>
                    <a:lnTo>
                      <a:pt x="81" y="163"/>
                    </a:lnTo>
                    <a:lnTo>
                      <a:pt x="77" y="168"/>
                    </a:lnTo>
                    <a:lnTo>
                      <a:pt x="76" y="168"/>
                    </a:lnTo>
                    <a:lnTo>
                      <a:pt x="76" y="167"/>
                    </a:lnTo>
                    <a:lnTo>
                      <a:pt x="78" y="163"/>
                    </a:lnTo>
                    <a:lnTo>
                      <a:pt x="78" y="161"/>
                    </a:lnTo>
                    <a:lnTo>
                      <a:pt x="76" y="160"/>
                    </a:lnTo>
                    <a:lnTo>
                      <a:pt x="73" y="163"/>
                    </a:lnTo>
                    <a:lnTo>
                      <a:pt x="72" y="167"/>
                    </a:lnTo>
                    <a:lnTo>
                      <a:pt x="73" y="171"/>
                    </a:lnTo>
                    <a:lnTo>
                      <a:pt x="72" y="172"/>
                    </a:lnTo>
                    <a:lnTo>
                      <a:pt x="73" y="174"/>
                    </a:lnTo>
                    <a:lnTo>
                      <a:pt x="72" y="176"/>
                    </a:lnTo>
                    <a:lnTo>
                      <a:pt x="72" y="176"/>
                    </a:lnTo>
                    <a:lnTo>
                      <a:pt x="69" y="174"/>
                    </a:lnTo>
                    <a:lnTo>
                      <a:pt x="65" y="172"/>
                    </a:lnTo>
                    <a:lnTo>
                      <a:pt x="62" y="174"/>
                    </a:lnTo>
                    <a:lnTo>
                      <a:pt x="59" y="175"/>
                    </a:lnTo>
                    <a:lnTo>
                      <a:pt x="59" y="175"/>
                    </a:lnTo>
                    <a:lnTo>
                      <a:pt x="57" y="184"/>
                    </a:lnTo>
                    <a:lnTo>
                      <a:pt x="53" y="194"/>
                    </a:lnTo>
                    <a:lnTo>
                      <a:pt x="54" y="197"/>
                    </a:lnTo>
                    <a:lnTo>
                      <a:pt x="54" y="197"/>
                    </a:lnTo>
                    <a:lnTo>
                      <a:pt x="55" y="199"/>
                    </a:lnTo>
                    <a:lnTo>
                      <a:pt x="57" y="202"/>
                    </a:lnTo>
                    <a:lnTo>
                      <a:pt x="57" y="202"/>
                    </a:lnTo>
                    <a:lnTo>
                      <a:pt x="54" y="205"/>
                    </a:lnTo>
                    <a:lnTo>
                      <a:pt x="51" y="208"/>
                    </a:lnTo>
                    <a:lnTo>
                      <a:pt x="53" y="210"/>
                    </a:lnTo>
                    <a:lnTo>
                      <a:pt x="50" y="214"/>
                    </a:lnTo>
                    <a:lnTo>
                      <a:pt x="50" y="216"/>
                    </a:lnTo>
                    <a:lnTo>
                      <a:pt x="49" y="222"/>
                    </a:lnTo>
                    <a:lnTo>
                      <a:pt x="43" y="221"/>
                    </a:lnTo>
                    <a:lnTo>
                      <a:pt x="42" y="220"/>
                    </a:lnTo>
                    <a:lnTo>
                      <a:pt x="38" y="222"/>
                    </a:lnTo>
                    <a:lnTo>
                      <a:pt x="38" y="222"/>
                    </a:lnTo>
                    <a:lnTo>
                      <a:pt x="32" y="218"/>
                    </a:lnTo>
                    <a:lnTo>
                      <a:pt x="27" y="218"/>
                    </a:lnTo>
                    <a:lnTo>
                      <a:pt x="24" y="220"/>
                    </a:lnTo>
                    <a:lnTo>
                      <a:pt x="21" y="218"/>
                    </a:lnTo>
                    <a:lnTo>
                      <a:pt x="21" y="217"/>
                    </a:lnTo>
                    <a:lnTo>
                      <a:pt x="21" y="217"/>
                    </a:lnTo>
                    <a:lnTo>
                      <a:pt x="19" y="216"/>
                    </a:lnTo>
                    <a:lnTo>
                      <a:pt x="16" y="214"/>
                    </a:lnTo>
                    <a:lnTo>
                      <a:pt x="13" y="214"/>
                    </a:lnTo>
                    <a:lnTo>
                      <a:pt x="11" y="212"/>
                    </a:lnTo>
                    <a:lnTo>
                      <a:pt x="2" y="197"/>
                    </a:lnTo>
                    <a:lnTo>
                      <a:pt x="2" y="197"/>
                    </a:lnTo>
                    <a:lnTo>
                      <a:pt x="2" y="193"/>
                    </a:lnTo>
                    <a:lnTo>
                      <a:pt x="1" y="187"/>
                    </a:lnTo>
                    <a:lnTo>
                      <a:pt x="1" y="187"/>
                    </a:lnTo>
                    <a:lnTo>
                      <a:pt x="2" y="182"/>
                    </a:lnTo>
                    <a:lnTo>
                      <a:pt x="2" y="179"/>
                    </a:lnTo>
                    <a:lnTo>
                      <a:pt x="2" y="176"/>
                    </a:lnTo>
                    <a:lnTo>
                      <a:pt x="0" y="174"/>
                    </a:lnTo>
                    <a:lnTo>
                      <a:pt x="0" y="174"/>
                    </a:lnTo>
                    <a:lnTo>
                      <a:pt x="1" y="168"/>
                    </a:lnTo>
                    <a:lnTo>
                      <a:pt x="1" y="164"/>
                    </a:lnTo>
                    <a:lnTo>
                      <a:pt x="1" y="159"/>
                    </a:lnTo>
                    <a:lnTo>
                      <a:pt x="4" y="155"/>
                    </a:lnTo>
                    <a:lnTo>
                      <a:pt x="7" y="153"/>
                    </a:lnTo>
                    <a:lnTo>
                      <a:pt x="7" y="153"/>
                    </a:lnTo>
                    <a:lnTo>
                      <a:pt x="12" y="141"/>
                    </a:lnTo>
                    <a:lnTo>
                      <a:pt x="19" y="130"/>
                    </a:lnTo>
                    <a:lnTo>
                      <a:pt x="19" y="130"/>
                    </a:lnTo>
                    <a:lnTo>
                      <a:pt x="23" y="129"/>
                    </a:lnTo>
                    <a:lnTo>
                      <a:pt x="26" y="126"/>
                    </a:lnTo>
                    <a:lnTo>
                      <a:pt x="28" y="126"/>
                    </a:lnTo>
                    <a:lnTo>
                      <a:pt x="34" y="123"/>
                    </a:lnTo>
                    <a:lnTo>
                      <a:pt x="34" y="123"/>
                    </a:lnTo>
                    <a:lnTo>
                      <a:pt x="38" y="125"/>
                    </a:lnTo>
                    <a:lnTo>
                      <a:pt x="40" y="123"/>
                    </a:lnTo>
                    <a:lnTo>
                      <a:pt x="42" y="125"/>
                    </a:lnTo>
                    <a:lnTo>
                      <a:pt x="49" y="122"/>
                    </a:lnTo>
                    <a:lnTo>
                      <a:pt x="50" y="121"/>
                    </a:lnTo>
                    <a:lnTo>
                      <a:pt x="55" y="122"/>
                    </a:lnTo>
                    <a:lnTo>
                      <a:pt x="61" y="119"/>
                    </a:lnTo>
                    <a:lnTo>
                      <a:pt x="64" y="119"/>
                    </a:lnTo>
                    <a:lnTo>
                      <a:pt x="66" y="121"/>
                    </a:lnTo>
                    <a:lnTo>
                      <a:pt x="66" y="121"/>
                    </a:lnTo>
                    <a:lnTo>
                      <a:pt x="72" y="117"/>
                    </a:lnTo>
                    <a:lnTo>
                      <a:pt x="74" y="115"/>
                    </a:lnTo>
                    <a:lnTo>
                      <a:pt x="77" y="114"/>
                    </a:lnTo>
                    <a:lnTo>
                      <a:pt x="78" y="113"/>
                    </a:lnTo>
                    <a:lnTo>
                      <a:pt x="83" y="110"/>
                    </a:lnTo>
                    <a:lnTo>
                      <a:pt x="85" y="110"/>
                    </a:lnTo>
                    <a:lnTo>
                      <a:pt x="89" y="107"/>
                    </a:lnTo>
                    <a:lnTo>
                      <a:pt x="89" y="107"/>
                    </a:lnTo>
                    <a:lnTo>
                      <a:pt x="88" y="104"/>
                    </a:lnTo>
                    <a:lnTo>
                      <a:pt x="88" y="102"/>
                    </a:lnTo>
                    <a:lnTo>
                      <a:pt x="83" y="109"/>
                    </a:lnTo>
                    <a:lnTo>
                      <a:pt x="78" y="110"/>
                    </a:lnTo>
                    <a:lnTo>
                      <a:pt x="77" y="113"/>
                    </a:lnTo>
                    <a:lnTo>
                      <a:pt x="76" y="111"/>
                    </a:lnTo>
                    <a:lnTo>
                      <a:pt x="77" y="110"/>
                    </a:lnTo>
                    <a:lnTo>
                      <a:pt x="76" y="107"/>
                    </a:lnTo>
                    <a:lnTo>
                      <a:pt x="73" y="107"/>
                    </a:lnTo>
                    <a:lnTo>
                      <a:pt x="73" y="110"/>
                    </a:lnTo>
                    <a:lnTo>
                      <a:pt x="70" y="109"/>
                    </a:lnTo>
                    <a:lnTo>
                      <a:pt x="70" y="110"/>
                    </a:lnTo>
                    <a:lnTo>
                      <a:pt x="69" y="110"/>
                    </a:lnTo>
                    <a:lnTo>
                      <a:pt x="65" y="111"/>
                    </a:lnTo>
                    <a:lnTo>
                      <a:pt x="62" y="117"/>
                    </a:lnTo>
                    <a:lnTo>
                      <a:pt x="61" y="117"/>
                    </a:lnTo>
                    <a:lnTo>
                      <a:pt x="58" y="118"/>
                    </a:lnTo>
                    <a:lnTo>
                      <a:pt x="58" y="118"/>
                    </a:lnTo>
                    <a:lnTo>
                      <a:pt x="53" y="117"/>
                    </a:lnTo>
                    <a:lnTo>
                      <a:pt x="50" y="114"/>
                    </a:lnTo>
                    <a:lnTo>
                      <a:pt x="49" y="115"/>
                    </a:lnTo>
                    <a:lnTo>
                      <a:pt x="46" y="115"/>
                    </a:lnTo>
                    <a:lnTo>
                      <a:pt x="46" y="113"/>
                    </a:lnTo>
                    <a:lnTo>
                      <a:pt x="40" y="113"/>
                    </a:lnTo>
                    <a:lnTo>
                      <a:pt x="38" y="109"/>
                    </a:lnTo>
                    <a:lnTo>
                      <a:pt x="34" y="111"/>
                    </a:lnTo>
                    <a:lnTo>
                      <a:pt x="32" y="110"/>
                    </a:lnTo>
                    <a:lnTo>
                      <a:pt x="32" y="110"/>
                    </a:lnTo>
                    <a:lnTo>
                      <a:pt x="34" y="107"/>
                    </a:lnTo>
                    <a:lnTo>
                      <a:pt x="35" y="104"/>
                    </a:lnTo>
                    <a:lnTo>
                      <a:pt x="35" y="103"/>
                    </a:lnTo>
                    <a:lnTo>
                      <a:pt x="35" y="99"/>
                    </a:lnTo>
                    <a:lnTo>
                      <a:pt x="38" y="96"/>
                    </a:lnTo>
                    <a:lnTo>
                      <a:pt x="38" y="96"/>
                    </a:lnTo>
                    <a:lnTo>
                      <a:pt x="40" y="91"/>
                    </a:lnTo>
                    <a:lnTo>
                      <a:pt x="43" y="87"/>
                    </a:lnTo>
                    <a:lnTo>
                      <a:pt x="43" y="84"/>
                    </a:lnTo>
                    <a:lnTo>
                      <a:pt x="47" y="83"/>
                    </a:lnTo>
                    <a:lnTo>
                      <a:pt x="47" y="80"/>
                    </a:lnTo>
                    <a:lnTo>
                      <a:pt x="49" y="75"/>
                    </a:lnTo>
                    <a:lnTo>
                      <a:pt x="51" y="73"/>
                    </a:lnTo>
                    <a:lnTo>
                      <a:pt x="51" y="72"/>
                    </a:lnTo>
                    <a:lnTo>
                      <a:pt x="51" y="72"/>
                    </a:lnTo>
                    <a:lnTo>
                      <a:pt x="55" y="69"/>
                    </a:lnTo>
                    <a:lnTo>
                      <a:pt x="58" y="66"/>
                    </a:lnTo>
                    <a:lnTo>
                      <a:pt x="58" y="66"/>
                    </a:lnTo>
                    <a:lnTo>
                      <a:pt x="64" y="62"/>
                    </a:lnTo>
                    <a:lnTo>
                      <a:pt x="69" y="58"/>
                    </a:lnTo>
                    <a:lnTo>
                      <a:pt x="69" y="56"/>
                    </a:lnTo>
                    <a:lnTo>
                      <a:pt x="69" y="56"/>
                    </a:lnTo>
                    <a:lnTo>
                      <a:pt x="78" y="50"/>
                    </a:lnTo>
                    <a:lnTo>
                      <a:pt x="80" y="47"/>
                    </a:lnTo>
                    <a:lnTo>
                      <a:pt x="80" y="47"/>
                    </a:lnTo>
                    <a:lnTo>
                      <a:pt x="88" y="43"/>
                    </a:lnTo>
                    <a:lnTo>
                      <a:pt x="92" y="41"/>
                    </a:lnTo>
                    <a:lnTo>
                      <a:pt x="93" y="38"/>
                    </a:lnTo>
                    <a:lnTo>
                      <a:pt x="96" y="38"/>
                    </a:lnTo>
                    <a:lnTo>
                      <a:pt x="99" y="38"/>
                    </a:lnTo>
                    <a:lnTo>
                      <a:pt x="99" y="37"/>
                    </a:lnTo>
                    <a:lnTo>
                      <a:pt x="99" y="34"/>
                    </a:lnTo>
                    <a:lnTo>
                      <a:pt x="103" y="30"/>
                    </a:lnTo>
                    <a:lnTo>
                      <a:pt x="107" y="28"/>
                    </a:lnTo>
                    <a:lnTo>
                      <a:pt x="106" y="26"/>
                    </a:lnTo>
                    <a:lnTo>
                      <a:pt x="110" y="23"/>
                    </a:lnTo>
                    <a:lnTo>
                      <a:pt x="111" y="23"/>
                    </a:lnTo>
                    <a:lnTo>
                      <a:pt x="111" y="26"/>
                    </a:lnTo>
                    <a:lnTo>
                      <a:pt x="112" y="26"/>
                    </a:lnTo>
                    <a:lnTo>
                      <a:pt x="115" y="22"/>
                    </a:lnTo>
                    <a:lnTo>
                      <a:pt x="118" y="20"/>
                    </a:lnTo>
                    <a:lnTo>
                      <a:pt x="118" y="18"/>
                    </a:lnTo>
                    <a:lnTo>
                      <a:pt x="121" y="16"/>
                    </a:lnTo>
                    <a:lnTo>
                      <a:pt x="123" y="16"/>
                    </a:lnTo>
                    <a:lnTo>
                      <a:pt x="125" y="14"/>
                    </a:lnTo>
                    <a:lnTo>
                      <a:pt x="127" y="12"/>
                    </a:lnTo>
                    <a:lnTo>
                      <a:pt x="127" y="7"/>
                    </a:lnTo>
                    <a:lnTo>
                      <a:pt x="130" y="8"/>
                    </a:lnTo>
                    <a:lnTo>
                      <a:pt x="130" y="7"/>
                    </a:lnTo>
                    <a:lnTo>
                      <a:pt x="131" y="4"/>
                    </a:lnTo>
                    <a:lnTo>
                      <a:pt x="135" y="7"/>
                    </a:lnTo>
                    <a:lnTo>
                      <a:pt x="137" y="1"/>
                    </a:lnTo>
                    <a:lnTo>
                      <a:pt x="142" y="0"/>
                    </a:lnTo>
                    <a:lnTo>
                      <a:pt x="148" y="8"/>
                    </a:lnTo>
                    <a:lnTo>
                      <a:pt x="146" y="12"/>
                    </a:lnTo>
                    <a:lnTo>
                      <a:pt x="149" y="14"/>
                    </a:lnTo>
                    <a:lnTo>
                      <a:pt x="149" y="16"/>
                    </a:lnTo>
                    <a:lnTo>
                      <a:pt x="146" y="16"/>
                    </a:lnTo>
                    <a:lnTo>
                      <a:pt x="146" y="19"/>
                    </a:lnTo>
                    <a:lnTo>
                      <a:pt x="149" y="22"/>
                    </a:lnTo>
                    <a:lnTo>
                      <a:pt x="149" y="22"/>
                    </a:lnTo>
                    <a:lnTo>
                      <a:pt x="149" y="24"/>
                    </a:lnTo>
                    <a:lnTo>
                      <a:pt x="148" y="27"/>
                    </a:lnTo>
                    <a:lnTo>
                      <a:pt x="145" y="27"/>
                    </a:lnTo>
                    <a:lnTo>
                      <a:pt x="145" y="31"/>
                    </a:lnTo>
                    <a:lnTo>
                      <a:pt x="145" y="31"/>
                    </a:lnTo>
                    <a:lnTo>
                      <a:pt x="141" y="34"/>
                    </a:lnTo>
                    <a:lnTo>
                      <a:pt x="141" y="34"/>
                    </a:lnTo>
                    <a:lnTo>
                      <a:pt x="138" y="41"/>
                    </a:lnTo>
                    <a:lnTo>
                      <a:pt x="138" y="41"/>
                    </a:lnTo>
                    <a:lnTo>
                      <a:pt x="135" y="45"/>
                    </a:lnTo>
                    <a:lnTo>
                      <a:pt x="131" y="49"/>
                    </a:lnTo>
                    <a:lnTo>
                      <a:pt x="131" y="49"/>
                    </a:lnTo>
                    <a:lnTo>
                      <a:pt x="123" y="66"/>
                    </a:lnTo>
                    <a:lnTo>
                      <a:pt x="125" y="68"/>
                    </a:lnTo>
                    <a:lnTo>
                      <a:pt x="121" y="72"/>
                    </a:lnTo>
                    <a:lnTo>
                      <a:pt x="121" y="72"/>
                    </a:lnTo>
                    <a:lnTo>
                      <a:pt x="118" y="79"/>
                    </a:lnTo>
                    <a:lnTo>
                      <a:pt x="116" y="83"/>
                    </a:lnTo>
                    <a:lnTo>
                      <a:pt x="114" y="84"/>
                    </a:lnTo>
                    <a:lnTo>
                      <a:pt x="112" y="83"/>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5" name="Freeform 194">
                <a:extLst>
                  <a:ext uri="{FF2B5EF4-FFF2-40B4-BE49-F238E27FC236}">
                    <a16:creationId xmlns:a16="http://schemas.microsoft.com/office/drawing/2014/main" id="{D3C514C9-65FB-463E-95D8-8A37EB5B1FC7}"/>
                  </a:ext>
                </a:extLst>
              </p:cNvPr>
              <p:cNvSpPr>
                <a:spLocks/>
              </p:cNvSpPr>
              <p:nvPr/>
            </p:nvSpPr>
            <p:spPr bwMode="auto">
              <a:xfrm>
                <a:off x="2425700" y="3367156"/>
                <a:ext cx="7938" cy="12700"/>
              </a:xfrm>
              <a:custGeom>
                <a:avLst/>
                <a:gdLst>
                  <a:gd name="T0" fmla="*/ 3 w 8"/>
                  <a:gd name="T1" fmla="*/ 0 h 18"/>
                  <a:gd name="T2" fmla="*/ 8 w 8"/>
                  <a:gd name="T3" fmla="*/ 14 h 18"/>
                  <a:gd name="T4" fmla="*/ 5 w 8"/>
                  <a:gd name="T5" fmla="*/ 18 h 18"/>
                  <a:gd name="T6" fmla="*/ 4 w 8"/>
                  <a:gd name="T7" fmla="*/ 18 h 18"/>
                  <a:gd name="T8" fmla="*/ 4 w 8"/>
                  <a:gd name="T9" fmla="*/ 18 h 18"/>
                  <a:gd name="T10" fmla="*/ 1 w 8"/>
                  <a:gd name="T11" fmla="*/ 14 h 18"/>
                  <a:gd name="T12" fmla="*/ 0 w 8"/>
                  <a:gd name="T13" fmla="*/ 10 h 18"/>
                  <a:gd name="T14" fmla="*/ 0 w 8"/>
                  <a:gd name="T15" fmla="*/ 2 h 18"/>
                  <a:gd name="T16" fmla="*/ 1 w 8"/>
                  <a:gd name="T17" fmla="*/ 0 h 18"/>
                  <a:gd name="T18" fmla="*/ 3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3" y="0"/>
                    </a:moveTo>
                    <a:lnTo>
                      <a:pt x="8" y="14"/>
                    </a:lnTo>
                    <a:lnTo>
                      <a:pt x="5" y="18"/>
                    </a:lnTo>
                    <a:lnTo>
                      <a:pt x="4" y="18"/>
                    </a:lnTo>
                    <a:lnTo>
                      <a:pt x="4" y="18"/>
                    </a:lnTo>
                    <a:lnTo>
                      <a:pt x="1" y="14"/>
                    </a:lnTo>
                    <a:lnTo>
                      <a:pt x="0" y="10"/>
                    </a:lnTo>
                    <a:lnTo>
                      <a:pt x="0" y="2"/>
                    </a:lnTo>
                    <a:lnTo>
                      <a:pt x="1" y="0"/>
                    </a:lnTo>
                    <a:lnTo>
                      <a:pt x="3" y="0"/>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6" name="Freeform 327">
                <a:extLst>
                  <a:ext uri="{FF2B5EF4-FFF2-40B4-BE49-F238E27FC236}">
                    <a16:creationId xmlns:a16="http://schemas.microsoft.com/office/drawing/2014/main" id="{33EE3EC0-E290-4E15-9DDC-8B81DD4A9586}"/>
                  </a:ext>
                </a:extLst>
              </p:cNvPr>
              <p:cNvSpPr>
                <a:spLocks/>
              </p:cNvSpPr>
              <p:nvPr/>
            </p:nvSpPr>
            <p:spPr bwMode="auto">
              <a:xfrm>
                <a:off x="1858963" y="2035244"/>
                <a:ext cx="285750" cy="385763"/>
              </a:xfrm>
              <a:custGeom>
                <a:avLst/>
                <a:gdLst>
                  <a:gd name="T0" fmla="*/ 269 w 361"/>
                  <a:gd name="T1" fmla="*/ 229 h 485"/>
                  <a:gd name="T2" fmla="*/ 241 w 361"/>
                  <a:gd name="T3" fmla="*/ 236 h 485"/>
                  <a:gd name="T4" fmla="*/ 233 w 361"/>
                  <a:gd name="T5" fmla="*/ 255 h 485"/>
                  <a:gd name="T6" fmla="*/ 205 w 361"/>
                  <a:gd name="T7" fmla="*/ 270 h 485"/>
                  <a:gd name="T8" fmla="*/ 252 w 361"/>
                  <a:gd name="T9" fmla="*/ 256 h 485"/>
                  <a:gd name="T10" fmla="*/ 277 w 361"/>
                  <a:gd name="T11" fmla="*/ 271 h 485"/>
                  <a:gd name="T12" fmla="*/ 269 w 361"/>
                  <a:gd name="T13" fmla="*/ 314 h 485"/>
                  <a:gd name="T14" fmla="*/ 232 w 361"/>
                  <a:gd name="T15" fmla="*/ 313 h 485"/>
                  <a:gd name="T16" fmla="*/ 228 w 361"/>
                  <a:gd name="T17" fmla="*/ 318 h 485"/>
                  <a:gd name="T18" fmla="*/ 233 w 361"/>
                  <a:gd name="T19" fmla="*/ 358 h 485"/>
                  <a:gd name="T20" fmla="*/ 214 w 361"/>
                  <a:gd name="T21" fmla="*/ 362 h 485"/>
                  <a:gd name="T22" fmla="*/ 189 w 361"/>
                  <a:gd name="T23" fmla="*/ 350 h 485"/>
                  <a:gd name="T24" fmla="*/ 172 w 361"/>
                  <a:gd name="T25" fmla="*/ 369 h 485"/>
                  <a:gd name="T26" fmla="*/ 157 w 361"/>
                  <a:gd name="T27" fmla="*/ 302 h 485"/>
                  <a:gd name="T28" fmla="*/ 183 w 361"/>
                  <a:gd name="T29" fmla="*/ 285 h 485"/>
                  <a:gd name="T30" fmla="*/ 137 w 361"/>
                  <a:gd name="T31" fmla="*/ 320 h 485"/>
                  <a:gd name="T32" fmla="*/ 161 w 361"/>
                  <a:gd name="T33" fmla="*/ 359 h 485"/>
                  <a:gd name="T34" fmla="*/ 160 w 361"/>
                  <a:gd name="T35" fmla="*/ 392 h 485"/>
                  <a:gd name="T36" fmla="*/ 119 w 361"/>
                  <a:gd name="T37" fmla="*/ 384 h 485"/>
                  <a:gd name="T38" fmla="*/ 133 w 361"/>
                  <a:gd name="T39" fmla="*/ 408 h 485"/>
                  <a:gd name="T40" fmla="*/ 129 w 361"/>
                  <a:gd name="T41" fmla="*/ 427 h 485"/>
                  <a:gd name="T42" fmla="*/ 102 w 361"/>
                  <a:gd name="T43" fmla="*/ 424 h 485"/>
                  <a:gd name="T44" fmla="*/ 99 w 361"/>
                  <a:gd name="T45" fmla="*/ 445 h 485"/>
                  <a:gd name="T46" fmla="*/ 81 w 361"/>
                  <a:gd name="T47" fmla="*/ 462 h 485"/>
                  <a:gd name="T48" fmla="*/ 53 w 361"/>
                  <a:gd name="T49" fmla="*/ 479 h 485"/>
                  <a:gd name="T50" fmla="*/ 15 w 361"/>
                  <a:gd name="T51" fmla="*/ 438 h 485"/>
                  <a:gd name="T52" fmla="*/ 24 w 361"/>
                  <a:gd name="T53" fmla="*/ 427 h 485"/>
                  <a:gd name="T54" fmla="*/ 64 w 361"/>
                  <a:gd name="T55" fmla="*/ 397 h 485"/>
                  <a:gd name="T56" fmla="*/ 91 w 361"/>
                  <a:gd name="T57" fmla="*/ 378 h 485"/>
                  <a:gd name="T58" fmla="*/ 99 w 361"/>
                  <a:gd name="T59" fmla="*/ 362 h 485"/>
                  <a:gd name="T60" fmla="*/ 61 w 361"/>
                  <a:gd name="T61" fmla="*/ 347 h 485"/>
                  <a:gd name="T62" fmla="*/ 23 w 361"/>
                  <a:gd name="T63" fmla="*/ 340 h 485"/>
                  <a:gd name="T64" fmla="*/ 28 w 361"/>
                  <a:gd name="T65" fmla="*/ 313 h 485"/>
                  <a:gd name="T66" fmla="*/ 68 w 361"/>
                  <a:gd name="T67" fmla="*/ 287 h 485"/>
                  <a:gd name="T68" fmla="*/ 30 w 361"/>
                  <a:gd name="T69" fmla="*/ 279 h 485"/>
                  <a:gd name="T70" fmla="*/ 8 w 361"/>
                  <a:gd name="T71" fmla="*/ 249 h 485"/>
                  <a:gd name="T72" fmla="*/ 8 w 361"/>
                  <a:gd name="T73" fmla="*/ 209 h 485"/>
                  <a:gd name="T74" fmla="*/ 42 w 361"/>
                  <a:gd name="T75" fmla="*/ 203 h 485"/>
                  <a:gd name="T76" fmla="*/ 39 w 361"/>
                  <a:gd name="T77" fmla="*/ 175 h 485"/>
                  <a:gd name="T78" fmla="*/ 80 w 361"/>
                  <a:gd name="T79" fmla="*/ 192 h 485"/>
                  <a:gd name="T80" fmla="*/ 87 w 361"/>
                  <a:gd name="T81" fmla="*/ 219 h 485"/>
                  <a:gd name="T82" fmla="*/ 91 w 361"/>
                  <a:gd name="T83" fmla="*/ 203 h 485"/>
                  <a:gd name="T84" fmla="*/ 94 w 361"/>
                  <a:gd name="T85" fmla="*/ 187 h 485"/>
                  <a:gd name="T86" fmla="*/ 89 w 361"/>
                  <a:gd name="T87" fmla="*/ 171 h 485"/>
                  <a:gd name="T88" fmla="*/ 114 w 361"/>
                  <a:gd name="T89" fmla="*/ 172 h 485"/>
                  <a:gd name="T90" fmla="*/ 137 w 361"/>
                  <a:gd name="T91" fmla="*/ 199 h 485"/>
                  <a:gd name="T92" fmla="*/ 140 w 361"/>
                  <a:gd name="T93" fmla="*/ 199 h 485"/>
                  <a:gd name="T94" fmla="*/ 114 w 361"/>
                  <a:gd name="T95" fmla="*/ 154 h 485"/>
                  <a:gd name="T96" fmla="*/ 118 w 361"/>
                  <a:gd name="T97" fmla="*/ 138 h 485"/>
                  <a:gd name="T98" fmla="*/ 145 w 361"/>
                  <a:gd name="T99" fmla="*/ 118 h 485"/>
                  <a:gd name="T100" fmla="*/ 191 w 361"/>
                  <a:gd name="T101" fmla="*/ 99 h 485"/>
                  <a:gd name="T102" fmla="*/ 267 w 361"/>
                  <a:gd name="T103" fmla="*/ 40 h 485"/>
                  <a:gd name="T104" fmla="*/ 312 w 361"/>
                  <a:gd name="T105" fmla="*/ 0 h 485"/>
                  <a:gd name="T106" fmla="*/ 340 w 361"/>
                  <a:gd name="T107" fmla="*/ 34 h 485"/>
                  <a:gd name="T108" fmla="*/ 334 w 361"/>
                  <a:gd name="T109" fmla="*/ 86 h 485"/>
                  <a:gd name="T110" fmla="*/ 321 w 361"/>
                  <a:gd name="T111" fmla="*/ 135 h 485"/>
                  <a:gd name="T112" fmla="*/ 279 w 361"/>
                  <a:gd name="T113" fmla="*/ 172 h 485"/>
                  <a:gd name="T114" fmla="*/ 319 w 361"/>
                  <a:gd name="T115" fmla="*/ 179 h 485"/>
                  <a:gd name="T116" fmla="*/ 355 w 361"/>
                  <a:gd name="T117" fmla="*/ 165 h 485"/>
                  <a:gd name="T118" fmla="*/ 327 w 361"/>
                  <a:gd name="T119" fmla="*/ 205 h 485"/>
                  <a:gd name="T120" fmla="*/ 284 w 361"/>
                  <a:gd name="T121" fmla="*/ 20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1" h="485">
                    <a:moveTo>
                      <a:pt x="270" y="199"/>
                    </a:moveTo>
                    <a:lnTo>
                      <a:pt x="270" y="200"/>
                    </a:lnTo>
                    <a:lnTo>
                      <a:pt x="273" y="200"/>
                    </a:lnTo>
                    <a:lnTo>
                      <a:pt x="275" y="202"/>
                    </a:lnTo>
                    <a:lnTo>
                      <a:pt x="275" y="202"/>
                    </a:lnTo>
                    <a:lnTo>
                      <a:pt x="273" y="203"/>
                    </a:lnTo>
                    <a:lnTo>
                      <a:pt x="273" y="206"/>
                    </a:lnTo>
                    <a:lnTo>
                      <a:pt x="270" y="207"/>
                    </a:lnTo>
                    <a:lnTo>
                      <a:pt x="271" y="207"/>
                    </a:lnTo>
                    <a:lnTo>
                      <a:pt x="271" y="207"/>
                    </a:lnTo>
                    <a:lnTo>
                      <a:pt x="273" y="214"/>
                    </a:lnTo>
                    <a:lnTo>
                      <a:pt x="274" y="217"/>
                    </a:lnTo>
                    <a:lnTo>
                      <a:pt x="277" y="219"/>
                    </a:lnTo>
                    <a:lnTo>
                      <a:pt x="277" y="225"/>
                    </a:lnTo>
                    <a:lnTo>
                      <a:pt x="275" y="226"/>
                    </a:lnTo>
                    <a:lnTo>
                      <a:pt x="258" y="230"/>
                    </a:lnTo>
                    <a:lnTo>
                      <a:pt x="258" y="233"/>
                    </a:lnTo>
                    <a:lnTo>
                      <a:pt x="259" y="234"/>
                    </a:lnTo>
                    <a:lnTo>
                      <a:pt x="259" y="234"/>
                    </a:lnTo>
                    <a:lnTo>
                      <a:pt x="265" y="230"/>
                    </a:lnTo>
                    <a:lnTo>
                      <a:pt x="269" y="229"/>
                    </a:lnTo>
                    <a:lnTo>
                      <a:pt x="273" y="229"/>
                    </a:lnTo>
                    <a:lnTo>
                      <a:pt x="277" y="232"/>
                    </a:lnTo>
                    <a:lnTo>
                      <a:pt x="277" y="234"/>
                    </a:lnTo>
                    <a:lnTo>
                      <a:pt x="275" y="237"/>
                    </a:lnTo>
                    <a:lnTo>
                      <a:pt x="270" y="240"/>
                    </a:lnTo>
                    <a:lnTo>
                      <a:pt x="269" y="238"/>
                    </a:lnTo>
                    <a:lnTo>
                      <a:pt x="267" y="237"/>
                    </a:lnTo>
                    <a:lnTo>
                      <a:pt x="265" y="236"/>
                    </a:lnTo>
                    <a:lnTo>
                      <a:pt x="263" y="238"/>
                    </a:lnTo>
                    <a:lnTo>
                      <a:pt x="260" y="237"/>
                    </a:lnTo>
                    <a:lnTo>
                      <a:pt x="258" y="238"/>
                    </a:lnTo>
                    <a:lnTo>
                      <a:pt x="256" y="238"/>
                    </a:lnTo>
                    <a:lnTo>
                      <a:pt x="256" y="238"/>
                    </a:lnTo>
                    <a:lnTo>
                      <a:pt x="254" y="237"/>
                    </a:lnTo>
                    <a:lnTo>
                      <a:pt x="250" y="236"/>
                    </a:lnTo>
                    <a:lnTo>
                      <a:pt x="244" y="236"/>
                    </a:lnTo>
                    <a:lnTo>
                      <a:pt x="243" y="233"/>
                    </a:lnTo>
                    <a:lnTo>
                      <a:pt x="231" y="230"/>
                    </a:lnTo>
                    <a:lnTo>
                      <a:pt x="233" y="233"/>
                    </a:lnTo>
                    <a:lnTo>
                      <a:pt x="239" y="234"/>
                    </a:lnTo>
                    <a:lnTo>
                      <a:pt x="241" y="236"/>
                    </a:lnTo>
                    <a:lnTo>
                      <a:pt x="240" y="241"/>
                    </a:lnTo>
                    <a:lnTo>
                      <a:pt x="241" y="240"/>
                    </a:lnTo>
                    <a:lnTo>
                      <a:pt x="243" y="238"/>
                    </a:lnTo>
                    <a:lnTo>
                      <a:pt x="248" y="242"/>
                    </a:lnTo>
                    <a:lnTo>
                      <a:pt x="248" y="238"/>
                    </a:lnTo>
                    <a:lnTo>
                      <a:pt x="251" y="237"/>
                    </a:lnTo>
                    <a:lnTo>
                      <a:pt x="254" y="240"/>
                    </a:lnTo>
                    <a:lnTo>
                      <a:pt x="251" y="241"/>
                    </a:lnTo>
                    <a:lnTo>
                      <a:pt x="254" y="242"/>
                    </a:lnTo>
                    <a:lnTo>
                      <a:pt x="255" y="241"/>
                    </a:lnTo>
                    <a:lnTo>
                      <a:pt x="255" y="245"/>
                    </a:lnTo>
                    <a:lnTo>
                      <a:pt x="252" y="245"/>
                    </a:lnTo>
                    <a:lnTo>
                      <a:pt x="247" y="249"/>
                    </a:lnTo>
                    <a:lnTo>
                      <a:pt x="246" y="252"/>
                    </a:lnTo>
                    <a:lnTo>
                      <a:pt x="243" y="255"/>
                    </a:lnTo>
                    <a:lnTo>
                      <a:pt x="241" y="253"/>
                    </a:lnTo>
                    <a:lnTo>
                      <a:pt x="239" y="256"/>
                    </a:lnTo>
                    <a:lnTo>
                      <a:pt x="237" y="255"/>
                    </a:lnTo>
                    <a:lnTo>
                      <a:pt x="236" y="256"/>
                    </a:lnTo>
                    <a:lnTo>
                      <a:pt x="235" y="255"/>
                    </a:lnTo>
                    <a:lnTo>
                      <a:pt x="233" y="255"/>
                    </a:lnTo>
                    <a:lnTo>
                      <a:pt x="233" y="257"/>
                    </a:lnTo>
                    <a:lnTo>
                      <a:pt x="233" y="257"/>
                    </a:lnTo>
                    <a:lnTo>
                      <a:pt x="229" y="257"/>
                    </a:lnTo>
                    <a:lnTo>
                      <a:pt x="227" y="255"/>
                    </a:lnTo>
                    <a:lnTo>
                      <a:pt x="225" y="256"/>
                    </a:lnTo>
                    <a:lnTo>
                      <a:pt x="225" y="259"/>
                    </a:lnTo>
                    <a:lnTo>
                      <a:pt x="224" y="259"/>
                    </a:lnTo>
                    <a:lnTo>
                      <a:pt x="220" y="257"/>
                    </a:lnTo>
                    <a:lnTo>
                      <a:pt x="220" y="257"/>
                    </a:lnTo>
                    <a:lnTo>
                      <a:pt x="217" y="257"/>
                    </a:lnTo>
                    <a:lnTo>
                      <a:pt x="214" y="257"/>
                    </a:lnTo>
                    <a:lnTo>
                      <a:pt x="214" y="259"/>
                    </a:lnTo>
                    <a:lnTo>
                      <a:pt x="217" y="259"/>
                    </a:lnTo>
                    <a:lnTo>
                      <a:pt x="216" y="260"/>
                    </a:lnTo>
                    <a:lnTo>
                      <a:pt x="216" y="260"/>
                    </a:lnTo>
                    <a:lnTo>
                      <a:pt x="208" y="261"/>
                    </a:lnTo>
                    <a:lnTo>
                      <a:pt x="203" y="261"/>
                    </a:lnTo>
                    <a:lnTo>
                      <a:pt x="201" y="264"/>
                    </a:lnTo>
                    <a:lnTo>
                      <a:pt x="203" y="266"/>
                    </a:lnTo>
                    <a:lnTo>
                      <a:pt x="203" y="270"/>
                    </a:lnTo>
                    <a:lnTo>
                      <a:pt x="205" y="270"/>
                    </a:lnTo>
                    <a:lnTo>
                      <a:pt x="206" y="264"/>
                    </a:lnTo>
                    <a:lnTo>
                      <a:pt x="212" y="264"/>
                    </a:lnTo>
                    <a:lnTo>
                      <a:pt x="214" y="266"/>
                    </a:lnTo>
                    <a:lnTo>
                      <a:pt x="217" y="264"/>
                    </a:lnTo>
                    <a:lnTo>
                      <a:pt x="221" y="264"/>
                    </a:lnTo>
                    <a:lnTo>
                      <a:pt x="224" y="261"/>
                    </a:lnTo>
                    <a:lnTo>
                      <a:pt x="235" y="260"/>
                    </a:lnTo>
                    <a:lnTo>
                      <a:pt x="237" y="263"/>
                    </a:lnTo>
                    <a:lnTo>
                      <a:pt x="239" y="261"/>
                    </a:lnTo>
                    <a:lnTo>
                      <a:pt x="239" y="260"/>
                    </a:lnTo>
                    <a:lnTo>
                      <a:pt x="239" y="260"/>
                    </a:lnTo>
                    <a:lnTo>
                      <a:pt x="243" y="260"/>
                    </a:lnTo>
                    <a:lnTo>
                      <a:pt x="248" y="259"/>
                    </a:lnTo>
                    <a:lnTo>
                      <a:pt x="248" y="259"/>
                    </a:lnTo>
                    <a:lnTo>
                      <a:pt x="251" y="261"/>
                    </a:lnTo>
                    <a:lnTo>
                      <a:pt x="254" y="263"/>
                    </a:lnTo>
                    <a:lnTo>
                      <a:pt x="255" y="260"/>
                    </a:lnTo>
                    <a:lnTo>
                      <a:pt x="258" y="259"/>
                    </a:lnTo>
                    <a:lnTo>
                      <a:pt x="254" y="257"/>
                    </a:lnTo>
                    <a:lnTo>
                      <a:pt x="252" y="256"/>
                    </a:lnTo>
                    <a:lnTo>
                      <a:pt x="252" y="256"/>
                    </a:lnTo>
                    <a:lnTo>
                      <a:pt x="258" y="253"/>
                    </a:lnTo>
                    <a:lnTo>
                      <a:pt x="259" y="255"/>
                    </a:lnTo>
                    <a:lnTo>
                      <a:pt x="259" y="253"/>
                    </a:lnTo>
                    <a:lnTo>
                      <a:pt x="259" y="252"/>
                    </a:lnTo>
                    <a:lnTo>
                      <a:pt x="262" y="251"/>
                    </a:lnTo>
                    <a:lnTo>
                      <a:pt x="263" y="252"/>
                    </a:lnTo>
                    <a:lnTo>
                      <a:pt x="265" y="251"/>
                    </a:lnTo>
                    <a:lnTo>
                      <a:pt x="266" y="251"/>
                    </a:lnTo>
                    <a:lnTo>
                      <a:pt x="267" y="256"/>
                    </a:lnTo>
                    <a:lnTo>
                      <a:pt x="266" y="257"/>
                    </a:lnTo>
                    <a:lnTo>
                      <a:pt x="266" y="260"/>
                    </a:lnTo>
                    <a:lnTo>
                      <a:pt x="269" y="259"/>
                    </a:lnTo>
                    <a:lnTo>
                      <a:pt x="270" y="261"/>
                    </a:lnTo>
                    <a:lnTo>
                      <a:pt x="266" y="263"/>
                    </a:lnTo>
                    <a:lnTo>
                      <a:pt x="266" y="267"/>
                    </a:lnTo>
                    <a:lnTo>
                      <a:pt x="269" y="267"/>
                    </a:lnTo>
                    <a:lnTo>
                      <a:pt x="271" y="263"/>
                    </a:lnTo>
                    <a:lnTo>
                      <a:pt x="273" y="263"/>
                    </a:lnTo>
                    <a:lnTo>
                      <a:pt x="273" y="271"/>
                    </a:lnTo>
                    <a:lnTo>
                      <a:pt x="275" y="270"/>
                    </a:lnTo>
                    <a:lnTo>
                      <a:pt x="277" y="271"/>
                    </a:lnTo>
                    <a:lnTo>
                      <a:pt x="273" y="276"/>
                    </a:lnTo>
                    <a:lnTo>
                      <a:pt x="274" y="278"/>
                    </a:lnTo>
                    <a:lnTo>
                      <a:pt x="277" y="279"/>
                    </a:lnTo>
                    <a:lnTo>
                      <a:pt x="277" y="283"/>
                    </a:lnTo>
                    <a:lnTo>
                      <a:pt x="275" y="285"/>
                    </a:lnTo>
                    <a:lnTo>
                      <a:pt x="275" y="287"/>
                    </a:lnTo>
                    <a:lnTo>
                      <a:pt x="273" y="290"/>
                    </a:lnTo>
                    <a:lnTo>
                      <a:pt x="259" y="290"/>
                    </a:lnTo>
                    <a:lnTo>
                      <a:pt x="259" y="291"/>
                    </a:lnTo>
                    <a:lnTo>
                      <a:pt x="259" y="291"/>
                    </a:lnTo>
                    <a:lnTo>
                      <a:pt x="263" y="293"/>
                    </a:lnTo>
                    <a:lnTo>
                      <a:pt x="269" y="293"/>
                    </a:lnTo>
                    <a:lnTo>
                      <a:pt x="274" y="293"/>
                    </a:lnTo>
                    <a:lnTo>
                      <a:pt x="279" y="294"/>
                    </a:lnTo>
                    <a:lnTo>
                      <a:pt x="281" y="295"/>
                    </a:lnTo>
                    <a:lnTo>
                      <a:pt x="279" y="301"/>
                    </a:lnTo>
                    <a:lnTo>
                      <a:pt x="278" y="304"/>
                    </a:lnTo>
                    <a:lnTo>
                      <a:pt x="277" y="306"/>
                    </a:lnTo>
                    <a:lnTo>
                      <a:pt x="277" y="306"/>
                    </a:lnTo>
                    <a:lnTo>
                      <a:pt x="273" y="310"/>
                    </a:lnTo>
                    <a:lnTo>
                      <a:pt x="269" y="314"/>
                    </a:lnTo>
                    <a:lnTo>
                      <a:pt x="270" y="318"/>
                    </a:lnTo>
                    <a:lnTo>
                      <a:pt x="266" y="318"/>
                    </a:lnTo>
                    <a:lnTo>
                      <a:pt x="266" y="318"/>
                    </a:lnTo>
                    <a:lnTo>
                      <a:pt x="263" y="317"/>
                    </a:lnTo>
                    <a:lnTo>
                      <a:pt x="262" y="313"/>
                    </a:lnTo>
                    <a:lnTo>
                      <a:pt x="258" y="312"/>
                    </a:lnTo>
                    <a:lnTo>
                      <a:pt x="256" y="313"/>
                    </a:lnTo>
                    <a:lnTo>
                      <a:pt x="254" y="312"/>
                    </a:lnTo>
                    <a:lnTo>
                      <a:pt x="252" y="309"/>
                    </a:lnTo>
                    <a:lnTo>
                      <a:pt x="251" y="309"/>
                    </a:lnTo>
                    <a:lnTo>
                      <a:pt x="251" y="312"/>
                    </a:lnTo>
                    <a:lnTo>
                      <a:pt x="248" y="314"/>
                    </a:lnTo>
                    <a:lnTo>
                      <a:pt x="243" y="308"/>
                    </a:lnTo>
                    <a:lnTo>
                      <a:pt x="241" y="308"/>
                    </a:lnTo>
                    <a:lnTo>
                      <a:pt x="241" y="310"/>
                    </a:lnTo>
                    <a:lnTo>
                      <a:pt x="240" y="312"/>
                    </a:lnTo>
                    <a:lnTo>
                      <a:pt x="240" y="312"/>
                    </a:lnTo>
                    <a:lnTo>
                      <a:pt x="237" y="313"/>
                    </a:lnTo>
                    <a:lnTo>
                      <a:pt x="235" y="312"/>
                    </a:lnTo>
                    <a:lnTo>
                      <a:pt x="229" y="309"/>
                    </a:lnTo>
                    <a:lnTo>
                      <a:pt x="232" y="313"/>
                    </a:lnTo>
                    <a:lnTo>
                      <a:pt x="231" y="314"/>
                    </a:lnTo>
                    <a:lnTo>
                      <a:pt x="231" y="314"/>
                    </a:lnTo>
                    <a:lnTo>
                      <a:pt x="225" y="314"/>
                    </a:lnTo>
                    <a:lnTo>
                      <a:pt x="220" y="312"/>
                    </a:lnTo>
                    <a:lnTo>
                      <a:pt x="220" y="309"/>
                    </a:lnTo>
                    <a:lnTo>
                      <a:pt x="218" y="309"/>
                    </a:lnTo>
                    <a:lnTo>
                      <a:pt x="218" y="316"/>
                    </a:lnTo>
                    <a:lnTo>
                      <a:pt x="218" y="316"/>
                    </a:lnTo>
                    <a:lnTo>
                      <a:pt x="214" y="314"/>
                    </a:lnTo>
                    <a:lnTo>
                      <a:pt x="212" y="314"/>
                    </a:lnTo>
                    <a:lnTo>
                      <a:pt x="212" y="314"/>
                    </a:lnTo>
                    <a:lnTo>
                      <a:pt x="198" y="317"/>
                    </a:lnTo>
                    <a:lnTo>
                      <a:pt x="198" y="317"/>
                    </a:lnTo>
                    <a:lnTo>
                      <a:pt x="202" y="317"/>
                    </a:lnTo>
                    <a:lnTo>
                      <a:pt x="206" y="317"/>
                    </a:lnTo>
                    <a:lnTo>
                      <a:pt x="209" y="316"/>
                    </a:lnTo>
                    <a:lnTo>
                      <a:pt x="212" y="317"/>
                    </a:lnTo>
                    <a:lnTo>
                      <a:pt x="213" y="318"/>
                    </a:lnTo>
                    <a:lnTo>
                      <a:pt x="213" y="318"/>
                    </a:lnTo>
                    <a:lnTo>
                      <a:pt x="220" y="318"/>
                    </a:lnTo>
                    <a:lnTo>
                      <a:pt x="228" y="318"/>
                    </a:lnTo>
                    <a:lnTo>
                      <a:pt x="235" y="317"/>
                    </a:lnTo>
                    <a:lnTo>
                      <a:pt x="239" y="317"/>
                    </a:lnTo>
                    <a:lnTo>
                      <a:pt x="239" y="317"/>
                    </a:lnTo>
                    <a:lnTo>
                      <a:pt x="240" y="318"/>
                    </a:lnTo>
                    <a:lnTo>
                      <a:pt x="241" y="321"/>
                    </a:lnTo>
                    <a:lnTo>
                      <a:pt x="244" y="323"/>
                    </a:lnTo>
                    <a:lnTo>
                      <a:pt x="246" y="325"/>
                    </a:lnTo>
                    <a:lnTo>
                      <a:pt x="244" y="328"/>
                    </a:lnTo>
                    <a:lnTo>
                      <a:pt x="247" y="331"/>
                    </a:lnTo>
                    <a:lnTo>
                      <a:pt x="247" y="335"/>
                    </a:lnTo>
                    <a:lnTo>
                      <a:pt x="246" y="337"/>
                    </a:lnTo>
                    <a:lnTo>
                      <a:pt x="247" y="337"/>
                    </a:lnTo>
                    <a:lnTo>
                      <a:pt x="247" y="340"/>
                    </a:lnTo>
                    <a:lnTo>
                      <a:pt x="243" y="343"/>
                    </a:lnTo>
                    <a:lnTo>
                      <a:pt x="240" y="342"/>
                    </a:lnTo>
                    <a:lnTo>
                      <a:pt x="240" y="342"/>
                    </a:lnTo>
                    <a:lnTo>
                      <a:pt x="240" y="355"/>
                    </a:lnTo>
                    <a:lnTo>
                      <a:pt x="237" y="358"/>
                    </a:lnTo>
                    <a:lnTo>
                      <a:pt x="236" y="356"/>
                    </a:lnTo>
                    <a:lnTo>
                      <a:pt x="233" y="358"/>
                    </a:lnTo>
                    <a:lnTo>
                      <a:pt x="233" y="358"/>
                    </a:lnTo>
                    <a:lnTo>
                      <a:pt x="231" y="356"/>
                    </a:lnTo>
                    <a:lnTo>
                      <a:pt x="228" y="355"/>
                    </a:lnTo>
                    <a:lnTo>
                      <a:pt x="228" y="355"/>
                    </a:lnTo>
                    <a:lnTo>
                      <a:pt x="225" y="361"/>
                    </a:lnTo>
                    <a:lnTo>
                      <a:pt x="222" y="365"/>
                    </a:lnTo>
                    <a:lnTo>
                      <a:pt x="222" y="365"/>
                    </a:lnTo>
                    <a:lnTo>
                      <a:pt x="220" y="361"/>
                    </a:lnTo>
                    <a:lnTo>
                      <a:pt x="217" y="359"/>
                    </a:lnTo>
                    <a:lnTo>
                      <a:pt x="218" y="356"/>
                    </a:lnTo>
                    <a:lnTo>
                      <a:pt x="214" y="355"/>
                    </a:lnTo>
                    <a:lnTo>
                      <a:pt x="214" y="355"/>
                    </a:lnTo>
                    <a:lnTo>
                      <a:pt x="212" y="350"/>
                    </a:lnTo>
                    <a:lnTo>
                      <a:pt x="212" y="346"/>
                    </a:lnTo>
                    <a:lnTo>
                      <a:pt x="210" y="344"/>
                    </a:lnTo>
                    <a:lnTo>
                      <a:pt x="210" y="344"/>
                    </a:lnTo>
                    <a:lnTo>
                      <a:pt x="210" y="348"/>
                    </a:lnTo>
                    <a:lnTo>
                      <a:pt x="212" y="351"/>
                    </a:lnTo>
                    <a:lnTo>
                      <a:pt x="210" y="355"/>
                    </a:lnTo>
                    <a:lnTo>
                      <a:pt x="210" y="355"/>
                    </a:lnTo>
                    <a:lnTo>
                      <a:pt x="213" y="359"/>
                    </a:lnTo>
                    <a:lnTo>
                      <a:pt x="214" y="362"/>
                    </a:lnTo>
                    <a:lnTo>
                      <a:pt x="214" y="366"/>
                    </a:lnTo>
                    <a:lnTo>
                      <a:pt x="214" y="370"/>
                    </a:lnTo>
                    <a:lnTo>
                      <a:pt x="212" y="371"/>
                    </a:lnTo>
                    <a:lnTo>
                      <a:pt x="210" y="370"/>
                    </a:lnTo>
                    <a:lnTo>
                      <a:pt x="206" y="371"/>
                    </a:lnTo>
                    <a:lnTo>
                      <a:pt x="203" y="370"/>
                    </a:lnTo>
                    <a:lnTo>
                      <a:pt x="203" y="367"/>
                    </a:lnTo>
                    <a:lnTo>
                      <a:pt x="202" y="366"/>
                    </a:lnTo>
                    <a:lnTo>
                      <a:pt x="201" y="367"/>
                    </a:lnTo>
                    <a:lnTo>
                      <a:pt x="203" y="374"/>
                    </a:lnTo>
                    <a:lnTo>
                      <a:pt x="201" y="374"/>
                    </a:lnTo>
                    <a:lnTo>
                      <a:pt x="199" y="373"/>
                    </a:lnTo>
                    <a:lnTo>
                      <a:pt x="201" y="371"/>
                    </a:lnTo>
                    <a:lnTo>
                      <a:pt x="199" y="370"/>
                    </a:lnTo>
                    <a:lnTo>
                      <a:pt x="197" y="371"/>
                    </a:lnTo>
                    <a:lnTo>
                      <a:pt x="197" y="371"/>
                    </a:lnTo>
                    <a:lnTo>
                      <a:pt x="195" y="369"/>
                    </a:lnTo>
                    <a:lnTo>
                      <a:pt x="194" y="367"/>
                    </a:lnTo>
                    <a:lnTo>
                      <a:pt x="194" y="365"/>
                    </a:lnTo>
                    <a:lnTo>
                      <a:pt x="187" y="354"/>
                    </a:lnTo>
                    <a:lnTo>
                      <a:pt x="189" y="350"/>
                    </a:lnTo>
                    <a:lnTo>
                      <a:pt x="186" y="351"/>
                    </a:lnTo>
                    <a:lnTo>
                      <a:pt x="176" y="342"/>
                    </a:lnTo>
                    <a:lnTo>
                      <a:pt x="176" y="346"/>
                    </a:lnTo>
                    <a:lnTo>
                      <a:pt x="176" y="346"/>
                    </a:lnTo>
                    <a:lnTo>
                      <a:pt x="180" y="351"/>
                    </a:lnTo>
                    <a:lnTo>
                      <a:pt x="183" y="358"/>
                    </a:lnTo>
                    <a:lnTo>
                      <a:pt x="182" y="359"/>
                    </a:lnTo>
                    <a:lnTo>
                      <a:pt x="187" y="363"/>
                    </a:lnTo>
                    <a:lnTo>
                      <a:pt x="187" y="363"/>
                    </a:lnTo>
                    <a:lnTo>
                      <a:pt x="187" y="367"/>
                    </a:lnTo>
                    <a:lnTo>
                      <a:pt x="189" y="370"/>
                    </a:lnTo>
                    <a:lnTo>
                      <a:pt x="184" y="370"/>
                    </a:lnTo>
                    <a:lnTo>
                      <a:pt x="182" y="369"/>
                    </a:lnTo>
                    <a:lnTo>
                      <a:pt x="182" y="365"/>
                    </a:lnTo>
                    <a:lnTo>
                      <a:pt x="180" y="365"/>
                    </a:lnTo>
                    <a:lnTo>
                      <a:pt x="180" y="367"/>
                    </a:lnTo>
                    <a:lnTo>
                      <a:pt x="176" y="366"/>
                    </a:lnTo>
                    <a:lnTo>
                      <a:pt x="176" y="369"/>
                    </a:lnTo>
                    <a:lnTo>
                      <a:pt x="175" y="369"/>
                    </a:lnTo>
                    <a:lnTo>
                      <a:pt x="175" y="369"/>
                    </a:lnTo>
                    <a:lnTo>
                      <a:pt x="172" y="369"/>
                    </a:lnTo>
                    <a:lnTo>
                      <a:pt x="171" y="366"/>
                    </a:lnTo>
                    <a:lnTo>
                      <a:pt x="165" y="361"/>
                    </a:lnTo>
                    <a:lnTo>
                      <a:pt x="160" y="350"/>
                    </a:lnTo>
                    <a:lnTo>
                      <a:pt x="160" y="350"/>
                    </a:lnTo>
                    <a:lnTo>
                      <a:pt x="159" y="346"/>
                    </a:lnTo>
                    <a:lnTo>
                      <a:pt x="159" y="344"/>
                    </a:lnTo>
                    <a:lnTo>
                      <a:pt x="157" y="342"/>
                    </a:lnTo>
                    <a:lnTo>
                      <a:pt x="156" y="343"/>
                    </a:lnTo>
                    <a:lnTo>
                      <a:pt x="155" y="343"/>
                    </a:lnTo>
                    <a:lnTo>
                      <a:pt x="155" y="339"/>
                    </a:lnTo>
                    <a:lnTo>
                      <a:pt x="152" y="337"/>
                    </a:lnTo>
                    <a:lnTo>
                      <a:pt x="152" y="337"/>
                    </a:lnTo>
                    <a:lnTo>
                      <a:pt x="152" y="329"/>
                    </a:lnTo>
                    <a:lnTo>
                      <a:pt x="152" y="327"/>
                    </a:lnTo>
                    <a:lnTo>
                      <a:pt x="155" y="323"/>
                    </a:lnTo>
                    <a:lnTo>
                      <a:pt x="155" y="323"/>
                    </a:lnTo>
                    <a:lnTo>
                      <a:pt x="153" y="318"/>
                    </a:lnTo>
                    <a:lnTo>
                      <a:pt x="152" y="316"/>
                    </a:lnTo>
                    <a:lnTo>
                      <a:pt x="152" y="310"/>
                    </a:lnTo>
                    <a:lnTo>
                      <a:pt x="152" y="310"/>
                    </a:lnTo>
                    <a:lnTo>
                      <a:pt x="157" y="302"/>
                    </a:lnTo>
                    <a:lnTo>
                      <a:pt x="163" y="295"/>
                    </a:lnTo>
                    <a:lnTo>
                      <a:pt x="165" y="295"/>
                    </a:lnTo>
                    <a:lnTo>
                      <a:pt x="168" y="293"/>
                    </a:lnTo>
                    <a:lnTo>
                      <a:pt x="168" y="287"/>
                    </a:lnTo>
                    <a:lnTo>
                      <a:pt x="168" y="286"/>
                    </a:lnTo>
                    <a:lnTo>
                      <a:pt x="168" y="286"/>
                    </a:lnTo>
                    <a:lnTo>
                      <a:pt x="172" y="285"/>
                    </a:lnTo>
                    <a:lnTo>
                      <a:pt x="176" y="283"/>
                    </a:lnTo>
                    <a:lnTo>
                      <a:pt x="180" y="285"/>
                    </a:lnTo>
                    <a:lnTo>
                      <a:pt x="183" y="286"/>
                    </a:lnTo>
                    <a:lnTo>
                      <a:pt x="182" y="289"/>
                    </a:lnTo>
                    <a:lnTo>
                      <a:pt x="184" y="289"/>
                    </a:lnTo>
                    <a:lnTo>
                      <a:pt x="187" y="287"/>
                    </a:lnTo>
                    <a:lnTo>
                      <a:pt x="195" y="287"/>
                    </a:lnTo>
                    <a:lnTo>
                      <a:pt x="197" y="286"/>
                    </a:lnTo>
                    <a:lnTo>
                      <a:pt x="193" y="285"/>
                    </a:lnTo>
                    <a:lnTo>
                      <a:pt x="191" y="286"/>
                    </a:lnTo>
                    <a:lnTo>
                      <a:pt x="191" y="286"/>
                    </a:lnTo>
                    <a:lnTo>
                      <a:pt x="190" y="285"/>
                    </a:lnTo>
                    <a:lnTo>
                      <a:pt x="187" y="285"/>
                    </a:lnTo>
                    <a:lnTo>
                      <a:pt x="183" y="285"/>
                    </a:lnTo>
                    <a:lnTo>
                      <a:pt x="183" y="285"/>
                    </a:lnTo>
                    <a:lnTo>
                      <a:pt x="180" y="283"/>
                    </a:lnTo>
                    <a:lnTo>
                      <a:pt x="157" y="283"/>
                    </a:lnTo>
                    <a:lnTo>
                      <a:pt x="160" y="285"/>
                    </a:lnTo>
                    <a:lnTo>
                      <a:pt x="163" y="283"/>
                    </a:lnTo>
                    <a:lnTo>
                      <a:pt x="167" y="286"/>
                    </a:lnTo>
                    <a:lnTo>
                      <a:pt x="167" y="286"/>
                    </a:lnTo>
                    <a:lnTo>
                      <a:pt x="167" y="289"/>
                    </a:lnTo>
                    <a:lnTo>
                      <a:pt x="165" y="291"/>
                    </a:lnTo>
                    <a:lnTo>
                      <a:pt x="165" y="291"/>
                    </a:lnTo>
                    <a:lnTo>
                      <a:pt x="155" y="299"/>
                    </a:lnTo>
                    <a:lnTo>
                      <a:pt x="155" y="299"/>
                    </a:lnTo>
                    <a:lnTo>
                      <a:pt x="155" y="301"/>
                    </a:lnTo>
                    <a:lnTo>
                      <a:pt x="155" y="301"/>
                    </a:lnTo>
                    <a:lnTo>
                      <a:pt x="152" y="305"/>
                    </a:lnTo>
                    <a:lnTo>
                      <a:pt x="148" y="309"/>
                    </a:lnTo>
                    <a:lnTo>
                      <a:pt x="148" y="309"/>
                    </a:lnTo>
                    <a:lnTo>
                      <a:pt x="146" y="310"/>
                    </a:lnTo>
                    <a:lnTo>
                      <a:pt x="136" y="316"/>
                    </a:lnTo>
                    <a:lnTo>
                      <a:pt x="138" y="317"/>
                    </a:lnTo>
                    <a:lnTo>
                      <a:pt x="137" y="320"/>
                    </a:lnTo>
                    <a:lnTo>
                      <a:pt x="136" y="323"/>
                    </a:lnTo>
                    <a:lnTo>
                      <a:pt x="136" y="323"/>
                    </a:lnTo>
                    <a:lnTo>
                      <a:pt x="138" y="323"/>
                    </a:lnTo>
                    <a:lnTo>
                      <a:pt x="141" y="324"/>
                    </a:lnTo>
                    <a:lnTo>
                      <a:pt x="146" y="335"/>
                    </a:lnTo>
                    <a:lnTo>
                      <a:pt x="146" y="335"/>
                    </a:lnTo>
                    <a:lnTo>
                      <a:pt x="146" y="337"/>
                    </a:lnTo>
                    <a:lnTo>
                      <a:pt x="148" y="342"/>
                    </a:lnTo>
                    <a:lnTo>
                      <a:pt x="148" y="344"/>
                    </a:lnTo>
                    <a:lnTo>
                      <a:pt x="145" y="344"/>
                    </a:lnTo>
                    <a:lnTo>
                      <a:pt x="146" y="347"/>
                    </a:lnTo>
                    <a:lnTo>
                      <a:pt x="142" y="346"/>
                    </a:lnTo>
                    <a:lnTo>
                      <a:pt x="141" y="347"/>
                    </a:lnTo>
                    <a:lnTo>
                      <a:pt x="141" y="348"/>
                    </a:lnTo>
                    <a:lnTo>
                      <a:pt x="148" y="350"/>
                    </a:lnTo>
                    <a:lnTo>
                      <a:pt x="152" y="347"/>
                    </a:lnTo>
                    <a:lnTo>
                      <a:pt x="153" y="348"/>
                    </a:lnTo>
                    <a:lnTo>
                      <a:pt x="155" y="352"/>
                    </a:lnTo>
                    <a:lnTo>
                      <a:pt x="155" y="352"/>
                    </a:lnTo>
                    <a:lnTo>
                      <a:pt x="159" y="356"/>
                    </a:lnTo>
                    <a:lnTo>
                      <a:pt x="161" y="359"/>
                    </a:lnTo>
                    <a:lnTo>
                      <a:pt x="165" y="369"/>
                    </a:lnTo>
                    <a:lnTo>
                      <a:pt x="164" y="370"/>
                    </a:lnTo>
                    <a:lnTo>
                      <a:pt x="164" y="370"/>
                    </a:lnTo>
                    <a:lnTo>
                      <a:pt x="161" y="370"/>
                    </a:lnTo>
                    <a:lnTo>
                      <a:pt x="157" y="370"/>
                    </a:lnTo>
                    <a:lnTo>
                      <a:pt x="156" y="371"/>
                    </a:lnTo>
                    <a:lnTo>
                      <a:pt x="151" y="371"/>
                    </a:lnTo>
                    <a:lnTo>
                      <a:pt x="151" y="371"/>
                    </a:lnTo>
                    <a:lnTo>
                      <a:pt x="155" y="373"/>
                    </a:lnTo>
                    <a:lnTo>
                      <a:pt x="159" y="374"/>
                    </a:lnTo>
                    <a:lnTo>
                      <a:pt x="159" y="375"/>
                    </a:lnTo>
                    <a:lnTo>
                      <a:pt x="161" y="377"/>
                    </a:lnTo>
                    <a:lnTo>
                      <a:pt x="165" y="380"/>
                    </a:lnTo>
                    <a:lnTo>
                      <a:pt x="167" y="382"/>
                    </a:lnTo>
                    <a:lnTo>
                      <a:pt x="165" y="384"/>
                    </a:lnTo>
                    <a:lnTo>
                      <a:pt x="168" y="388"/>
                    </a:lnTo>
                    <a:lnTo>
                      <a:pt x="168" y="390"/>
                    </a:lnTo>
                    <a:lnTo>
                      <a:pt x="167" y="392"/>
                    </a:lnTo>
                    <a:lnTo>
                      <a:pt x="167" y="392"/>
                    </a:lnTo>
                    <a:lnTo>
                      <a:pt x="163" y="393"/>
                    </a:lnTo>
                    <a:lnTo>
                      <a:pt x="160" y="392"/>
                    </a:lnTo>
                    <a:lnTo>
                      <a:pt x="157" y="393"/>
                    </a:lnTo>
                    <a:lnTo>
                      <a:pt x="157" y="393"/>
                    </a:lnTo>
                    <a:lnTo>
                      <a:pt x="155" y="392"/>
                    </a:lnTo>
                    <a:lnTo>
                      <a:pt x="152" y="390"/>
                    </a:lnTo>
                    <a:lnTo>
                      <a:pt x="151" y="389"/>
                    </a:lnTo>
                    <a:lnTo>
                      <a:pt x="146" y="390"/>
                    </a:lnTo>
                    <a:lnTo>
                      <a:pt x="144" y="389"/>
                    </a:lnTo>
                    <a:lnTo>
                      <a:pt x="140" y="389"/>
                    </a:lnTo>
                    <a:lnTo>
                      <a:pt x="140" y="389"/>
                    </a:lnTo>
                    <a:lnTo>
                      <a:pt x="137" y="388"/>
                    </a:lnTo>
                    <a:lnTo>
                      <a:pt x="134" y="386"/>
                    </a:lnTo>
                    <a:lnTo>
                      <a:pt x="134" y="384"/>
                    </a:lnTo>
                    <a:lnTo>
                      <a:pt x="132" y="384"/>
                    </a:lnTo>
                    <a:lnTo>
                      <a:pt x="130" y="384"/>
                    </a:lnTo>
                    <a:lnTo>
                      <a:pt x="129" y="381"/>
                    </a:lnTo>
                    <a:lnTo>
                      <a:pt x="129" y="381"/>
                    </a:lnTo>
                    <a:lnTo>
                      <a:pt x="126" y="382"/>
                    </a:lnTo>
                    <a:lnTo>
                      <a:pt x="123" y="382"/>
                    </a:lnTo>
                    <a:lnTo>
                      <a:pt x="118" y="382"/>
                    </a:lnTo>
                    <a:lnTo>
                      <a:pt x="118" y="382"/>
                    </a:lnTo>
                    <a:lnTo>
                      <a:pt x="119" y="384"/>
                    </a:lnTo>
                    <a:lnTo>
                      <a:pt x="122" y="385"/>
                    </a:lnTo>
                    <a:lnTo>
                      <a:pt x="122" y="388"/>
                    </a:lnTo>
                    <a:lnTo>
                      <a:pt x="121" y="389"/>
                    </a:lnTo>
                    <a:lnTo>
                      <a:pt x="123" y="390"/>
                    </a:lnTo>
                    <a:lnTo>
                      <a:pt x="123" y="393"/>
                    </a:lnTo>
                    <a:lnTo>
                      <a:pt x="122" y="393"/>
                    </a:lnTo>
                    <a:lnTo>
                      <a:pt x="119" y="392"/>
                    </a:lnTo>
                    <a:lnTo>
                      <a:pt x="119" y="390"/>
                    </a:lnTo>
                    <a:lnTo>
                      <a:pt x="118" y="390"/>
                    </a:lnTo>
                    <a:lnTo>
                      <a:pt x="114" y="392"/>
                    </a:lnTo>
                    <a:lnTo>
                      <a:pt x="114" y="392"/>
                    </a:lnTo>
                    <a:lnTo>
                      <a:pt x="117" y="396"/>
                    </a:lnTo>
                    <a:lnTo>
                      <a:pt x="118" y="400"/>
                    </a:lnTo>
                    <a:lnTo>
                      <a:pt x="121" y="400"/>
                    </a:lnTo>
                    <a:lnTo>
                      <a:pt x="122" y="403"/>
                    </a:lnTo>
                    <a:lnTo>
                      <a:pt x="123" y="403"/>
                    </a:lnTo>
                    <a:lnTo>
                      <a:pt x="122" y="400"/>
                    </a:lnTo>
                    <a:lnTo>
                      <a:pt x="123" y="398"/>
                    </a:lnTo>
                    <a:lnTo>
                      <a:pt x="127" y="400"/>
                    </a:lnTo>
                    <a:lnTo>
                      <a:pt x="133" y="407"/>
                    </a:lnTo>
                    <a:lnTo>
                      <a:pt x="133" y="408"/>
                    </a:lnTo>
                    <a:lnTo>
                      <a:pt x="130" y="409"/>
                    </a:lnTo>
                    <a:lnTo>
                      <a:pt x="134" y="412"/>
                    </a:lnTo>
                    <a:lnTo>
                      <a:pt x="134" y="415"/>
                    </a:lnTo>
                    <a:lnTo>
                      <a:pt x="136" y="416"/>
                    </a:lnTo>
                    <a:lnTo>
                      <a:pt x="140" y="415"/>
                    </a:lnTo>
                    <a:lnTo>
                      <a:pt x="141" y="416"/>
                    </a:lnTo>
                    <a:lnTo>
                      <a:pt x="140" y="417"/>
                    </a:lnTo>
                    <a:lnTo>
                      <a:pt x="140" y="417"/>
                    </a:lnTo>
                    <a:lnTo>
                      <a:pt x="141" y="422"/>
                    </a:lnTo>
                    <a:lnTo>
                      <a:pt x="141" y="426"/>
                    </a:lnTo>
                    <a:lnTo>
                      <a:pt x="137" y="428"/>
                    </a:lnTo>
                    <a:lnTo>
                      <a:pt x="136" y="424"/>
                    </a:lnTo>
                    <a:lnTo>
                      <a:pt x="134" y="426"/>
                    </a:lnTo>
                    <a:lnTo>
                      <a:pt x="134" y="428"/>
                    </a:lnTo>
                    <a:lnTo>
                      <a:pt x="133" y="428"/>
                    </a:lnTo>
                    <a:lnTo>
                      <a:pt x="132" y="427"/>
                    </a:lnTo>
                    <a:lnTo>
                      <a:pt x="133" y="422"/>
                    </a:lnTo>
                    <a:lnTo>
                      <a:pt x="130" y="423"/>
                    </a:lnTo>
                    <a:lnTo>
                      <a:pt x="130" y="427"/>
                    </a:lnTo>
                    <a:lnTo>
                      <a:pt x="129" y="427"/>
                    </a:lnTo>
                    <a:lnTo>
                      <a:pt x="129" y="427"/>
                    </a:lnTo>
                    <a:lnTo>
                      <a:pt x="125" y="424"/>
                    </a:lnTo>
                    <a:lnTo>
                      <a:pt x="121" y="422"/>
                    </a:lnTo>
                    <a:lnTo>
                      <a:pt x="119" y="423"/>
                    </a:lnTo>
                    <a:lnTo>
                      <a:pt x="122" y="428"/>
                    </a:lnTo>
                    <a:lnTo>
                      <a:pt x="121" y="430"/>
                    </a:lnTo>
                    <a:lnTo>
                      <a:pt x="125" y="435"/>
                    </a:lnTo>
                    <a:lnTo>
                      <a:pt x="122" y="439"/>
                    </a:lnTo>
                    <a:lnTo>
                      <a:pt x="117" y="432"/>
                    </a:lnTo>
                    <a:lnTo>
                      <a:pt x="115" y="434"/>
                    </a:lnTo>
                    <a:lnTo>
                      <a:pt x="115" y="435"/>
                    </a:lnTo>
                    <a:lnTo>
                      <a:pt x="115" y="435"/>
                    </a:lnTo>
                    <a:lnTo>
                      <a:pt x="114" y="439"/>
                    </a:lnTo>
                    <a:lnTo>
                      <a:pt x="111" y="439"/>
                    </a:lnTo>
                    <a:lnTo>
                      <a:pt x="110" y="438"/>
                    </a:lnTo>
                    <a:lnTo>
                      <a:pt x="108" y="435"/>
                    </a:lnTo>
                    <a:lnTo>
                      <a:pt x="111" y="434"/>
                    </a:lnTo>
                    <a:lnTo>
                      <a:pt x="111" y="434"/>
                    </a:lnTo>
                    <a:lnTo>
                      <a:pt x="108" y="432"/>
                    </a:lnTo>
                    <a:lnTo>
                      <a:pt x="107" y="428"/>
                    </a:lnTo>
                    <a:lnTo>
                      <a:pt x="104" y="423"/>
                    </a:lnTo>
                    <a:lnTo>
                      <a:pt x="102" y="424"/>
                    </a:lnTo>
                    <a:lnTo>
                      <a:pt x="98" y="422"/>
                    </a:lnTo>
                    <a:lnTo>
                      <a:pt x="96" y="422"/>
                    </a:lnTo>
                    <a:lnTo>
                      <a:pt x="96" y="423"/>
                    </a:lnTo>
                    <a:lnTo>
                      <a:pt x="96" y="423"/>
                    </a:lnTo>
                    <a:lnTo>
                      <a:pt x="102" y="427"/>
                    </a:lnTo>
                    <a:lnTo>
                      <a:pt x="106" y="432"/>
                    </a:lnTo>
                    <a:lnTo>
                      <a:pt x="104" y="434"/>
                    </a:lnTo>
                    <a:lnTo>
                      <a:pt x="104" y="438"/>
                    </a:lnTo>
                    <a:lnTo>
                      <a:pt x="103" y="441"/>
                    </a:lnTo>
                    <a:lnTo>
                      <a:pt x="102" y="441"/>
                    </a:lnTo>
                    <a:lnTo>
                      <a:pt x="100" y="435"/>
                    </a:lnTo>
                    <a:lnTo>
                      <a:pt x="100" y="434"/>
                    </a:lnTo>
                    <a:lnTo>
                      <a:pt x="99" y="434"/>
                    </a:lnTo>
                    <a:lnTo>
                      <a:pt x="99" y="438"/>
                    </a:lnTo>
                    <a:lnTo>
                      <a:pt x="96" y="435"/>
                    </a:lnTo>
                    <a:lnTo>
                      <a:pt x="98" y="442"/>
                    </a:lnTo>
                    <a:lnTo>
                      <a:pt x="95" y="442"/>
                    </a:lnTo>
                    <a:lnTo>
                      <a:pt x="95" y="443"/>
                    </a:lnTo>
                    <a:lnTo>
                      <a:pt x="95" y="443"/>
                    </a:lnTo>
                    <a:lnTo>
                      <a:pt x="96" y="445"/>
                    </a:lnTo>
                    <a:lnTo>
                      <a:pt x="99" y="445"/>
                    </a:lnTo>
                    <a:lnTo>
                      <a:pt x="98" y="446"/>
                    </a:lnTo>
                    <a:lnTo>
                      <a:pt x="95" y="447"/>
                    </a:lnTo>
                    <a:lnTo>
                      <a:pt x="91" y="443"/>
                    </a:lnTo>
                    <a:lnTo>
                      <a:pt x="89" y="446"/>
                    </a:lnTo>
                    <a:lnTo>
                      <a:pt x="88" y="447"/>
                    </a:lnTo>
                    <a:lnTo>
                      <a:pt x="92" y="457"/>
                    </a:lnTo>
                    <a:lnTo>
                      <a:pt x="92" y="458"/>
                    </a:lnTo>
                    <a:lnTo>
                      <a:pt x="88" y="460"/>
                    </a:lnTo>
                    <a:lnTo>
                      <a:pt x="85" y="458"/>
                    </a:lnTo>
                    <a:lnTo>
                      <a:pt x="84" y="458"/>
                    </a:lnTo>
                    <a:lnTo>
                      <a:pt x="84" y="457"/>
                    </a:lnTo>
                    <a:lnTo>
                      <a:pt x="85" y="455"/>
                    </a:lnTo>
                    <a:lnTo>
                      <a:pt x="79" y="453"/>
                    </a:lnTo>
                    <a:lnTo>
                      <a:pt x="80" y="457"/>
                    </a:lnTo>
                    <a:lnTo>
                      <a:pt x="80" y="458"/>
                    </a:lnTo>
                    <a:lnTo>
                      <a:pt x="77" y="455"/>
                    </a:lnTo>
                    <a:lnTo>
                      <a:pt x="76" y="457"/>
                    </a:lnTo>
                    <a:lnTo>
                      <a:pt x="76" y="458"/>
                    </a:lnTo>
                    <a:lnTo>
                      <a:pt x="79" y="460"/>
                    </a:lnTo>
                    <a:lnTo>
                      <a:pt x="79" y="460"/>
                    </a:lnTo>
                    <a:lnTo>
                      <a:pt x="81" y="462"/>
                    </a:lnTo>
                    <a:lnTo>
                      <a:pt x="84" y="464"/>
                    </a:lnTo>
                    <a:lnTo>
                      <a:pt x="84" y="464"/>
                    </a:lnTo>
                    <a:lnTo>
                      <a:pt x="77" y="466"/>
                    </a:lnTo>
                    <a:lnTo>
                      <a:pt x="73" y="468"/>
                    </a:lnTo>
                    <a:lnTo>
                      <a:pt x="70" y="468"/>
                    </a:lnTo>
                    <a:lnTo>
                      <a:pt x="69" y="470"/>
                    </a:lnTo>
                    <a:lnTo>
                      <a:pt x="68" y="470"/>
                    </a:lnTo>
                    <a:lnTo>
                      <a:pt x="69" y="473"/>
                    </a:lnTo>
                    <a:lnTo>
                      <a:pt x="66" y="480"/>
                    </a:lnTo>
                    <a:lnTo>
                      <a:pt x="65" y="480"/>
                    </a:lnTo>
                    <a:lnTo>
                      <a:pt x="64" y="481"/>
                    </a:lnTo>
                    <a:lnTo>
                      <a:pt x="60" y="480"/>
                    </a:lnTo>
                    <a:lnTo>
                      <a:pt x="58" y="479"/>
                    </a:lnTo>
                    <a:lnTo>
                      <a:pt x="56" y="477"/>
                    </a:lnTo>
                    <a:lnTo>
                      <a:pt x="56" y="477"/>
                    </a:lnTo>
                    <a:lnTo>
                      <a:pt x="57" y="481"/>
                    </a:lnTo>
                    <a:lnTo>
                      <a:pt x="60" y="485"/>
                    </a:lnTo>
                    <a:lnTo>
                      <a:pt x="58" y="485"/>
                    </a:lnTo>
                    <a:lnTo>
                      <a:pt x="53" y="480"/>
                    </a:lnTo>
                    <a:lnTo>
                      <a:pt x="53" y="479"/>
                    </a:lnTo>
                    <a:lnTo>
                      <a:pt x="53" y="479"/>
                    </a:lnTo>
                    <a:lnTo>
                      <a:pt x="49" y="474"/>
                    </a:lnTo>
                    <a:lnTo>
                      <a:pt x="46" y="470"/>
                    </a:lnTo>
                    <a:lnTo>
                      <a:pt x="43" y="470"/>
                    </a:lnTo>
                    <a:lnTo>
                      <a:pt x="43" y="469"/>
                    </a:lnTo>
                    <a:lnTo>
                      <a:pt x="43" y="469"/>
                    </a:lnTo>
                    <a:lnTo>
                      <a:pt x="41" y="465"/>
                    </a:lnTo>
                    <a:lnTo>
                      <a:pt x="38" y="462"/>
                    </a:lnTo>
                    <a:lnTo>
                      <a:pt x="42" y="461"/>
                    </a:lnTo>
                    <a:lnTo>
                      <a:pt x="37" y="458"/>
                    </a:lnTo>
                    <a:lnTo>
                      <a:pt x="37" y="461"/>
                    </a:lnTo>
                    <a:lnTo>
                      <a:pt x="30" y="455"/>
                    </a:lnTo>
                    <a:lnTo>
                      <a:pt x="28" y="455"/>
                    </a:lnTo>
                    <a:lnTo>
                      <a:pt x="28" y="455"/>
                    </a:lnTo>
                    <a:lnTo>
                      <a:pt x="23" y="450"/>
                    </a:lnTo>
                    <a:lnTo>
                      <a:pt x="22" y="447"/>
                    </a:lnTo>
                    <a:lnTo>
                      <a:pt x="20" y="445"/>
                    </a:lnTo>
                    <a:lnTo>
                      <a:pt x="22" y="442"/>
                    </a:lnTo>
                    <a:lnTo>
                      <a:pt x="22" y="442"/>
                    </a:lnTo>
                    <a:lnTo>
                      <a:pt x="18" y="441"/>
                    </a:lnTo>
                    <a:lnTo>
                      <a:pt x="15" y="438"/>
                    </a:lnTo>
                    <a:lnTo>
                      <a:pt x="15" y="438"/>
                    </a:lnTo>
                    <a:lnTo>
                      <a:pt x="9" y="435"/>
                    </a:lnTo>
                    <a:lnTo>
                      <a:pt x="4" y="431"/>
                    </a:lnTo>
                    <a:lnTo>
                      <a:pt x="4" y="431"/>
                    </a:lnTo>
                    <a:lnTo>
                      <a:pt x="1" y="427"/>
                    </a:lnTo>
                    <a:lnTo>
                      <a:pt x="1" y="422"/>
                    </a:lnTo>
                    <a:lnTo>
                      <a:pt x="0" y="420"/>
                    </a:lnTo>
                    <a:lnTo>
                      <a:pt x="0" y="420"/>
                    </a:lnTo>
                    <a:lnTo>
                      <a:pt x="4" y="419"/>
                    </a:lnTo>
                    <a:lnTo>
                      <a:pt x="7" y="417"/>
                    </a:lnTo>
                    <a:lnTo>
                      <a:pt x="8" y="416"/>
                    </a:lnTo>
                    <a:lnTo>
                      <a:pt x="8" y="416"/>
                    </a:lnTo>
                    <a:lnTo>
                      <a:pt x="14" y="420"/>
                    </a:lnTo>
                    <a:lnTo>
                      <a:pt x="18" y="422"/>
                    </a:lnTo>
                    <a:lnTo>
                      <a:pt x="19" y="424"/>
                    </a:lnTo>
                    <a:lnTo>
                      <a:pt x="19" y="432"/>
                    </a:lnTo>
                    <a:lnTo>
                      <a:pt x="20" y="434"/>
                    </a:lnTo>
                    <a:lnTo>
                      <a:pt x="22" y="434"/>
                    </a:lnTo>
                    <a:lnTo>
                      <a:pt x="23" y="432"/>
                    </a:lnTo>
                    <a:lnTo>
                      <a:pt x="20" y="428"/>
                    </a:lnTo>
                    <a:lnTo>
                      <a:pt x="20" y="428"/>
                    </a:lnTo>
                    <a:lnTo>
                      <a:pt x="24" y="427"/>
                    </a:lnTo>
                    <a:lnTo>
                      <a:pt x="28" y="426"/>
                    </a:lnTo>
                    <a:lnTo>
                      <a:pt x="31" y="424"/>
                    </a:lnTo>
                    <a:lnTo>
                      <a:pt x="34" y="420"/>
                    </a:lnTo>
                    <a:lnTo>
                      <a:pt x="34" y="420"/>
                    </a:lnTo>
                    <a:lnTo>
                      <a:pt x="37" y="420"/>
                    </a:lnTo>
                    <a:lnTo>
                      <a:pt x="39" y="419"/>
                    </a:lnTo>
                    <a:lnTo>
                      <a:pt x="41" y="417"/>
                    </a:lnTo>
                    <a:lnTo>
                      <a:pt x="42" y="415"/>
                    </a:lnTo>
                    <a:lnTo>
                      <a:pt x="46" y="413"/>
                    </a:lnTo>
                    <a:lnTo>
                      <a:pt x="46" y="413"/>
                    </a:lnTo>
                    <a:lnTo>
                      <a:pt x="46" y="408"/>
                    </a:lnTo>
                    <a:lnTo>
                      <a:pt x="47" y="407"/>
                    </a:lnTo>
                    <a:lnTo>
                      <a:pt x="49" y="405"/>
                    </a:lnTo>
                    <a:lnTo>
                      <a:pt x="49" y="401"/>
                    </a:lnTo>
                    <a:lnTo>
                      <a:pt x="50" y="400"/>
                    </a:lnTo>
                    <a:lnTo>
                      <a:pt x="51" y="400"/>
                    </a:lnTo>
                    <a:lnTo>
                      <a:pt x="53" y="403"/>
                    </a:lnTo>
                    <a:lnTo>
                      <a:pt x="53" y="403"/>
                    </a:lnTo>
                    <a:lnTo>
                      <a:pt x="58" y="401"/>
                    </a:lnTo>
                    <a:lnTo>
                      <a:pt x="62" y="398"/>
                    </a:lnTo>
                    <a:lnTo>
                      <a:pt x="64" y="397"/>
                    </a:lnTo>
                    <a:lnTo>
                      <a:pt x="66" y="398"/>
                    </a:lnTo>
                    <a:lnTo>
                      <a:pt x="65" y="400"/>
                    </a:lnTo>
                    <a:lnTo>
                      <a:pt x="65" y="401"/>
                    </a:lnTo>
                    <a:lnTo>
                      <a:pt x="69" y="400"/>
                    </a:lnTo>
                    <a:lnTo>
                      <a:pt x="69" y="397"/>
                    </a:lnTo>
                    <a:lnTo>
                      <a:pt x="77" y="403"/>
                    </a:lnTo>
                    <a:lnTo>
                      <a:pt x="81" y="398"/>
                    </a:lnTo>
                    <a:lnTo>
                      <a:pt x="61" y="389"/>
                    </a:lnTo>
                    <a:lnTo>
                      <a:pt x="61" y="386"/>
                    </a:lnTo>
                    <a:lnTo>
                      <a:pt x="66" y="382"/>
                    </a:lnTo>
                    <a:lnTo>
                      <a:pt x="65" y="380"/>
                    </a:lnTo>
                    <a:lnTo>
                      <a:pt x="66" y="378"/>
                    </a:lnTo>
                    <a:lnTo>
                      <a:pt x="69" y="378"/>
                    </a:lnTo>
                    <a:lnTo>
                      <a:pt x="69" y="378"/>
                    </a:lnTo>
                    <a:lnTo>
                      <a:pt x="73" y="375"/>
                    </a:lnTo>
                    <a:lnTo>
                      <a:pt x="77" y="374"/>
                    </a:lnTo>
                    <a:lnTo>
                      <a:pt x="77" y="374"/>
                    </a:lnTo>
                    <a:lnTo>
                      <a:pt x="85" y="375"/>
                    </a:lnTo>
                    <a:lnTo>
                      <a:pt x="88" y="377"/>
                    </a:lnTo>
                    <a:lnTo>
                      <a:pt x="92" y="378"/>
                    </a:lnTo>
                    <a:lnTo>
                      <a:pt x="91" y="378"/>
                    </a:lnTo>
                    <a:lnTo>
                      <a:pt x="92" y="380"/>
                    </a:lnTo>
                    <a:lnTo>
                      <a:pt x="96" y="378"/>
                    </a:lnTo>
                    <a:lnTo>
                      <a:pt x="100" y="381"/>
                    </a:lnTo>
                    <a:lnTo>
                      <a:pt x="102" y="380"/>
                    </a:lnTo>
                    <a:lnTo>
                      <a:pt x="100" y="378"/>
                    </a:lnTo>
                    <a:lnTo>
                      <a:pt x="102" y="377"/>
                    </a:lnTo>
                    <a:lnTo>
                      <a:pt x="113" y="380"/>
                    </a:lnTo>
                    <a:lnTo>
                      <a:pt x="113" y="378"/>
                    </a:lnTo>
                    <a:lnTo>
                      <a:pt x="113" y="378"/>
                    </a:lnTo>
                    <a:lnTo>
                      <a:pt x="104" y="375"/>
                    </a:lnTo>
                    <a:lnTo>
                      <a:pt x="98" y="370"/>
                    </a:lnTo>
                    <a:lnTo>
                      <a:pt x="98" y="370"/>
                    </a:lnTo>
                    <a:lnTo>
                      <a:pt x="98" y="367"/>
                    </a:lnTo>
                    <a:lnTo>
                      <a:pt x="95" y="365"/>
                    </a:lnTo>
                    <a:lnTo>
                      <a:pt x="95" y="365"/>
                    </a:lnTo>
                    <a:lnTo>
                      <a:pt x="100" y="365"/>
                    </a:lnTo>
                    <a:lnTo>
                      <a:pt x="103" y="365"/>
                    </a:lnTo>
                    <a:lnTo>
                      <a:pt x="104" y="363"/>
                    </a:lnTo>
                    <a:lnTo>
                      <a:pt x="102" y="359"/>
                    </a:lnTo>
                    <a:lnTo>
                      <a:pt x="100" y="361"/>
                    </a:lnTo>
                    <a:lnTo>
                      <a:pt x="99" y="362"/>
                    </a:lnTo>
                    <a:lnTo>
                      <a:pt x="94" y="361"/>
                    </a:lnTo>
                    <a:lnTo>
                      <a:pt x="92" y="362"/>
                    </a:lnTo>
                    <a:lnTo>
                      <a:pt x="89" y="361"/>
                    </a:lnTo>
                    <a:lnTo>
                      <a:pt x="89" y="359"/>
                    </a:lnTo>
                    <a:lnTo>
                      <a:pt x="89" y="359"/>
                    </a:lnTo>
                    <a:lnTo>
                      <a:pt x="79" y="358"/>
                    </a:lnTo>
                    <a:lnTo>
                      <a:pt x="79" y="356"/>
                    </a:lnTo>
                    <a:lnTo>
                      <a:pt x="79" y="356"/>
                    </a:lnTo>
                    <a:lnTo>
                      <a:pt x="81" y="354"/>
                    </a:lnTo>
                    <a:lnTo>
                      <a:pt x="83" y="350"/>
                    </a:lnTo>
                    <a:lnTo>
                      <a:pt x="81" y="350"/>
                    </a:lnTo>
                    <a:lnTo>
                      <a:pt x="81" y="350"/>
                    </a:lnTo>
                    <a:lnTo>
                      <a:pt x="79" y="352"/>
                    </a:lnTo>
                    <a:lnTo>
                      <a:pt x="76" y="355"/>
                    </a:lnTo>
                    <a:lnTo>
                      <a:pt x="75" y="355"/>
                    </a:lnTo>
                    <a:lnTo>
                      <a:pt x="75" y="352"/>
                    </a:lnTo>
                    <a:lnTo>
                      <a:pt x="73" y="351"/>
                    </a:lnTo>
                    <a:lnTo>
                      <a:pt x="70" y="352"/>
                    </a:lnTo>
                    <a:lnTo>
                      <a:pt x="68" y="350"/>
                    </a:lnTo>
                    <a:lnTo>
                      <a:pt x="64" y="350"/>
                    </a:lnTo>
                    <a:lnTo>
                      <a:pt x="61" y="347"/>
                    </a:lnTo>
                    <a:lnTo>
                      <a:pt x="60" y="350"/>
                    </a:lnTo>
                    <a:lnTo>
                      <a:pt x="58" y="350"/>
                    </a:lnTo>
                    <a:lnTo>
                      <a:pt x="57" y="347"/>
                    </a:lnTo>
                    <a:lnTo>
                      <a:pt x="53" y="346"/>
                    </a:lnTo>
                    <a:lnTo>
                      <a:pt x="46" y="340"/>
                    </a:lnTo>
                    <a:lnTo>
                      <a:pt x="45" y="340"/>
                    </a:lnTo>
                    <a:lnTo>
                      <a:pt x="45" y="342"/>
                    </a:lnTo>
                    <a:lnTo>
                      <a:pt x="49" y="344"/>
                    </a:lnTo>
                    <a:lnTo>
                      <a:pt x="49" y="346"/>
                    </a:lnTo>
                    <a:lnTo>
                      <a:pt x="47" y="347"/>
                    </a:lnTo>
                    <a:lnTo>
                      <a:pt x="43" y="346"/>
                    </a:lnTo>
                    <a:lnTo>
                      <a:pt x="43" y="346"/>
                    </a:lnTo>
                    <a:lnTo>
                      <a:pt x="39" y="347"/>
                    </a:lnTo>
                    <a:lnTo>
                      <a:pt x="35" y="346"/>
                    </a:lnTo>
                    <a:lnTo>
                      <a:pt x="31" y="344"/>
                    </a:lnTo>
                    <a:lnTo>
                      <a:pt x="28" y="342"/>
                    </a:lnTo>
                    <a:lnTo>
                      <a:pt x="27" y="336"/>
                    </a:lnTo>
                    <a:lnTo>
                      <a:pt x="24" y="337"/>
                    </a:lnTo>
                    <a:lnTo>
                      <a:pt x="24" y="339"/>
                    </a:lnTo>
                    <a:lnTo>
                      <a:pt x="23" y="340"/>
                    </a:lnTo>
                    <a:lnTo>
                      <a:pt x="23" y="340"/>
                    </a:lnTo>
                    <a:lnTo>
                      <a:pt x="20" y="337"/>
                    </a:lnTo>
                    <a:lnTo>
                      <a:pt x="18" y="335"/>
                    </a:lnTo>
                    <a:lnTo>
                      <a:pt x="19" y="331"/>
                    </a:lnTo>
                    <a:lnTo>
                      <a:pt x="18" y="328"/>
                    </a:lnTo>
                    <a:lnTo>
                      <a:pt x="19" y="327"/>
                    </a:lnTo>
                    <a:lnTo>
                      <a:pt x="15" y="321"/>
                    </a:lnTo>
                    <a:lnTo>
                      <a:pt x="12" y="323"/>
                    </a:lnTo>
                    <a:lnTo>
                      <a:pt x="11" y="327"/>
                    </a:lnTo>
                    <a:lnTo>
                      <a:pt x="9" y="327"/>
                    </a:lnTo>
                    <a:lnTo>
                      <a:pt x="7" y="325"/>
                    </a:lnTo>
                    <a:lnTo>
                      <a:pt x="8" y="321"/>
                    </a:lnTo>
                    <a:lnTo>
                      <a:pt x="15" y="318"/>
                    </a:lnTo>
                    <a:lnTo>
                      <a:pt x="16" y="316"/>
                    </a:lnTo>
                    <a:lnTo>
                      <a:pt x="15" y="312"/>
                    </a:lnTo>
                    <a:lnTo>
                      <a:pt x="18" y="306"/>
                    </a:lnTo>
                    <a:lnTo>
                      <a:pt x="22" y="308"/>
                    </a:lnTo>
                    <a:lnTo>
                      <a:pt x="24" y="310"/>
                    </a:lnTo>
                    <a:lnTo>
                      <a:pt x="26" y="313"/>
                    </a:lnTo>
                    <a:lnTo>
                      <a:pt x="28" y="314"/>
                    </a:lnTo>
                    <a:lnTo>
                      <a:pt x="28" y="313"/>
                    </a:lnTo>
                    <a:lnTo>
                      <a:pt x="28" y="313"/>
                    </a:lnTo>
                    <a:lnTo>
                      <a:pt x="28" y="309"/>
                    </a:lnTo>
                    <a:lnTo>
                      <a:pt x="30" y="306"/>
                    </a:lnTo>
                    <a:lnTo>
                      <a:pt x="32" y="302"/>
                    </a:lnTo>
                    <a:lnTo>
                      <a:pt x="32" y="302"/>
                    </a:lnTo>
                    <a:lnTo>
                      <a:pt x="35" y="299"/>
                    </a:lnTo>
                    <a:lnTo>
                      <a:pt x="42" y="297"/>
                    </a:lnTo>
                    <a:lnTo>
                      <a:pt x="53" y="293"/>
                    </a:lnTo>
                    <a:lnTo>
                      <a:pt x="53" y="293"/>
                    </a:lnTo>
                    <a:lnTo>
                      <a:pt x="57" y="293"/>
                    </a:lnTo>
                    <a:lnTo>
                      <a:pt x="60" y="294"/>
                    </a:lnTo>
                    <a:lnTo>
                      <a:pt x="60" y="294"/>
                    </a:lnTo>
                    <a:lnTo>
                      <a:pt x="62" y="291"/>
                    </a:lnTo>
                    <a:lnTo>
                      <a:pt x="65" y="290"/>
                    </a:lnTo>
                    <a:lnTo>
                      <a:pt x="65" y="290"/>
                    </a:lnTo>
                    <a:lnTo>
                      <a:pt x="69" y="289"/>
                    </a:lnTo>
                    <a:lnTo>
                      <a:pt x="72" y="287"/>
                    </a:lnTo>
                    <a:lnTo>
                      <a:pt x="80" y="289"/>
                    </a:lnTo>
                    <a:lnTo>
                      <a:pt x="81" y="287"/>
                    </a:lnTo>
                    <a:lnTo>
                      <a:pt x="79" y="286"/>
                    </a:lnTo>
                    <a:lnTo>
                      <a:pt x="79" y="286"/>
                    </a:lnTo>
                    <a:lnTo>
                      <a:pt x="68" y="287"/>
                    </a:lnTo>
                    <a:lnTo>
                      <a:pt x="56" y="289"/>
                    </a:lnTo>
                    <a:lnTo>
                      <a:pt x="45" y="293"/>
                    </a:lnTo>
                    <a:lnTo>
                      <a:pt x="35" y="298"/>
                    </a:lnTo>
                    <a:lnTo>
                      <a:pt x="32" y="298"/>
                    </a:lnTo>
                    <a:lnTo>
                      <a:pt x="32" y="295"/>
                    </a:lnTo>
                    <a:lnTo>
                      <a:pt x="28" y="297"/>
                    </a:lnTo>
                    <a:lnTo>
                      <a:pt x="28" y="294"/>
                    </a:lnTo>
                    <a:lnTo>
                      <a:pt x="26" y="293"/>
                    </a:lnTo>
                    <a:lnTo>
                      <a:pt x="26" y="290"/>
                    </a:lnTo>
                    <a:lnTo>
                      <a:pt x="28" y="290"/>
                    </a:lnTo>
                    <a:lnTo>
                      <a:pt x="31" y="287"/>
                    </a:lnTo>
                    <a:lnTo>
                      <a:pt x="37" y="289"/>
                    </a:lnTo>
                    <a:lnTo>
                      <a:pt x="39" y="287"/>
                    </a:lnTo>
                    <a:lnTo>
                      <a:pt x="39" y="286"/>
                    </a:lnTo>
                    <a:lnTo>
                      <a:pt x="37" y="285"/>
                    </a:lnTo>
                    <a:lnTo>
                      <a:pt x="32" y="286"/>
                    </a:lnTo>
                    <a:lnTo>
                      <a:pt x="31" y="285"/>
                    </a:lnTo>
                    <a:lnTo>
                      <a:pt x="28" y="286"/>
                    </a:lnTo>
                    <a:lnTo>
                      <a:pt x="27" y="286"/>
                    </a:lnTo>
                    <a:lnTo>
                      <a:pt x="27" y="280"/>
                    </a:lnTo>
                    <a:lnTo>
                      <a:pt x="30" y="279"/>
                    </a:lnTo>
                    <a:lnTo>
                      <a:pt x="32" y="279"/>
                    </a:lnTo>
                    <a:lnTo>
                      <a:pt x="34" y="276"/>
                    </a:lnTo>
                    <a:lnTo>
                      <a:pt x="41" y="275"/>
                    </a:lnTo>
                    <a:lnTo>
                      <a:pt x="37" y="274"/>
                    </a:lnTo>
                    <a:lnTo>
                      <a:pt x="37" y="270"/>
                    </a:lnTo>
                    <a:lnTo>
                      <a:pt x="32" y="274"/>
                    </a:lnTo>
                    <a:lnTo>
                      <a:pt x="23" y="278"/>
                    </a:lnTo>
                    <a:lnTo>
                      <a:pt x="26" y="279"/>
                    </a:lnTo>
                    <a:lnTo>
                      <a:pt x="24" y="280"/>
                    </a:lnTo>
                    <a:lnTo>
                      <a:pt x="16" y="279"/>
                    </a:lnTo>
                    <a:lnTo>
                      <a:pt x="18" y="278"/>
                    </a:lnTo>
                    <a:lnTo>
                      <a:pt x="12" y="276"/>
                    </a:lnTo>
                    <a:lnTo>
                      <a:pt x="12" y="275"/>
                    </a:lnTo>
                    <a:lnTo>
                      <a:pt x="11" y="272"/>
                    </a:lnTo>
                    <a:lnTo>
                      <a:pt x="12" y="270"/>
                    </a:lnTo>
                    <a:lnTo>
                      <a:pt x="11" y="268"/>
                    </a:lnTo>
                    <a:lnTo>
                      <a:pt x="11" y="260"/>
                    </a:lnTo>
                    <a:lnTo>
                      <a:pt x="8" y="256"/>
                    </a:lnTo>
                    <a:lnTo>
                      <a:pt x="8" y="256"/>
                    </a:lnTo>
                    <a:lnTo>
                      <a:pt x="8" y="252"/>
                    </a:lnTo>
                    <a:lnTo>
                      <a:pt x="8" y="249"/>
                    </a:lnTo>
                    <a:lnTo>
                      <a:pt x="0" y="242"/>
                    </a:lnTo>
                    <a:lnTo>
                      <a:pt x="0" y="241"/>
                    </a:lnTo>
                    <a:lnTo>
                      <a:pt x="0" y="238"/>
                    </a:lnTo>
                    <a:lnTo>
                      <a:pt x="0" y="238"/>
                    </a:lnTo>
                    <a:lnTo>
                      <a:pt x="1" y="236"/>
                    </a:lnTo>
                    <a:lnTo>
                      <a:pt x="4" y="232"/>
                    </a:lnTo>
                    <a:lnTo>
                      <a:pt x="5" y="234"/>
                    </a:lnTo>
                    <a:lnTo>
                      <a:pt x="5" y="233"/>
                    </a:lnTo>
                    <a:lnTo>
                      <a:pt x="8" y="229"/>
                    </a:lnTo>
                    <a:lnTo>
                      <a:pt x="7" y="225"/>
                    </a:lnTo>
                    <a:lnTo>
                      <a:pt x="7" y="225"/>
                    </a:lnTo>
                    <a:lnTo>
                      <a:pt x="9" y="226"/>
                    </a:lnTo>
                    <a:lnTo>
                      <a:pt x="12" y="224"/>
                    </a:lnTo>
                    <a:lnTo>
                      <a:pt x="12" y="221"/>
                    </a:lnTo>
                    <a:lnTo>
                      <a:pt x="14" y="221"/>
                    </a:lnTo>
                    <a:lnTo>
                      <a:pt x="14" y="218"/>
                    </a:lnTo>
                    <a:lnTo>
                      <a:pt x="16" y="217"/>
                    </a:lnTo>
                    <a:lnTo>
                      <a:pt x="11" y="213"/>
                    </a:lnTo>
                    <a:lnTo>
                      <a:pt x="12" y="210"/>
                    </a:lnTo>
                    <a:lnTo>
                      <a:pt x="8" y="209"/>
                    </a:lnTo>
                    <a:lnTo>
                      <a:pt x="8" y="209"/>
                    </a:lnTo>
                    <a:lnTo>
                      <a:pt x="11" y="205"/>
                    </a:lnTo>
                    <a:lnTo>
                      <a:pt x="14" y="202"/>
                    </a:lnTo>
                    <a:lnTo>
                      <a:pt x="19" y="202"/>
                    </a:lnTo>
                    <a:lnTo>
                      <a:pt x="18" y="205"/>
                    </a:lnTo>
                    <a:lnTo>
                      <a:pt x="18" y="205"/>
                    </a:lnTo>
                    <a:lnTo>
                      <a:pt x="23" y="206"/>
                    </a:lnTo>
                    <a:lnTo>
                      <a:pt x="27" y="207"/>
                    </a:lnTo>
                    <a:lnTo>
                      <a:pt x="28" y="205"/>
                    </a:lnTo>
                    <a:lnTo>
                      <a:pt x="28" y="205"/>
                    </a:lnTo>
                    <a:lnTo>
                      <a:pt x="30" y="205"/>
                    </a:lnTo>
                    <a:lnTo>
                      <a:pt x="30" y="207"/>
                    </a:lnTo>
                    <a:lnTo>
                      <a:pt x="30" y="207"/>
                    </a:lnTo>
                    <a:lnTo>
                      <a:pt x="32" y="210"/>
                    </a:lnTo>
                    <a:lnTo>
                      <a:pt x="32" y="210"/>
                    </a:lnTo>
                    <a:lnTo>
                      <a:pt x="32" y="207"/>
                    </a:lnTo>
                    <a:lnTo>
                      <a:pt x="34" y="206"/>
                    </a:lnTo>
                    <a:lnTo>
                      <a:pt x="37" y="203"/>
                    </a:lnTo>
                    <a:lnTo>
                      <a:pt x="39" y="203"/>
                    </a:lnTo>
                    <a:lnTo>
                      <a:pt x="42" y="206"/>
                    </a:lnTo>
                    <a:lnTo>
                      <a:pt x="43" y="205"/>
                    </a:lnTo>
                    <a:lnTo>
                      <a:pt x="42" y="203"/>
                    </a:lnTo>
                    <a:lnTo>
                      <a:pt x="41" y="200"/>
                    </a:lnTo>
                    <a:lnTo>
                      <a:pt x="38" y="200"/>
                    </a:lnTo>
                    <a:lnTo>
                      <a:pt x="38" y="199"/>
                    </a:lnTo>
                    <a:lnTo>
                      <a:pt x="37" y="199"/>
                    </a:lnTo>
                    <a:lnTo>
                      <a:pt x="32" y="202"/>
                    </a:lnTo>
                    <a:lnTo>
                      <a:pt x="30" y="198"/>
                    </a:lnTo>
                    <a:lnTo>
                      <a:pt x="24" y="198"/>
                    </a:lnTo>
                    <a:lnTo>
                      <a:pt x="26" y="191"/>
                    </a:lnTo>
                    <a:lnTo>
                      <a:pt x="28" y="190"/>
                    </a:lnTo>
                    <a:lnTo>
                      <a:pt x="28" y="188"/>
                    </a:lnTo>
                    <a:lnTo>
                      <a:pt x="27" y="188"/>
                    </a:lnTo>
                    <a:lnTo>
                      <a:pt x="27" y="187"/>
                    </a:lnTo>
                    <a:lnTo>
                      <a:pt x="30" y="183"/>
                    </a:lnTo>
                    <a:lnTo>
                      <a:pt x="28" y="181"/>
                    </a:lnTo>
                    <a:lnTo>
                      <a:pt x="30" y="175"/>
                    </a:lnTo>
                    <a:lnTo>
                      <a:pt x="32" y="175"/>
                    </a:lnTo>
                    <a:lnTo>
                      <a:pt x="32" y="171"/>
                    </a:lnTo>
                    <a:lnTo>
                      <a:pt x="37" y="168"/>
                    </a:lnTo>
                    <a:lnTo>
                      <a:pt x="39" y="168"/>
                    </a:lnTo>
                    <a:lnTo>
                      <a:pt x="38" y="175"/>
                    </a:lnTo>
                    <a:lnTo>
                      <a:pt x="39" y="175"/>
                    </a:lnTo>
                    <a:lnTo>
                      <a:pt x="43" y="173"/>
                    </a:lnTo>
                    <a:lnTo>
                      <a:pt x="49" y="173"/>
                    </a:lnTo>
                    <a:lnTo>
                      <a:pt x="50" y="177"/>
                    </a:lnTo>
                    <a:lnTo>
                      <a:pt x="53" y="179"/>
                    </a:lnTo>
                    <a:lnTo>
                      <a:pt x="53" y="180"/>
                    </a:lnTo>
                    <a:lnTo>
                      <a:pt x="58" y="183"/>
                    </a:lnTo>
                    <a:lnTo>
                      <a:pt x="60" y="181"/>
                    </a:lnTo>
                    <a:lnTo>
                      <a:pt x="58" y="176"/>
                    </a:lnTo>
                    <a:lnTo>
                      <a:pt x="61" y="175"/>
                    </a:lnTo>
                    <a:lnTo>
                      <a:pt x="62" y="173"/>
                    </a:lnTo>
                    <a:lnTo>
                      <a:pt x="64" y="175"/>
                    </a:lnTo>
                    <a:lnTo>
                      <a:pt x="64" y="175"/>
                    </a:lnTo>
                    <a:lnTo>
                      <a:pt x="65" y="176"/>
                    </a:lnTo>
                    <a:lnTo>
                      <a:pt x="65" y="179"/>
                    </a:lnTo>
                    <a:lnTo>
                      <a:pt x="69" y="181"/>
                    </a:lnTo>
                    <a:lnTo>
                      <a:pt x="69" y="184"/>
                    </a:lnTo>
                    <a:lnTo>
                      <a:pt x="76" y="186"/>
                    </a:lnTo>
                    <a:lnTo>
                      <a:pt x="77" y="184"/>
                    </a:lnTo>
                    <a:lnTo>
                      <a:pt x="81" y="187"/>
                    </a:lnTo>
                    <a:lnTo>
                      <a:pt x="80" y="188"/>
                    </a:lnTo>
                    <a:lnTo>
                      <a:pt x="80" y="192"/>
                    </a:lnTo>
                    <a:lnTo>
                      <a:pt x="80" y="192"/>
                    </a:lnTo>
                    <a:lnTo>
                      <a:pt x="79" y="194"/>
                    </a:lnTo>
                    <a:lnTo>
                      <a:pt x="75" y="194"/>
                    </a:lnTo>
                    <a:lnTo>
                      <a:pt x="68" y="192"/>
                    </a:lnTo>
                    <a:lnTo>
                      <a:pt x="68" y="195"/>
                    </a:lnTo>
                    <a:lnTo>
                      <a:pt x="66" y="195"/>
                    </a:lnTo>
                    <a:lnTo>
                      <a:pt x="65" y="194"/>
                    </a:lnTo>
                    <a:lnTo>
                      <a:pt x="62" y="191"/>
                    </a:lnTo>
                    <a:lnTo>
                      <a:pt x="61" y="192"/>
                    </a:lnTo>
                    <a:lnTo>
                      <a:pt x="61" y="192"/>
                    </a:lnTo>
                    <a:lnTo>
                      <a:pt x="61" y="192"/>
                    </a:lnTo>
                    <a:lnTo>
                      <a:pt x="68" y="199"/>
                    </a:lnTo>
                    <a:lnTo>
                      <a:pt x="73" y="202"/>
                    </a:lnTo>
                    <a:lnTo>
                      <a:pt x="77" y="203"/>
                    </a:lnTo>
                    <a:lnTo>
                      <a:pt x="80" y="203"/>
                    </a:lnTo>
                    <a:lnTo>
                      <a:pt x="80" y="205"/>
                    </a:lnTo>
                    <a:lnTo>
                      <a:pt x="84" y="203"/>
                    </a:lnTo>
                    <a:lnTo>
                      <a:pt x="85" y="203"/>
                    </a:lnTo>
                    <a:lnTo>
                      <a:pt x="88" y="214"/>
                    </a:lnTo>
                    <a:lnTo>
                      <a:pt x="88" y="214"/>
                    </a:lnTo>
                    <a:lnTo>
                      <a:pt x="87" y="219"/>
                    </a:lnTo>
                    <a:lnTo>
                      <a:pt x="87" y="222"/>
                    </a:lnTo>
                    <a:lnTo>
                      <a:pt x="88" y="229"/>
                    </a:lnTo>
                    <a:lnTo>
                      <a:pt x="91" y="234"/>
                    </a:lnTo>
                    <a:lnTo>
                      <a:pt x="92" y="237"/>
                    </a:lnTo>
                    <a:lnTo>
                      <a:pt x="92" y="241"/>
                    </a:lnTo>
                    <a:lnTo>
                      <a:pt x="98" y="248"/>
                    </a:lnTo>
                    <a:lnTo>
                      <a:pt x="98" y="248"/>
                    </a:lnTo>
                    <a:lnTo>
                      <a:pt x="96" y="240"/>
                    </a:lnTo>
                    <a:lnTo>
                      <a:pt x="95" y="236"/>
                    </a:lnTo>
                    <a:lnTo>
                      <a:pt x="95" y="236"/>
                    </a:lnTo>
                    <a:lnTo>
                      <a:pt x="91" y="228"/>
                    </a:lnTo>
                    <a:lnTo>
                      <a:pt x="89" y="222"/>
                    </a:lnTo>
                    <a:lnTo>
                      <a:pt x="89" y="219"/>
                    </a:lnTo>
                    <a:lnTo>
                      <a:pt x="91" y="218"/>
                    </a:lnTo>
                    <a:lnTo>
                      <a:pt x="89" y="217"/>
                    </a:lnTo>
                    <a:lnTo>
                      <a:pt x="89" y="217"/>
                    </a:lnTo>
                    <a:lnTo>
                      <a:pt x="89" y="213"/>
                    </a:lnTo>
                    <a:lnTo>
                      <a:pt x="94" y="214"/>
                    </a:lnTo>
                    <a:lnTo>
                      <a:pt x="95" y="213"/>
                    </a:lnTo>
                    <a:lnTo>
                      <a:pt x="91" y="207"/>
                    </a:lnTo>
                    <a:lnTo>
                      <a:pt x="91" y="203"/>
                    </a:lnTo>
                    <a:lnTo>
                      <a:pt x="92" y="202"/>
                    </a:lnTo>
                    <a:lnTo>
                      <a:pt x="94" y="202"/>
                    </a:lnTo>
                    <a:lnTo>
                      <a:pt x="94" y="205"/>
                    </a:lnTo>
                    <a:lnTo>
                      <a:pt x="98" y="207"/>
                    </a:lnTo>
                    <a:lnTo>
                      <a:pt x="98" y="207"/>
                    </a:lnTo>
                    <a:lnTo>
                      <a:pt x="96" y="203"/>
                    </a:lnTo>
                    <a:lnTo>
                      <a:pt x="96" y="199"/>
                    </a:lnTo>
                    <a:lnTo>
                      <a:pt x="100" y="198"/>
                    </a:lnTo>
                    <a:lnTo>
                      <a:pt x="102" y="195"/>
                    </a:lnTo>
                    <a:lnTo>
                      <a:pt x="103" y="195"/>
                    </a:lnTo>
                    <a:lnTo>
                      <a:pt x="103" y="198"/>
                    </a:lnTo>
                    <a:lnTo>
                      <a:pt x="106" y="196"/>
                    </a:lnTo>
                    <a:lnTo>
                      <a:pt x="106" y="194"/>
                    </a:lnTo>
                    <a:lnTo>
                      <a:pt x="107" y="192"/>
                    </a:lnTo>
                    <a:lnTo>
                      <a:pt x="107" y="191"/>
                    </a:lnTo>
                    <a:lnTo>
                      <a:pt x="104" y="192"/>
                    </a:lnTo>
                    <a:lnTo>
                      <a:pt x="104" y="192"/>
                    </a:lnTo>
                    <a:lnTo>
                      <a:pt x="100" y="191"/>
                    </a:lnTo>
                    <a:lnTo>
                      <a:pt x="96" y="191"/>
                    </a:lnTo>
                    <a:lnTo>
                      <a:pt x="96" y="191"/>
                    </a:lnTo>
                    <a:lnTo>
                      <a:pt x="94" y="187"/>
                    </a:lnTo>
                    <a:lnTo>
                      <a:pt x="92" y="183"/>
                    </a:lnTo>
                    <a:lnTo>
                      <a:pt x="94" y="183"/>
                    </a:lnTo>
                    <a:lnTo>
                      <a:pt x="98" y="184"/>
                    </a:lnTo>
                    <a:lnTo>
                      <a:pt x="98" y="186"/>
                    </a:lnTo>
                    <a:lnTo>
                      <a:pt x="99" y="186"/>
                    </a:lnTo>
                    <a:lnTo>
                      <a:pt x="99" y="181"/>
                    </a:lnTo>
                    <a:lnTo>
                      <a:pt x="100" y="180"/>
                    </a:lnTo>
                    <a:lnTo>
                      <a:pt x="99" y="179"/>
                    </a:lnTo>
                    <a:lnTo>
                      <a:pt x="98" y="177"/>
                    </a:lnTo>
                    <a:lnTo>
                      <a:pt x="96" y="175"/>
                    </a:lnTo>
                    <a:lnTo>
                      <a:pt x="98" y="172"/>
                    </a:lnTo>
                    <a:lnTo>
                      <a:pt x="95" y="169"/>
                    </a:lnTo>
                    <a:lnTo>
                      <a:pt x="94" y="169"/>
                    </a:lnTo>
                    <a:lnTo>
                      <a:pt x="94" y="169"/>
                    </a:lnTo>
                    <a:lnTo>
                      <a:pt x="95" y="175"/>
                    </a:lnTo>
                    <a:lnTo>
                      <a:pt x="98" y="179"/>
                    </a:lnTo>
                    <a:lnTo>
                      <a:pt x="94" y="177"/>
                    </a:lnTo>
                    <a:lnTo>
                      <a:pt x="92" y="176"/>
                    </a:lnTo>
                    <a:lnTo>
                      <a:pt x="94" y="175"/>
                    </a:lnTo>
                    <a:lnTo>
                      <a:pt x="91" y="171"/>
                    </a:lnTo>
                    <a:lnTo>
                      <a:pt x="89" y="171"/>
                    </a:lnTo>
                    <a:lnTo>
                      <a:pt x="88" y="168"/>
                    </a:lnTo>
                    <a:lnTo>
                      <a:pt x="88" y="167"/>
                    </a:lnTo>
                    <a:lnTo>
                      <a:pt x="88" y="167"/>
                    </a:lnTo>
                    <a:lnTo>
                      <a:pt x="87" y="162"/>
                    </a:lnTo>
                    <a:lnTo>
                      <a:pt x="87" y="160"/>
                    </a:lnTo>
                    <a:lnTo>
                      <a:pt x="87" y="160"/>
                    </a:lnTo>
                    <a:lnTo>
                      <a:pt x="96" y="158"/>
                    </a:lnTo>
                    <a:lnTo>
                      <a:pt x="100" y="160"/>
                    </a:lnTo>
                    <a:lnTo>
                      <a:pt x="104" y="162"/>
                    </a:lnTo>
                    <a:lnTo>
                      <a:pt x="104" y="169"/>
                    </a:lnTo>
                    <a:lnTo>
                      <a:pt x="106" y="172"/>
                    </a:lnTo>
                    <a:lnTo>
                      <a:pt x="106" y="175"/>
                    </a:lnTo>
                    <a:lnTo>
                      <a:pt x="107" y="175"/>
                    </a:lnTo>
                    <a:lnTo>
                      <a:pt x="107" y="173"/>
                    </a:lnTo>
                    <a:lnTo>
                      <a:pt x="107" y="173"/>
                    </a:lnTo>
                    <a:lnTo>
                      <a:pt x="110" y="176"/>
                    </a:lnTo>
                    <a:lnTo>
                      <a:pt x="114" y="177"/>
                    </a:lnTo>
                    <a:lnTo>
                      <a:pt x="113" y="173"/>
                    </a:lnTo>
                    <a:lnTo>
                      <a:pt x="110" y="173"/>
                    </a:lnTo>
                    <a:lnTo>
                      <a:pt x="111" y="172"/>
                    </a:lnTo>
                    <a:lnTo>
                      <a:pt x="114" y="172"/>
                    </a:lnTo>
                    <a:lnTo>
                      <a:pt x="115" y="173"/>
                    </a:lnTo>
                    <a:lnTo>
                      <a:pt x="115" y="176"/>
                    </a:lnTo>
                    <a:lnTo>
                      <a:pt x="119" y="179"/>
                    </a:lnTo>
                    <a:lnTo>
                      <a:pt x="121" y="183"/>
                    </a:lnTo>
                    <a:lnTo>
                      <a:pt x="123" y="181"/>
                    </a:lnTo>
                    <a:lnTo>
                      <a:pt x="126" y="186"/>
                    </a:lnTo>
                    <a:lnTo>
                      <a:pt x="123" y="188"/>
                    </a:lnTo>
                    <a:lnTo>
                      <a:pt x="126" y="191"/>
                    </a:lnTo>
                    <a:lnTo>
                      <a:pt x="125" y="195"/>
                    </a:lnTo>
                    <a:lnTo>
                      <a:pt x="125" y="195"/>
                    </a:lnTo>
                    <a:lnTo>
                      <a:pt x="122" y="194"/>
                    </a:lnTo>
                    <a:lnTo>
                      <a:pt x="119" y="190"/>
                    </a:lnTo>
                    <a:lnTo>
                      <a:pt x="110" y="190"/>
                    </a:lnTo>
                    <a:lnTo>
                      <a:pt x="108" y="192"/>
                    </a:lnTo>
                    <a:lnTo>
                      <a:pt x="110" y="194"/>
                    </a:lnTo>
                    <a:lnTo>
                      <a:pt x="113" y="195"/>
                    </a:lnTo>
                    <a:lnTo>
                      <a:pt x="115" y="194"/>
                    </a:lnTo>
                    <a:lnTo>
                      <a:pt x="123" y="198"/>
                    </a:lnTo>
                    <a:lnTo>
                      <a:pt x="125" y="199"/>
                    </a:lnTo>
                    <a:lnTo>
                      <a:pt x="134" y="202"/>
                    </a:lnTo>
                    <a:lnTo>
                      <a:pt x="137" y="199"/>
                    </a:lnTo>
                    <a:lnTo>
                      <a:pt x="138" y="200"/>
                    </a:lnTo>
                    <a:lnTo>
                      <a:pt x="138" y="200"/>
                    </a:lnTo>
                    <a:lnTo>
                      <a:pt x="140" y="203"/>
                    </a:lnTo>
                    <a:lnTo>
                      <a:pt x="141" y="207"/>
                    </a:lnTo>
                    <a:lnTo>
                      <a:pt x="142" y="211"/>
                    </a:lnTo>
                    <a:lnTo>
                      <a:pt x="144" y="215"/>
                    </a:lnTo>
                    <a:lnTo>
                      <a:pt x="146" y="213"/>
                    </a:lnTo>
                    <a:lnTo>
                      <a:pt x="151" y="214"/>
                    </a:lnTo>
                    <a:lnTo>
                      <a:pt x="152" y="213"/>
                    </a:lnTo>
                    <a:lnTo>
                      <a:pt x="151" y="211"/>
                    </a:lnTo>
                    <a:lnTo>
                      <a:pt x="151" y="211"/>
                    </a:lnTo>
                    <a:lnTo>
                      <a:pt x="149" y="210"/>
                    </a:lnTo>
                    <a:lnTo>
                      <a:pt x="149" y="209"/>
                    </a:lnTo>
                    <a:lnTo>
                      <a:pt x="148" y="207"/>
                    </a:lnTo>
                    <a:lnTo>
                      <a:pt x="148" y="205"/>
                    </a:lnTo>
                    <a:lnTo>
                      <a:pt x="153" y="205"/>
                    </a:lnTo>
                    <a:lnTo>
                      <a:pt x="153" y="205"/>
                    </a:lnTo>
                    <a:lnTo>
                      <a:pt x="148" y="202"/>
                    </a:lnTo>
                    <a:lnTo>
                      <a:pt x="145" y="199"/>
                    </a:lnTo>
                    <a:lnTo>
                      <a:pt x="141" y="198"/>
                    </a:lnTo>
                    <a:lnTo>
                      <a:pt x="140" y="199"/>
                    </a:lnTo>
                    <a:lnTo>
                      <a:pt x="136" y="195"/>
                    </a:lnTo>
                    <a:lnTo>
                      <a:pt x="134" y="195"/>
                    </a:lnTo>
                    <a:lnTo>
                      <a:pt x="132" y="194"/>
                    </a:lnTo>
                    <a:lnTo>
                      <a:pt x="134" y="194"/>
                    </a:lnTo>
                    <a:lnTo>
                      <a:pt x="134" y="190"/>
                    </a:lnTo>
                    <a:lnTo>
                      <a:pt x="138" y="188"/>
                    </a:lnTo>
                    <a:lnTo>
                      <a:pt x="141" y="190"/>
                    </a:lnTo>
                    <a:lnTo>
                      <a:pt x="141" y="188"/>
                    </a:lnTo>
                    <a:lnTo>
                      <a:pt x="138" y="184"/>
                    </a:lnTo>
                    <a:lnTo>
                      <a:pt x="134" y="184"/>
                    </a:lnTo>
                    <a:lnTo>
                      <a:pt x="132" y="181"/>
                    </a:lnTo>
                    <a:lnTo>
                      <a:pt x="133" y="179"/>
                    </a:lnTo>
                    <a:lnTo>
                      <a:pt x="129" y="173"/>
                    </a:lnTo>
                    <a:lnTo>
                      <a:pt x="129" y="173"/>
                    </a:lnTo>
                    <a:lnTo>
                      <a:pt x="122" y="172"/>
                    </a:lnTo>
                    <a:lnTo>
                      <a:pt x="122" y="169"/>
                    </a:lnTo>
                    <a:lnTo>
                      <a:pt x="119" y="168"/>
                    </a:lnTo>
                    <a:lnTo>
                      <a:pt x="121" y="165"/>
                    </a:lnTo>
                    <a:lnTo>
                      <a:pt x="115" y="162"/>
                    </a:lnTo>
                    <a:lnTo>
                      <a:pt x="115" y="156"/>
                    </a:lnTo>
                    <a:lnTo>
                      <a:pt x="114" y="154"/>
                    </a:lnTo>
                    <a:lnTo>
                      <a:pt x="114" y="153"/>
                    </a:lnTo>
                    <a:lnTo>
                      <a:pt x="113" y="152"/>
                    </a:lnTo>
                    <a:lnTo>
                      <a:pt x="114" y="150"/>
                    </a:lnTo>
                    <a:lnTo>
                      <a:pt x="115" y="150"/>
                    </a:lnTo>
                    <a:lnTo>
                      <a:pt x="118" y="150"/>
                    </a:lnTo>
                    <a:lnTo>
                      <a:pt x="119" y="149"/>
                    </a:lnTo>
                    <a:lnTo>
                      <a:pt x="123" y="148"/>
                    </a:lnTo>
                    <a:lnTo>
                      <a:pt x="123" y="146"/>
                    </a:lnTo>
                    <a:lnTo>
                      <a:pt x="126" y="146"/>
                    </a:lnTo>
                    <a:lnTo>
                      <a:pt x="129" y="145"/>
                    </a:lnTo>
                    <a:lnTo>
                      <a:pt x="129" y="145"/>
                    </a:lnTo>
                    <a:lnTo>
                      <a:pt x="125" y="145"/>
                    </a:lnTo>
                    <a:lnTo>
                      <a:pt x="122" y="146"/>
                    </a:lnTo>
                    <a:lnTo>
                      <a:pt x="119" y="145"/>
                    </a:lnTo>
                    <a:lnTo>
                      <a:pt x="119" y="145"/>
                    </a:lnTo>
                    <a:lnTo>
                      <a:pt x="115" y="146"/>
                    </a:lnTo>
                    <a:lnTo>
                      <a:pt x="113" y="146"/>
                    </a:lnTo>
                    <a:lnTo>
                      <a:pt x="110" y="143"/>
                    </a:lnTo>
                    <a:lnTo>
                      <a:pt x="114" y="139"/>
                    </a:lnTo>
                    <a:lnTo>
                      <a:pt x="117" y="139"/>
                    </a:lnTo>
                    <a:lnTo>
                      <a:pt x="118" y="138"/>
                    </a:lnTo>
                    <a:lnTo>
                      <a:pt x="118" y="135"/>
                    </a:lnTo>
                    <a:lnTo>
                      <a:pt x="121" y="135"/>
                    </a:lnTo>
                    <a:lnTo>
                      <a:pt x="121" y="134"/>
                    </a:lnTo>
                    <a:lnTo>
                      <a:pt x="121" y="133"/>
                    </a:lnTo>
                    <a:lnTo>
                      <a:pt x="117" y="131"/>
                    </a:lnTo>
                    <a:lnTo>
                      <a:pt x="119" y="129"/>
                    </a:lnTo>
                    <a:lnTo>
                      <a:pt x="121" y="129"/>
                    </a:lnTo>
                    <a:lnTo>
                      <a:pt x="123" y="130"/>
                    </a:lnTo>
                    <a:lnTo>
                      <a:pt x="125" y="130"/>
                    </a:lnTo>
                    <a:lnTo>
                      <a:pt x="125" y="127"/>
                    </a:lnTo>
                    <a:lnTo>
                      <a:pt x="129" y="127"/>
                    </a:lnTo>
                    <a:lnTo>
                      <a:pt x="133" y="129"/>
                    </a:lnTo>
                    <a:lnTo>
                      <a:pt x="136" y="129"/>
                    </a:lnTo>
                    <a:lnTo>
                      <a:pt x="136" y="124"/>
                    </a:lnTo>
                    <a:lnTo>
                      <a:pt x="138" y="124"/>
                    </a:lnTo>
                    <a:lnTo>
                      <a:pt x="141" y="124"/>
                    </a:lnTo>
                    <a:lnTo>
                      <a:pt x="142" y="124"/>
                    </a:lnTo>
                    <a:lnTo>
                      <a:pt x="141" y="122"/>
                    </a:lnTo>
                    <a:lnTo>
                      <a:pt x="141" y="120"/>
                    </a:lnTo>
                    <a:lnTo>
                      <a:pt x="145" y="120"/>
                    </a:lnTo>
                    <a:lnTo>
                      <a:pt x="145" y="118"/>
                    </a:lnTo>
                    <a:lnTo>
                      <a:pt x="146" y="116"/>
                    </a:lnTo>
                    <a:lnTo>
                      <a:pt x="151" y="116"/>
                    </a:lnTo>
                    <a:lnTo>
                      <a:pt x="155" y="110"/>
                    </a:lnTo>
                    <a:lnTo>
                      <a:pt x="157" y="110"/>
                    </a:lnTo>
                    <a:lnTo>
                      <a:pt x="157" y="112"/>
                    </a:lnTo>
                    <a:lnTo>
                      <a:pt x="159" y="115"/>
                    </a:lnTo>
                    <a:lnTo>
                      <a:pt x="161" y="110"/>
                    </a:lnTo>
                    <a:lnTo>
                      <a:pt x="167" y="108"/>
                    </a:lnTo>
                    <a:lnTo>
                      <a:pt x="167" y="103"/>
                    </a:lnTo>
                    <a:lnTo>
                      <a:pt x="168" y="101"/>
                    </a:lnTo>
                    <a:lnTo>
                      <a:pt x="172" y="101"/>
                    </a:lnTo>
                    <a:lnTo>
                      <a:pt x="174" y="99"/>
                    </a:lnTo>
                    <a:lnTo>
                      <a:pt x="175" y="99"/>
                    </a:lnTo>
                    <a:lnTo>
                      <a:pt x="176" y="105"/>
                    </a:lnTo>
                    <a:lnTo>
                      <a:pt x="179" y="105"/>
                    </a:lnTo>
                    <a:lnTo>
                      <a:pt x="179" y="104"/>
                    </a:lnTo>
                    <a:lnTo>
                      <a:pt x="180" y="103"/>
                    </a:lnTo>
                    <a:lnTo>
                      <a:pt x="184" y="104"/>
                    </a:lnTo>
                    <a:lnTo>
                      <a:pt x="184" y="104"/>
                    </a:lnTo>
                    <a:lnTo>
                      <a:pt x="189" y="101"/>
                    </a:lnTo>
                    <a:lnTo>
                      <a:pt x="191" y="99"/>
                    </a:lnTo>
                    <a:lnTo>
                      <a:pt x="195" y="96"/>
                    </a:lnTo>
                    <a:lnTo>
                      <a:pt x="199" y="93"/>
                    </a:lnTo>
                    <a:lnTo>
                      <a:pt x="199" y="93"/>
                    </a:lnTo>
                    <a:lnTo>
                      <a:pt x="203" y="93"/>
                    </a:lnTo>
                    <a:lnTo>
                      <a:pt x="208" y="92"/>
                    </a:lnTo>
                    <a:lnTo>
                      <a:pt x="212" y="92"/>
                    </a:lnTo>
                    <a:lnTo>
                      <a:pt x="212" y="92"/>
                    </a:lnTo>
                    <a:lnTo>
                      <a:pt x="217" y="81"/>
                    </a:lnTo>
                    <a:lnTo>
                      <a:pt x="221" y="74"/>
                    </a:lnTo>
                    <a:lnTo>
                      <a:pt x="224" y="72"/>
                    </a:lnTo>
                    <a:lnTo>
                      <a:pt x="228" y="72"/>
                    </a:lnTo>
                    <a:lnTo>
                      <a:pt x="228" y="72"/>
                    </a:lnTo>
                    <a:lnTo>
                      <a:pt x="232" y="69"/>
                    </a:lnTo>
                    <a:lnTo>
                      <a:pt x="233" y="66"/>
                    </a:lnTo>
                    <a:lnTo>
                      <a:pt x="233" y="66"/>
                    </a:lnTo>
                    <a:lnTo>
                      <a:pt x="241" y="61"/>
                    </a:lnTo>
                    <a:lnTo>
                      <a:pt x="250" y="54"/>
                    </a:lnTo>
                    <a:lnTo>
                      <a:pt x="250" y="53"/>
                    </a:lnTo>
                    <a:lnTo>
                      <a:pt x="250" y="53"/>
                    </a:lnTo>
                    <a:lnTo>
                      <a:pt x="260" y="44"/>
                    </a:lnTo>
                    <a:lnTo>
                      <a:pt x="267" y="40"/>
                    </a:lnTo>
                    <a:lnTo>
                      <a:pt x="273" y="39"/>
                    </a:lnTo>
                    <a:lnTo>
                      <a:pt x="275" y="35"/>
                    </a:lnTo>
                    <a:lnTo>
                      <a:pt x="281" y="35"/>
                    </a:lnTo>
                    <a:lnTo>
                      <a:pt x="281" y="35"/>
                    </a:lnTo>
                    <a:lnTo>
                      <a:pt x="284" y="31"/>
                    </a:lnTo>
                    <a:lnTo>
                      <a:pt x="285" y="30"/>
                    </a:lnTo>
                    <a:lnTo>
                      <a:pt x="286" y="28"/>
                    </a:lnTo>
                    <a:lnTo>
                      <a:pt x="289" y="24"/>
                    </a:lnTo>
                    <a:lnTo>
                      <a:pt x="289" y="24"/>
                    </a:lnTo>
                    <a:lnTo>
                      <a:pt x="293" y="23"/>
                    </a:lnTo>
                    <a:lnTo>
                      <a:pt x="297" y="23"/>
                    </a:lnTo>
                    <a:lnTo>
                      <a:pt x="301" y="21"/>
                    </a:lnTo>
                    <a:lnTo>
                      <a:pt x="301" y="20"/>
                    </a:lnTo>
                    <a:lnTo>
                      <a:pt x="311" y="12"/>
                    </a:lnTo>
                    <a:lnTo>
                      <a:pt x="311" y="11"/>
                    </a:lnTo>
                    <a:lnTo>
                      <a:pt x="309" y="6"/>
                    </a:lnTo>
                    <a:lnTo>
                      <a:pt x="311" y="5"/>
                    </a:lnTo>
                    <a:lnTo>
                      <a:pt x="308" y="4"/>
                    </a:lnTo>
                    <a:lnTo>
                      <a:pt x="308" y="2"/>
                    </a:lnTo>
                    <a:lnTo>
                      <a:pt x="311" y="2"/>
                    </a:lnTo>
                    <a:lnTo>
                      <a:pt x="312" y="0"/>
                    </a:lnTo>
                    <a:lnTo>
                      <a:pt x="312" y="0"/>
                    </a:lnTo>
                    <a:lnTo>
                      <a:pt x="316" y="0"/>
                    </a:lnTo>
                    <a:lnTo>
                      <a:pt x="319" y="1"/>
                    </a:lnTo>
                    <a:lnTo>
                      <a:pt x="319" y="2"/>
                    </a:lnTo>
                    <a:lnTo>
                      <a:pt x="321" y="5"/>
                    </a:lnTo>
                    <a:lnTo>
                      <a:pt x="324" y="5"/>
                    </a:lnTo>
                    <a:lnTo>
                      <a:pt x="330" y="9"/>
                    </a:lnTo>
                    <a:lnTo>
                      <a:pt x="330" y="11"/>
                    </a:lnTo>
                    <a:lnTo>
                      <a:pt x="331" y="12"/>
                    </a:lnTo>
                    <a:lnTo>
                      <a:pt x="328" y="13"/>
                    </a:lnTo>
                    <a:lnTo>
                      <a:pt x="328" y="13"/>
                    </a:lnTo>
                    <a:lnTo>
                      <a:pt x="331" y="17"/>
                    </a:lnTo>
                    <a:lnTo>
                      <a:pt x="332" y="19"/>
                    </a:lnTo>
                    <a:lnTo>
                      <a:pt x="335" y="19"/>
                    </a:lnTo>
                    <a:lnTo>
                      <a:pt x="336" y="21"/>
                    </a:lnTo>
                    <a:lnTo>
                      <a:pt x="336" y="23"/>
                    </a:lnTo>
                    <a:lnTo>
                      <a:pt x="339" y="23"/>
                    </a:lnTo>
                    <a:lnTo>
                      <a:pt x="340" y="27"/>
                    </a:lnTo>
                    <a:lnTo>
                      <a:pt x="345" y="28"/>
                    </a:lnTo>
                    <a:lnTo>
                      <a:pt x="345" y="31"/>
                    </a:lnTo>
                    <a:lnTo>
                      <a:pt x="340" y="34"/>
                    </a:lnTo>
                    <a:lnTo>
                      <a:pt x="340" y="36"/>
                    </a:lnTo>
                    <a:lnTo>
                      <a:pt x="342" y="39"/>
                    </a:lnTo>
                    <a:lnTo>
                      <a:pt x="339" y="42"/>
                    </a:lnTo>
                    <a:lnTo>
                      <a:pt x="342" y="44"/>
                    </a:lnTo>
                    <a:lnTo>
                      <a:pt x="343" y="44"/>
                    </a:lnTo>
                    <a:lnTo>
                      <a:pt x="346" y="47"/>
                    </a:lnTo>
                    <a:lnTo>
                      <a:pt x="345" y="49"/>
                    </a:lnTo>
                    <a:lnTo>
                      <a:pt x="347" y="50"/>
                    </a:lnTo>
                    <a:lnTo>
                      <a:pt x="349" y="51"/>
                    </a:lnTo>
                    <a:lnTo>
                      <a:pt x="349" y="51"/>
                    </a:lnTo>
                    <a:lnTo>
                      <a:pt x="349" y="55"/>
                    </a:lnTo>
                    <a:lnTo>
                      <a:pt x="350" y="61"/>
                    </a:lnTo>
                    <a:lnTo>
                      <a:pt x="350" y="61"/>
                    </a:lnTo>
                    <a:lnTo>
                      <a:pt x="346" y="62"/>
                    </a:lnTo>
                    <a:lnTo>
                      <a:pt x="342" y="66"/>
                    </a:lnTo>
                    <a:lnTo>
                      <a:pt x="340" y="73"/>
                    </a:lnTo>
                    <a:lnTo>
                      <a:pt x="338" y="74"/>
                    </a:lnTo>
                    <a:lnTo>
                      <a:pt x="336" y="78"/>
                    </a:lnTo>
                    <a:lnTo>
                      <a:pt x="335" y="81"/>
                    </a:lnTo>
                    <a:lnTo>
                      <a:pt x="335" y="85"/>
                    </a:lnTo>
                    <a:lnTo>
                      <a:pt x="334" y="86"/>
                    </a:lnTo>
                    <a:lnTo>
                      <a:pt x="334" y="88"/>
                    </a:lnTo>
                    <a:lnTo>
                      <a:pt x="332" y="91"/>
                    </a:lnTo>
                    <a:lnTo>
                      <a:pt x="334" y="92"/>
                    </a:lnTo>
                    <a:lnTo>
                      <a:pt x="334" y="95"/>
                    </a:lnTo>
                    <a:lnTo>
                      <a:pt x="334" y="95"/>
                    </a:lnTo>
                    <a:lnTo>
                      <a:pt x="340" y="101"/>
                    </a:lnTo>
                    <a:lnTo>
                      <a:pt x="345" y="103"/>
                    </a:lnTo>
                    <a:lnTo>
                      <a:pt x="349" y="103"/>
                    </a:lnTo>
                    <a:lnTo>
                      <a:pt x="351" y="105"/>
                    </a:lnTo>
                    <a:lnTo>
                      <a:pt x="351" y="105"/>
                    </a:lnTo>
                    <a:lnTo>
                      <a:pt x="343" y="107"/>
                    </a:lnTo>
                    <a:lnTo>
                      <a:pt x="338" y="110"/>
                    </a:lnTo>
                    <a:lnTo>
                      <a:pt x="334" y="115"/>
                    </a:lnTo>
                    <a:lnTo>
                      <a:pt x="330" y="122"/>
                    </a:lnTo>
                    <a:lnTo>
                      <a:pt x="326" y="122"/>
                    </a:lnTo>
                    <a:lnTo>
                      <a:pt x="323" y="127"/>
                    </a:lnTo>
                    <a:lnTo>
                      <a:pt x="320" y="129"/>
                    </a:lnTo>
                    <a:lnTo>
                      <a:pt x="323" y="130"/>
                    </a:lnTo>
                    <a:lnTo>
                      <a:pt x="323" y="134"/>
                    </a:lnTo>
                    <a:lnTo>
                      <a:pt x="321" y="135"/>
                    </a:lnTo>
                    <a:lnTo>
                      <a:pt x="321" y="135"/>
                    </a:lnTo>
                    <a:lnTo>
                      <a:pt x="316" y="137"/>
                    </a:lnTo>
                    <a:lnTo>
                      <a:pt x="312" y="138"/>
                    </a:lnTo>
                    <a:lnTo>
                      <a:pt x="309" y="137"/>
                    </a:lnTo>
                    <a:lnTo>
                      <a:pt x="307" y="139"/>
                    </a:lnTo>
                    <a:lnTo>
                      <a:pt x="308" y="142"/>
                    </a:lnTo>
                    <a:lnTo>
                      <a:pt x="308" y="142"/>
                    </a:lnTo>
                    <a:lnTo>
                      <a:pt x="308" y="146"/>
                    </a:lnTo>
                    <a:lnTo>
                      <a:pt x="308" y="150"/>
                    </a:lnTo>
                    <a:lnTo>
                      <a:pt x="307" y="153"/>
                    </a:lnTo>
                    <a:lnTo>
                      <a:pt x="307" y="153"/>
                    </a:lnTo>
                    <a:lnTo>
                      <a:pt x="301" y="153"/>
                    </a:lnTo>
                    <a:lnTo>
                      <a:pt x="296" y="152"/>
                    </a:lnTo>
                    <a:lnTo>
                      <a:pt x="293" y="153"/>
                    </a:lnTo>
                    <a:lnTo>
                      <a:pt x="293" y="153"/>
                    </a:lnTo>
                    <a:lnTo>
                      <a:pt x="292" y="157"/>
                    </a:lnTo>
                    <a:lnTo>
                      <a:pt x="292" y="162"/>
                    </a:lnTo>
                    <a:lnTo>
                      <a:pt x="294" y="164"/>
                    </a:lnTo>
                    <a:lnTo>
                      <a:pt x="294" y="167"/>
                    </a:lnTo>
                    <a:lnTo>
                      <a:pt x="292" y="171"/>
                    </a:lnTo>
                    <a:lnTo>
                      <a:pt x="284" y="172"/>
                    </a:lnTo>
                    <a:lnTo>
                      <a:pt x="279" y="172"/>
                    </a:lnTo>
                    <a:lnTo>
                      <a:pt x="278" y="172"/>
                    </a:lnTo>
                    <a:lnTo>
                      <a:pt x="279" y="173"/>
                    </a:lnTo>
                    <a:lnTo>
                      <a:pt x="278" y="179"/>
                    </a:lnTo>
                    <a:lnTo>
                      <a:pt x="273" y="179"/>
                    </a:lnTo>
                    <a:lnTo>
                      <a:pt x="273" y="180"/>
                    </a:lnTo>
                    <a:lnTo>
                      <a:pt x="279" y="181"/>
                    </a:lnTo>
                    <a:lnTo>
                      <a:pt x="281" y="183"/>
                    </a:lnTo>
                    <a:lnTo>
                      <a:pt x="285" y="180"/>
                    </a:lnTo>
                    <a:lnTo>
                      <a:pt x="288" y="181"/>
                    </a:lnTo>
                    <a:lnTo>
                      <a:pt x="290" y="180"/>
                    </a:lnTo>
                    <a:lnTo>
                      <a:pt x="294" y="184"/>
                    </a:lnTo>
                    <a:lnTo>
                      <a:pt x="297" y="184"/>
                    </a:lnTo>
                    <a:lnTo>
                      <a:pt x="297" y="184"/>
                    </a:lnTo>
                    <a:lnTo>
                      <a:pt x="300" y="186"/>
                    </a:lnTo>
                    <a:lnTo>
                      <a:pt x="300" y="188"/>
                    </a:lnTo>
                    <a:lnTo>
                      <a:pt x="304" y="190"/>
                    </a:lnTo>
                    <a:lnTo>
                      <a:pt x="304" y="190"/>
                    </a:lnTo>
                    <a:lnTo>
                      <a:pt x="307" y="188"/>
                    </a:lnTo>
                    <a:lnTo>
                      <a:pt x="311" y="187"/>
                    </a:lnTo>
                    <a:lnTo>
                      <a:pt x="315" y="184"/>
                    </a:lnTo>
                    <a:lnTo>
                      <a:pt x="319" y="179"/>
                    </a:lnTo>
                    <a:lnTo>
                      <a:pt x="323" y="180"/>
                    </a:lnTo>
                    <a:lnTo>
                      <a:pt x="323" y="180"/>
                    </a:lnTo>
                    <a:lnTo>
                      <a:pt x="327" y="179"/>
                    </a:lnTo>
                    <a:lnTo>
                      <a:pt x="330" y="176"/>
                    </a:lnTo>
                    <a:lnTo>
                      <a:pt x="330" y="173"/>
                    </a:lnTo>
                    <a:lnTo>
                      <a:pt x="330" y="173"/>
                    </a:lnTo>
                    <a:lnTo>
                      <a:pt x="334" y="171"/>
                    </a:lnTo>
                    <a:lnTo>
                      <a:pt x="336" y="167"/>
                    </a:lnTo>
                    <a:lnTo>
                      <a:pt x="339" y="164"/>
                    </a:lnTo>
                    <a:lnTo>
                      <a:pt x="342" y="161"/>
                    </a:lnTo>
                    <a:lnTo>
                      <a:pt x="346" y="162"/>
                    </a:lnTo>
                    <a:lnTo>
                      <a:pt x="350" y="158"/>
                    </a:lnTo>
                    <a:lnTo>
                      <a:pt x="350" y="156"/>
                    </a:lnTo>
                    <a:lnTo>
                      <a:pt x="353" y="156"/>
                    </a:lnTo>
                    <a:lnTo>
                      <a:pt x="354" y="157"/>
                    </a:lnTo>
                    <a:lnTo>
                      <a:pt x="357" y="157"/>
                    </a:lnTo>
                    <a:lnTo>
                      <a:pt x="359" y="156"/>
                    </a:lnTo>
                    <a:lnTo>
                      <a:pt x="361" y="161"/>
                    </a:lnTo>
                    <a:lnTo>
                      <a:pt x="359" y="162"/>
                    </a:lnTo>
                    <a:lnTo>
                      <a:pt x="357" y="164"/>
                    </a:lnTo>
                    <a:lnTo>
                      <a:pt x="355" y="165"/>
                    </a:lnTo>
                    <a:lnTo>
                      <a:pt x="354" y="168"/>
                    </a:lnTo>
                    <a:lnTo>
                      <a:pt x="357" y="168"/>
                    </a:lnTo>
                    <a:lnTo>
                      <a:pt x="358" y="169"/>
                    </a:lnTo>
                    <a:lnTo>
                      <a:pt x="354" y="172"/>
                    </a:lnTo>
                    <a:lnTo>
                      <a:pt x="353" y="175"/>
                    </a:lnTo>
                    <a:lnTo>
                      <a:pt x="351" y="176"/>
                    </a:lnTo>
                    <a:lnTo>
                      <a:pt x="351" y="179"/>
                    </a:lnTo>
                    <a:lnTo>
                      <a:pt x="354" y="181"/>
                    </a:lnTo>
                    <a:lnTo>
                      <a:pt x="351" y="183"/>
                    </a:lnTo>
                    <a:lnTo>
                      <a:pt x="353" y="186"/>
                    </a:lnTo>
                    <a:lnTo>
                      <a:pt x="346" y="192"/>
                    </a:lnTo>
                    <a:lnTo>
                      <a:pt x="345" y="191"/>
                    </a:lnTo>
                    <a:lnTo>
                      <a:pt x="345" y="191"/>
                    </a:lnTo>
                    <a:lnTo>
                      <a:pt x="342" y="192"/>
                    </a:lnTo>
                    <a:lnTo>
                      <a:pt x="339" y="195"/>
                    </a:lnTo>
                    <a:lnTo>
                      <a:pt x="338" y="194"/>
                    </a:lnTo>
                    <a:lnTo>
                      <a:pt x="335" y="196"/>
                    </a:lnTo>
                    <a:lnTo>
                      <a:pt x="334" y="198"/>
                    </a:lnTo>
                    <a:lnTo>
                      <a:pt x="335" y="200"/>
                    </a:lnTo>
                    <a:lnTo>
                      <a:pt x="335" y="200"/>
                    </a:lnTo>
                    <a:lnTo>
                      <a:pt x="327" y="205"/>
                    </a:lnTo>
                    <a:lnTo>
                      <a:pt x="321" y="206"/>
                    </a:lnTo>
                    <a:lnTo>
                      <a:pt x="317" y="206"/>
                    </a:lnTo>
                    <a:lnTo>
                      <a:pt x="315" y="202"/>
                    </a:lnTo>
                    <a:lnTo>
                      <a:pt x="312" y="202"/>
                    </a:lnTo>
                    <a:lnTo>
                      <a:pt x="311" y="200"/>
                    </a:lnTo>
                    <a:lnTo>
                      <a:pt x="309" y="195"/>
                    </a:lnTo>
                    <a:lnTo>
                      <a:pt x="307" y="195"/>
                    </a:lnTo>
                    <a:lnTo>
                      <a:pt x="305" y="192"/>
                    </a:lnTo>
                    <a:lnTo>
                      <a:pt x="305" y="192"/>
                    </a:lnTo>
                    <a:lnTo>
                      <a:pt x="301" y="192"/>
                    </a:lnTo>
                    <a:lnTo>
                      <a:pt x="298" y="192"/>
                    </a:lnTo>
                    <a:lnTo>
                      <a:pt x="292" y="195"/>
                    </a:lnTo>
                    <a:lnTo>
                      <a:pt x="294" y="198"/>
                    </a:lnTo>
                    <a:lnTo>
                      <a:pt x="293" y="199"/>
                    </a:lnTo>
                    <a:lnTo>
                      <a:pt x="292" y="199"/>
                    </a:lnTo>
                    <a:lnTo>
                      <a:pt x="290" y="198"/>
                    </a:lnTo>
                    <a:lnTo>
                      <a:pt x="290" y="198"/>
                    </a:lnTo>
                    <a:lnTo>
                      <a:pt x="290" y="198"/>
                    </a:lnTo>
                    <a:lnTo>
                      <a:pt x="286" y="203"/>
                    </a:lnTo>
                    <a:lnTo>
                      <a:pt x="285" y="203"/>
                    </a:lnTo>
                    <a:lnTo>
                      <a:pt x="284" y="200"/>
                    </a:lnTo>
                    <a:lnTo>
                      <a:pt x="281" y="200"/>
                    </a:lnTo>
                    <a:lnTo>
                      <a:pt x="281" y="196"/>
                    </a:lnTo>
                    <a:lnTo>
                      <a:pt x="278" y="195"/>
                    </a:lnTo>
                    <a:lnTo>
                      <a:pt x="279" y="194"/>
                    </a:lnTo>
                    <a:lnTo>
                      <a:pt x="278" y="192"/>
                    </a:lnTo>
                    <a:lnTo>
                      <a:pt x="273" y="195"/>
                    </a:lnTo>
                    <a:lnTo>
                      <a:pt x="273" y="192"/>
                    </a:lnTo>
                    <a:lnTo>
                      <a:pt x="269" y="191"/>
                    </a:lnTo>
                    <a:lnTo>
                      <a:pt x="267" y="192"/>
                    </a:lnTo>
                    <a:lnTo>
                      <a:pt x="267" y="192"/>
                    </a:lnTo>
                    <a:lnTo>
                      <a:pt x="269" y="195"/>
                    </a:lnTo>
                    <a:lnTo>
                      <a:pt x="270" y="199"/>
                    </a:lnTo>
                    <a:lnTo>
                      <a:pt x="270" y="199"/>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7" name="Freeform 328">
                <a:extLst>
                  <a:ext uri="{FF2B5EF4-FFF2-40B4-BE49-F238E27FC236}">
                    <a16:creationId xmlns:a16="http://schemas.microsoft.com/office/drawing/2014/main" id="{5EF969CE-1886-43BA-82E9-57FD0F0D428C}"/>
                  </a:ext>
                </a:extLst>
              </p:cNvPr>
              <p:cNvSpPr>
                <a:spLocks/>
              </p:cNvSpPr>
              <p:nvPr/>
            </p:nvSpPr>
            <p:spPr bwMode="auto">
              <a:xfrm>
                <a:off x="1871663" y="2325756"/>
                <a:ext cx="28575" cy="22225"/>
              </a:xfrm>
              <a:custGeom>
                <a:avLst/>
                <a:gdLst>
                  <a:gd name="T0" fmla="*/ 16 w 35"/>
                  <a:gd name="T1" fmla="*/ 7 h 27"/>
                  <a:gd name="T2" fmla="*/ 19 w 35"/>
                  <a:gd name="T3" fmla="*/ 5 h 27"/>
                  <a:gd name="T4" fmla="*/ 21 w 35"/>
                  <a:gd name="T5" fmla="*/ 4 h 27"/>
                  <a:gd name="T6" fmla="*/ 21 w 35"/>
                  <a:gd name="T7" fmla="*/ 4 h 27"/>
                  <a:gd name="T8" fmla="*/ 23 w 35"/>
                  <a:gd name="T9" fmla="*/ 4 h 27"/>
                  <a:gd name="T10" fmla="*/ 26 w 35"/>
                  <a:gd name="T11" fmla="*/ 3 h 27"/>
                  <a:gd name="T12" fmla="*/ 27 w 35"/>
                  <a:gd name="T13" fmla="*/ 0 h 27"/>
                  <a:gd name="T14" fmla="*/ 30 w 35"/>
                  <a:gd name="T15" fmla="*/ 1 h 27"/>
                  <a:gd name="T16" fmla="*/ 31 w 35"/>
                  <a:gd name="T17" fmla="*/ 0 h 27"/>
                  <a:gd name="T18" fmla="*/ 31 w 35"/>
                  <a:gd name="T19" fmla="*/ 0 h 27"/>
                  <a:gd name="T20" fmla="*/ 33 w 35"/>
                  <a:gd name="T21" fmla="*/ 3 h 27"/>
                  <a:gd name="T22" fmla="*/ 34 w 35"/>
                  <a:gd name="T23" fmla="*/ 7 h 27"/>
                  <a:gd name="T24" fmla="*/ 35 w 35"/>
                  <a:gd name="T25" fmla="*/ 14 h 27"/>
                  <a:gd name="T26" fmla="*/ 34 w 35"/>
                  <a:gd name="T27" fmla="*/ 16 h 27"/>
                  <a:gd name="T28" fmla="*/ 35 w 35"/>
                  <a:gd name="T29" fmla="*/ 18 h 27"/>
                  <a:gd name="T30" fmla="*/ 35 w 35"/>
                  <a:gd name="T31" fmla="*/ 19 h 27"/>
                  <a:gd name="T32" fmla="*/ 33 w 35"/>
                  <a:gd name="T33" fmla="*/ 19 h 27"/>
                  <a:gd name="T34" fmla="*/ 31 w 35"/>
                  <a:gd name="T35" fmla="*/ 20 h 27"/>
                  <a:gd name="T36" fmla="*/ 26 w 35"/>
                  <a:gd name="T37" fmla="*/ 26 h 27"/>
                  <a:gd name="T38" fmla="*/ 26 w 35"/>
                  <a:gd name="T39" fmla="*/ 26 h 27"/>
                  <a:gd name="T40" fmla="*/ 23 w 35"/>
                  <a:gd name="T41" fmla="*/ 23 h 27"/>
                  <a:gd name="T42" fmla="*/ 21 w 35"/>
                  <a:gd name="T43" fmla="*/ 22 h 27"/>
                  <a:gd name="T44" fmla="*/ 18 w 35"/>
                  <a:gd name="T45" fmla="*/ 20 h 27"/>
                  <a:gd name="T46" fmla="*/ 16 w 35"/>
                  <a:gd name="T47" fmla="*/ 18 h 27"/>
                  <a:gd name="T48" fmla="*/ 14 w 35"/>
                  <a:gd name="T49" fmla="*/ 18 h 27"/>
                  <a:gd name="T50" fmla="*/ 14 w 35"/>
                  <a:gd name="T51" fmla="*/ 19 h 27"/>
                  <a:gd name="T52" fmla="*/ 12 w 35"/>
                  <a:gd name="T53" fmla="*/ 24 h 27"/>
                  <a:gd name="T54" fmla="*/ 10 w 35"/>
                  <a:gd name="T55" fmla="*/ 24 h 27"/>
                  <a:gd name="T56" fmla="*/ 8 w 35"/>
                  <a:gd name="T57" fmla="*/ 27 h 27"/>
                  <a:gd name="T58" fmla="*/ 4 w 35"/>
                  <a:gd name="T59" fmla="*/ 27 h 27"/>
                  <a:gd name="T60" fmla="*/ 2 w 35"/>
                  <a:gd name="T61" fmla="*/ 24 h 27"/>
                  <a:gd name="T62" fmla="*/ 4 w 35"/>
                  <a:gd name="T63" fmla="*/ 22 h 27"/>
                  <a:gd name="T64" fmla="*/ 3 w 35"/>
                  <a:gd name="T65" fmla="*/ 20 h 27"/>
                  <a:gd name="T66" fmla="*/ 0 w 35"/>
                  <a:gd name="T67" fmla="*/ 20 h 27"/>
                  <a:gd name="T68" fmla="*/ 2 w 35"/>
                  <a:gd name="T69" fmla="*/ 18 h 27"/>
                  <a:gd name="T70" fmla="*/ 2 w 35"/>
                  <a:gd name="T71" fmla="*/ 18 h 27"/>
                  <a:gd name="T72" fmla="*/ 7 w 35"/>
                  <a:gd name="T73" fmla="*/ 18 h 27"/>
                  <a:gd name="T74" fmla="*/ 12 w 35"/>
                  <a:gd name="T75" fmla="*/ 15 h 27"/>
                  <a:gd name="T76" fmla="*/ 14 w 35"/>
                  <a:gd name="T77" fmla="*/ 15 h 27"/>
                  <a:gd name="T78" fmla="*/ 14 w 35"/>
                  <a:gd name="T79" fmla="*/ 15 h 27"/>
                  <a:gd name="T80" fmla="*/ 16 w 35"/>
                  <a:gd name="T81" fmla="*/ 7 h 27"/>
                  <a:gd name="T82" fmla="*/ 16 w 35"/>
                  <a:gd name="T8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 h="27">
                    <a:moveTo>
                      <a:pt x="16" y="7"/>
                    </a:moveTo>
                    <a:lnTo>
                      <a:pt x="19" y="5"/>
                    </a:lnTo>
                    <a:lnTo>
                      <a:pt x="21" y="4"/>
                    </a:lnTo>
                    <a:lnTo>
                      <a:pt x="21" y="4"/>
                    </a:lnTo>
                    <a:lnTo>
                      <a:pt x="23" y="4"/>
                    </a:lnTo>
                    <a:lnTo>
                      <a:pt x="26" y="3"/>
                    </a:lnTo>
                    <a:lnTo>
                      <a:pt x="27" y="0"/>
                    </a:lnTo>
                    <a:lnTo>
                      <a:pt x="30" y="1"/>
                    </a:lnTo>
                    <a:lnTo>
                      <a:pt x="31" y="0"/>
                    </a:lnTo>
                    <a:lnTo>
                      <a:pt x="31" y="0"/>
                    </a:lnTo>
                    <a:lnTo>
                      <a:pt x="33" y="3"/>
                    </a:lnTo>
                    <a:lnTo>
                      <a:pt x="34" y="7"/>
                    </a:lnTo>
                    <a:lnTo>
                      <a:pt x="35" y="14"/>
                    </a:lnTo>
                    <a:lnTo>
                      <a:pt x="34" y="16"/>
                    </a:lnTo>
                    <a:lnTo>
                      <a:pt x="35" y="18"/>
                    </a:lnTo>
                    <a:lnTo>
                      <a:pt x="35" y="19"/>
                    </a:lnTo>
                    <a:lnTo>
                      <a:pt x="33" y="19"/>
                    </a:lnTo>
                    <a:lnTo>
                      <a:pt x="31" y="20"/>
                    </a:lnTo>
                    <a:lnTo>
                      <a:pt x="26" y="26"/>
                    </a:lnTo>
                    <a:lnTo>
                      <a:pt x="26" y="26"/>
                    </a:lnTo>
                    <a:lnTo>
                      <a:pt x="23" y="23"/>
                    </a:lnTo>
                    <a:lnTo>
                      <a:pt x="21" y="22"/>
                    </a:lnTo>
                    <a:lnTo>
                      <a:pt x="18" y="20"/>
                    </a:lnTo>
                    <a:lnTo>
                      <a:pt x="16" y="18"/>
                    </a:lnTo>
                    <a:lnTo>
                      <a:pt x="14" y="18"/>
                    </a:lnTo>
                    <a:lnTo>
                      <a:pt x="14" y="19"/>
                    </a:lnTo>
                    <a:lnTo>
                      <a:pt x="12" y="24"/>
                    </a:lnTo>
                    <a:lnTo>
                      <a:pt x="10" y="24"/>
                    </a:lnTo>
                    <a:lnTo>
                      <a:pt x="8" y="27"/>
                    </a:lnTo>
                    <a:lnTo>
                      <a:pt x="4" y="27"/>
                    </a:lnTo>
                    <a:lnTo>
                      <a:pt x="2" y="24"/>
                    </a:lnTo>
                    <a:lnTo>
                      <a:pt x="4" y="22"/>
                    </a:lnTo>
                    <a:lnTo>
                      <a:pt x="3" y="20"/>
                    </a:lnTo>
                    <a:lnTo>
                      <a:pt x="0" y="20"/>
                    </a:lnTo>
                    <a:lnTo>
                      <a:pt x="2" y="18"/>
                    </a:lnTo>
                    <a:lnTo>
                      <a:pt x="2" y="18"/>
                    </a:lnTo>
                    <a:lnTo>
                      <a:pt x="7" y="18"/>
                    </a:lnTo>
                    <a:lnTo>
                      <a:pt x="12" y="15"/>
                    </a:lnTo>
                    <a:lnTo>
                      <a:pt x="14" y="15"/>
                    </a:lnTo>
                    <a:lnTo>
                      <a:pt x="14" y="15"/>
                    </a:lnTo>
                    <a:lnTo>
                      <a:pt x="16" y="7"/>
                    </a:lnTo>
                    <a:lnTo>
                      <a:pt x="16" y="7"/>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8" name="Freeform 329">
                <a:extLst>
                  <a:ext uri="{FF2B5EF4-FFF2-40B4-BE49-F238E27FC236}">
                    <a16:creationId xmlns:a16="http://schemas.microsoft.com/office/drawing/2014/main" id="{23C04BDD-64FC-4217-B17F-3F47E23DF1FF}"/>
                  </a:ext>
                </a:extLst>
              </p:cNvPr>
              <p:cNvSpPr>
                <a:spLocks/>
              </p:cNvSpPr>
              <p:nvPr/>
            </p:nvSpPr>
            <p:spPr bwMode="auto">
              <a:xfrm>
                <a:off x="1868488" y="2400369"/>
                <a:ext cx="7938" cy="9525"/>
              </a:xfrm>
              <a:custGeom>
                <a:avLst/>
                <a:gdLst>
                  <a:gd name="T0" fmla="*/ 0 w 10"/>
                  <a:gd name="T1" fmla="*/ 4 h 14"/>
                  <a:gd name="T2" fmla="*/ 4 w 10"/>
                  <a:gd name="T3" fmla="*/ 4 h 14"/>
                  <a:gd name="T4" fmla="*/ 6 w 10"/>
                  <a:gd name="T5" fmla="*/ 0 h 14"/>
                  <a:gd name="T6" fmla="*/ 7 w 10"/>
                  <a:gd name="T7" fmla="*/ 0 h 14"/>
                  <a:gd name="T8" fmla="*/ 10 w 10"/>
                  <a:gd name="T9" fmla="*/ 11 h 14"/>
                  <a:gd name="T10" fmla="*/ 8 w 10"/>
                  <a:gd name="T11" fmla="*/ 14 h 14"/>
                  <a:gd name="T12" fmla="*/ 7 w 10"/>
                  <a:gd name="T13" fmla="*/ 14 h 14"/>
                  <a:gd name="T14" fmla="*/ 7 w 10"/>
                  <a:gd name="T15" fmla="*/ 14 h 14"/>
                  <a:gd name="T16" fmla="*/ 0 w 10"/>
                  <a:gd name="T17" fmla="*/ 4 h 14"/>
                  <a:gd name="T18" fmla="*/ 0 w 10"/>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4">
                    <a:moveTo>
                      <a:pt x="0" y="4"/>
                    </a:moveTo>
                    <a:lnTo>
                      <a:pt x="4" y="4"/>
                    </a:lnTo>
                    <a:lnTo>
                      <a:pt x="6" y="0"/>
                    </a:lnTo>
                    <a:lnTo>
                      <a:pt x="7" y="0"/>
                    </a:lnTo>
                    <a:lnTo>
                      <a:pt x="10" y="11"/>
                    </a:lnTo>
                    <a:lnTo>
                      <a:pt x="8" y="14"/>
                    </a:lnTo>
                    <a:lnTo>
                      <a:pt x="7" y="14"/>
                    </a:lnTo>
                    <a:lnTo>
                      <a:pt x="7" y="14"/>
                    </a:lnTo>
                    <a:lnTo>
                      <a:pt x="0" y="4"/>
                    </a:lnTo>
                    <a:lnTo>
                      <a:pt x="0" y="4"/>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69" name="Freeform 331">
                <a:extLst>
                  <a:ext uri="{FF2B5EF4-FFF2-40B4-BE49-F238E27FC236}">
                    <a16:creationId xmlns:a16="http://schemas.microsoft.com/office/drawing/2014/main" id="{3F0F7CE2-5C84-4C83-A626-7292ABC55D65}"/>
                  </a:ext>
                </a:extLst>
              </p:cNvPr>
              <p:cNvSpPr>
                <a:spLocks/>
              </p:cNvSpPr>
              <p:nvPr/>
            </p:nvSpPr>
            <p:spPr bwMode="auto">
              <a:xfrm>
                <a:off x="2117725" y="1959044"/>
                <a:ext cx="1290638" cy="1984375"/>
              </a:xfrm>
              <a:custGeom>
                <a:avLst/>
                <a:gdLst>
                  <a:gd name="T0" fmla="*/ 1455 w 1626"/>
                  <a:gd name="T1" fmla="*/ 1931 h 2499"/>
                  <a:gd name="T2" fmla="*/ 1457 w 1626"/>
                  <a:gd name="T3" fmla="*/ 1696 h 2499"/>
                  <a:gd name="T4" fmla="*/ 1214 w 1626"/>
                  <a:gd name="T5" fmla="*/ 1659 h 2499"/>
                  <a:gd name="T6" fmla="*/ 911 w 1626"/>
                  <a:gd name="T7" fmla="*/ 1630 h 2499"/>
                  <a:gd name="T8" fmla="*/ 1062 w 1626"/>
                  <a:gd name="T9" fmla="*/ 1630 h 2499"/>
                  <a:gd name="T10" fmla="*/ 1299 w 1626"/>
                  <a:gd name="T11" fmla="*/ 1460 h 2499"/>
                  <a:gd name="T12" fmla="*/ 1075 w 1626"/>
                  <a:gd name="T13" fmla="*/ 1429 h 2499"/>
                  <a:gd name="T14" fmla="*/ 1379 w 1626"/>
                  <a:gd name="T15" fmla="*/ 1219 h 2499"/>
                  <a:gd name="T16" fmla="*/ 1487 w 1626"/>
                  <a:gd name="T17" fmla="*/ 1018 h 2499"/>
                  <a:gd name="T18" fmla="*/ 1596 w 1626"/>
                  <a:gd name="T19" fmla="*/ 776 h 2499"/>
                  <a:gd name="T20" fmla="*/ 1432 w 1626"/>
                  <a:gd name="T21" fmla="*/ 607 h 2499"/>
                  <a:gd name="T22" fmla="*/ 1078 w 1626"/>
                  <a:gd name="T23" fmla="*/ 590 h 2499"/>
                  <a:gd name="T24" fmla="*/ 789 w 1626"/>
                  <a:gd name="T25" fmla="*/ 673 h 2499"/>
                  <a:gd name="T26" fmla="*/ 731 w 1626"/>
                  <a:gd name="T27" fmla="*/ 694 h 2499"/>
                  <a:gd name="T28" fmla="*/ 702 w 1626"/>
                  <a:gd name="T29" fmla="*/ 622 h 2499"/>
                  <a:gd name="T30" fmla="*/ 793 w 1626"/>
                  <a:gd name="T31" fmla="*/ 529 h 2499"/>
                  <a:gd name="T32" fmla="*/ 803 w 1626"/>
                  <a:gd name="T33" fmla="*/ 500 h 2499"/>
                  <a:gd name="T34" fmla="*/ 986 w 1626"/>
                  <a:gd name="T35" fmla="*/ 312 h 2499"/>
                  <a:gd name="T36" fmla="*/ 1164 w 1626"/>
                  <a:gd name="T37" fmla="*/ 28 h 2499"/>
                  <a:gd name="T38" fmla="*/ 933 w 1626"/>
                  <a:gd name="T39" fmla="*/ 34 h 2499"/>
                  <a:gd name="T40" fmla="*/ 724 w 1626"/>
                  <a:gd name="T41" fmla="*/ 82 h 2499"/>
                  <a:gd name="T42" fmla="*/ 576 w 1626"/>
                  <a:gd name="T43" fmla="*/ 94 h 2499"/>
                  <a:gd name="T44" fmla="*/ 514 w 1626"/>
                  <a:gd name="T45" fmla="*/ 57 h 2499"/>
                  <a:gd name="T46" fmla="*/ 411 w 1626"/>
                  <a:gd name="T47" fmla="*/ 146 h 2499"/>
                  <a:gd name="T48" fmla="*/ 400 w 1626"/>
                  <a:gd name="T49" fmla="*/ 231 h 2499"/>
                  <a:gd name="T50" fmla="*/ 384 w 1626"/>
                  <a:gd name="T51" fmla="*/ 258 h 2499"/>
                  <a:gd name="T52" fmla="*/ 350 w 1626"/>
                  <a:gd name="T53" fmla="*/ 363 h 2499"/>
                  <a:gd name="T54" fmla="*/ 371 w 1626"/>
                  <a:gd name="T55" fmla="*/ 464 h 2499"/>
                  <a:gd name="T56" fmla="*/ 291 w 1626"/>
                  <a:gd name="T57" fmla="*/ 482 h 2499"/>
                  <a:gd name="T58" fmla="*/ 207 w 1626"/>
                  <a:gd name="T59" fmla="*/ 540 h 2499"/>
                  <a:gd name="T60" fmla="*/ 181 w 1626"/>
                  <a:gd name="T61" fmla="*/ 665 h 2499"/>
                  <a:gd name="T62" fmla="*/ 191 w 1626"/>
                  <a:gd name="T63" fmla="*/ 699 h 2499"/>
                  <a:gd name="T64" fmla="*/ 227 w 1626"/>
                  <a:gd name="T65" fmla="*/ 776 h 2499"/>
                  <a:gd name="T66" fmla="*/ 219 w 1626"/>
                  <a:gd name="T67" fmla="*/ 859 h 2499"/>
                  <a:gd name="T68" fmla="*/ 215 w 1626"/>
                  <a:gd name="T69" fmla="*/ 911 h 2499"/>
                  <a:gd name="T70" fmla="*/ 162 w 1626"/>
                  <a:gd name="T71" fmla="*/ 1001 h 2499"/>
                  <a:gd name="T72" fmla="*/ 138 w 1626"/>
                  <a:gd name="T73" fmla="*/ 1064 h 2499"/>
                  <a:gd name="T74" fmla="*/ 175 w 1626"/>
                  <a:gd name="T75" fmla="*/ 1168 h 2499"/>
                  <a:gd name="T76" fmla="*/ 5 w 1626"/>
                  <a:gd name="T77" fmla="*/ 1201 h 2499"/>
                  <a:gd name="T78" fmla="*/ 244 w 1626"/>
                  <a:gd name="T79" fmla="*/ 1229 h 2499"/>
                  <a:gd name="T80" fmla="*/ 177 w 1626"/>
                  <a:gd name="T81" fmla="*/ 1307 h 2499"/>
                  <a:gd name="T82" fmla="*/ 371 w 1626"/>
                  <a:gd name="T83" fmla="*/ 1176 h 2499"/>
                  <a:gd name="T84" fmla="*/ 393 w 1626"/>
                  <a:gd name="T85" fmla="*/ 1231 h 2499"/>
                  <a:gd name="T86" fmla="*/ 287 w 1626"/>
                  <a:gd name="T87" fmla="*/ 1335 h 2499"/>
                  <a:gd name="T88" fmla="*/ 226 w 1626"/>
                  <a:gd name="T89" fmla="*/ 1456 h 2499"/>
                  <a:gd name="T90" fmla="*/ 234 w 1626"/>
                  <a:gd name="T91" fmla="*/ 1566 h 2499"/>
                  <a:gd name="T92" fmla="*/ 202 w 1626"/>
                  <a:gd name="T93" fmla="*/ 1682 h 2499"/>
                  <a:gd name="T94" fmla="*/ 209 w 1626"/>
                  <a:gd name="T95" fmla="*/ 1752 h 2499"/>
                  <a:gd name="T96" fmla="*/ 190 w 1626"/>
                  <a:gd name="T97" fmla="*/ 1921 h 2499"/>
                  <a:gd name="T98" fmla="*/ 271 w 1626"/>
                  <a:gd name="T99" fmla="*/ 1943 h 2499"/>
                  <a:gd name="T100" fmla="*/ 293 w 1626"/>
                  <a:gd name="T101" fmla="*/ 1631 h 2499"/>
                  <a:gd name="T102" fmla="*/ 468 w 1626"/>
                  <a:gd name="T103" fmla="*/ 1493 h 2499"/>
                  <a:gd name="T104" fmla="*/ 377 w 1626"/>
                  <a:gd name="T105" fmla="*/ 1752 h 2499"/>
                  <a:gd name="T106" fmla="*/ 466 w 1626"/>
                  <a:gd name="T107" fmla="*/ 1655 h 2499"/>
                  <a:gd name="T108" fmla="*/ 508 w 1626"/>
                  <a:gd name="T109" fmla="*/ 1663 h 2499"/>
                  <a:gd name="T110" fmla="*/ 495 w 1626"/>
                  <a:gd name="T111" fmla="*/ 1703 h 2499"/>
                  <a:gd name="T112" fmla="*/ 579 w 1626"/>
                  <a:gd name="T113" fmla="*/ 1981 h 2499"/>
                  <a:gd name="T114" fmla="*/ 428 w 1626"/>
                  <a:gd name="T115" fmla="*/ 2319 h 2499"/>
                  <a:gd name="T116" fmla="*/ 470 w 1626"/>
                  <a:gd name="T117" fmla="*/ 2457 h 2499"/>
                  <a:gd name="T118" fmla="*/ 594 w 1626"/>
                  <a:gd name="T119" fmla="*/ 2410 h 2499"/>
                  <a:gd name="T120" fmla="*/ 667 w 1626"/>
                  <a:gd name="T121" fmla="*/ 2323 h 2499"/>
                  <a:gd name="T122" fmla="*/ 796 w 1626"/>
                  <a:gd name="T123" fmla="*/ 2382 h 2499"/>
                  <a:gd name="T124" fmla="*/ 966 w 1626"/>
                  <a:gd name="T125" fmla="*/ 2278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2499">
                    <a:moveTo>
                      <a:pt x="1157" y="2278"/>
                    </a:moveTo>
                    <a:lnTo>
                      <a:pt x="1160" y="2275"/>
                    </a:lnTo>
                    <a:lnTo>
                      <a:pt x="1160" y="2274"/>
                    </a:lnTo>
                    <a:lnTo>
                      <a:pt x="1160" y="2274"/>
                    </a:lnTo>
                    <a:lnTo>
                      <a:pt x="1160" y="2273"/>
                    </a:lnTo>
                    <a:lnTo>
                      <a:pt x="1160" y="2273"/>
                    </a:lnTo>
                    <a:lnTo>
                      <a:pt x="1158" y="2267"/>
                    </a:lnTo>
                    <a:lnTo>
                      <a:pt x="1161" y="2264"/>
                    </a:lnTo>
                    <a:lnTo>
                      <a:pt x="1161" y="2260"/>
                    </a:lnTo>
                    <a:lnTo>
                      <a:pt x="1162" y="2260"/>
                    </a:lnTo>
                    <a:lnTo>
                      <a:pt x="1162" y="2259"/>
                    </a:lnTo>
                    <a:lnTo>
                      <a:pt x="1165" y="2254"/>
                    </a:lnTo>
                    <a:lnTo>
                      <a:pt x="1166" y="2251"/>
                    </a:lnTo>
                    <a:lnTo>
                      <a:pt x="1166" y="2251"/>
                    </a:lnTo>
                    <a:lnTo>
                      <a:pt x="1162" y="2245"/>
                    </a:lnTo>
                    <a:lnTo>
                      <a:pt x="1158" y="2240"/>
                    </a:lnTo>
                    <a:lnTo>
                      <a:pt x="1161" y="2237"/>
                    </a:lnTo>
                    <a:lnTo>
                      <a:pt x="1189" y="2240"/>
                    </a:lnTo>
                    <a:lnTo>
                      <a:pt x="1189" y="2240"/>
                    </a:lnTo>
                    <a:lnTo>
                      <a:pt x="1191" y="2240"/>
                    </a:lnTo>
                    <a:lnTo>
                      <a:pt x="1196" y="2236"/>
                    </a:lnTo>
                    <a:lnTo>
                      <a:pt x="1198" y="2235"/>
                    </a:lnTo>
                    <a:lnTo>
                      <a:pt x="1198" y="2235"/>
                    </a:lnTo>
                    <a:lnTo>
                      <a:pt x="1199" y="2233"/>
                    </a:lnTo>
                    <a:lnTo>
                      <a:pt x="1203" y="2228"/>
                    </a:lnTo>
                    <a:lnTo>
                      <a:pt x="1206" y="2224"/>
                    </a:lnTo>
                    <a:lnTo>
                      <a:pt x="1207" y="2224"/>
                    </a:lnTo>
                    <a:lnTo>
                      <a:pt x="1210" y="2224"/>
                    </a:lnTo>
                    <a:lnTo>
                      <a:pt x="1213" y="2224"/>
                    </a:lnTo>
                    <a:lnTo>
                      <a:pt x="1215" y="2217"/>
                    </a:lnTo>
                    <a:lnTo>
                      <a:pt x="1217" y="2214"/>
                    </a:lnTo>
                    <a:lnTo>
                      <a:pt x="1222" y="2210"/>
                    </a:lnTo>
                    <a:lnTo>
                      <a:pt x="1222" y="2207"/>
                    </a:lnTo>
                    <a:lnTo>
                      <a:pt x="1223" y="2206"/>
                    </a:lnTo>
                    <a:lnTo>
                      <a:pt x="1232" y="2203"/>
                    </a:lnTo>
                    <a:lnTo>
                      <a:pt x="1233" y="2198"/>
                    </a:lnTo>
                    <a:lnTo>
                      <a:pt x="1233" y="2198"/>
                    </a:lnTo>
                    <a:lnTo>
                      <a:pt x="1234" y="2197"/>
                    </a:lnTo>
                    <a:lnTo>
                      <a:pt x="1236" y="2195"/>
                    </a:lnTo>
                    <a:lnTo>
                      <a:pt x="1237" y="2188"/>
                    </a:lnTo>
                    <a:lnTo>
                      <a:pt x="1238" y="2187"/>
                    </a:lnTo>
                    <a:lnTo>
                      <a:pt x="1241" y="2186"/>
                    </a:lnTo>
                    <a:lnTo>
                      <a:pt x="1249" y="2186"/>
                    </a:lnTo>
                    <a:lnTo>
                      <a:pt x="1264" y="2175"/>
                    </a:lnTo>
                    <a:lnTo>
                      <a:pt x="1274" y="2168"/>
                    </a:lnTo>
                    <a:lnTo>
                      <a:pt x="1283" y="2164"/>
                    </a:lnTo>
                    <a:lnTo>
                      <a:pt x="1288" y="2156"/>
                    </a:lnTo>
                    <a:lnTo>
                      <a:pt x="1293" y="2145"/>
                    </a:lnTo>
                    <a:lnTo>
                      <a:pt x="1298" y="2136"/>
                    </a:lnTo>
                    <a:lnTo>
                      <a:pt x="1301" y="2137"/>
                    </a:lnTo>
                    <a:lnTo>
                      <a:pt x="1309" y="2131"/>
                    </a:lnTo>
                    <a:lnTo>
                      <a:pt x="1310" y="2122"/>
                    </a:lnTo>
                    <a:lnTo>
                      <a:pt x="1310" y="2121"/>
                    </a:lnTo>
                    <a:lnTo>
                      <a:pt x="1310" y="2121"/>
                    </a:lnTo>
                    <a:lnTo>
                      <a:pt x="1317" y="2121"/>
                    </a:lnTo>
                    <a:lnTo>
                      <a:pt x="1317" y="2118"/>
                    </a:lnTo>
                    <a:lnTo>
                      <a:pt x="1312" y="2115"/>
                    </a:lnTo>
                    <a:lnTo>
                      <a:pt x="1305" y="2111"/>
                    </a:lnTo>
                    <a:lnTo>
                      <a:pt x="1306" y="2110"/>
                    </a:lnTo>
                    <a:lnTo>
                      <a:pt x="1310" y="2110"/>
                    </a:lnTo>
                    <a:lnTo>
                      <a:pt x="1317" y="2098"/>
                    </a:lnTo>
                    <a:lnTo>
                      <a:pt x="1326" y="2091"/>
                    </a:lnTo>
                    <a:lnTo>
                      <a:pt x="1336" y="2080"/>
                    </a:lnTo>
                    <a:lnTo>
                      <a:pt x="1337" y="2076"/>
                    </a:lnTo>
                    <a:lnTo>
                      <a:pt x="1344" y="2074"/>
                    </a:lnTo>
                    <a:lnTo>
                      <a:pt x="1345" y="2073"/>
                    </a:lnTo>
                    <a:lnTo>
                      <a:pt x="1350" y="2072"/>
                    </a:lnTo>
                    <a:lnTo>
                      <a:pt x="1356" y="2065"/>
                    </a:lnTo>
                    <a:lnTo>
                      <a:pt x="1359" y="2057"/>
                    </a:lnTo>
                    <a:lnTo>
                      <a:pt x="1360" y="2055"/>
                    </a:lnTo>
                    <a:lnTo>
                      <a:pt x="1367" y="2054"/>
                    </a:lnTo>
                    <a:lnTo>
                      <a:pt x="1369" y="2054"/>
                    </a:lnTo>
                    <a:lnTo>
                      <a:pt x="1373" y="2053"/>
                    </a:lnTo>
                    <a:lnTo>
                      <a:pt x="1378" y="2050"/>
                    </a:lnTo>
                    <a:lnTo>
                      <a:pt x="1388" y="2050"/>
                    </a:lnTo>
                    <a:lnTo>
                      <a:pt x="1394" y="2057"/>
                    </a:lnTo>
                    <a:lnTo>
                      <a:pt x="1401" y="2057"/>
                    </a:lnTo>
                    <a:lnTo>
                      <a:pt x="1404" y="2053"/>
                    </a:lnTo>
                    <a:lnTo>
                      <a:pt x="1416" y="2045"/>
                    </a:lnTo>
                    <a:lnTo>
                      <a:pt x="1416" y="2043"/>
                    </a:lnTo>
                    <a:lnTo>
                      <a:pt x="1415" y="2041"/>
                    </a:lnTo>
                    <a:lnTo>
                      <a:pt x="1417" y="2038"/>
                    </a:lnTo>
                    <a:lnTo>
                      <a:pt x="1416" y="2024"/>
                    </a:lnTo>
                    <a:lnTo>
                      <a:pt x="1416" y="2023"/>
                    </a:lnTo>
                    <a:lnTo>
                      <a:pt x="1419" y="2022"/>
                    </a:lnTo>
                    <a:lnTo>
                      <a:pt x="1420" y="2019"/>
                    </a:lnTo>
                    <a:lnTo>
                      <a:pt x="1421" y="2017"/>
                    </a:lnTo>
                    <a:lnTo>
                      <a:pt x="1424" y="2019"/>
                    </a:lnTo>
                    <a:lnTo>
                      <a:pt x="1443" y="2005"/>
                    </a:lnTo>
                    <a:lnTo>
                      <a:pt x="1446" y="2004"/>
                    </a:lnTo>
                    <a:lnTo>
                      <a:pt x="1458" y="2004"/>
                    </a:lnTo>
                    <a:lnTo>
                      <a:pt x="1465" y="2001"/>
                    </a:lnTo>
                    <a:lnTo>
                      <a:pt x="1468" y="1997"/>
                    </a:lnTo>
                    <a:lnTo>
                      <a:pt x="1476" y="1984"/>
                    </a:lnTo>
                    <a:lnTo>
                      <a:pt x="1477" y="1982"/>
                    </a:lnTo>
                    <a:lnTo>
                      <a:pt x="1478" y="1982"/>
                    </a:lnTo>
                    <a:lnTo>
                      <a:pt x="1478" y="1981"/>
                    </a:lnTo>
                    <a:lnTo>
                      <a:pt x="1474" y="1977"/>
                    </a:lnTo>
                    <a:lnTo>
                      <a:pt x="1468" y="1977"/>
                    </a:lnTo>
                    <a:lnTo>
                      <a:pt x="1465" y="1975"/>
                    </a:lnTo>
                    <a:lnTo>
                      <a:pt x="1465" y="1965"/>
                    </a:lnTo>
                    <a:lnTo>
                      <a:pt x="1461" y="1958"/>
                    </a:lnTo>
                    <a:lnTo>
                      <a:pt x="1458" y="1958"/>
                    </a:lnTo>
                    <a:lnTo>
                      <a:pt x="1457" y="1955"/>
                    </a:lnTo>
                    <a:lnTo>
                      <a:pt x="1458" y="1946"/>
                    </a:lnTo>
                    <a:lnTo>
                      <a:pt x="1455" y="1940"/>
                    </a:lnTo>
                    <a:lnTo>
                      <a:pt x="1455" y="1931"/>
                    </a:lnTo>
                    <a:lnTo>
                      <a:pt x="1453" y="1928"/>
                    </a:lnTo>
                    <a:lnTo>
                      <a:pt x="1447" y="1923"/>
                    </a:lnTo>
                    <a:lnTo>
                      <a:pt x="1446" y="1921"/>
                    </a:lnTo>
                    <a:lnTo>
                      <a:pt x="1445" y="1920"/>
                    </a:lnTo>
                    <a:lnTo>
                      <a:pt x="1442" y="1917"/>
                    </a:lnTo>
                    <a:lnTo>
                      <a:pt x="1440" y="1914"/>
                    </a:lnTo>
                    <a:lnTo>
                      <a:pt x="1435" y="1912"/>
                    </a:lnTo>
                    <a:lnTo>
                      <a:pt x="1435" y="1912"/>
                    </a:lnTo>
                    <a:lnTo>
                      <a:pt x="1434" y="1908"/>
                    </a:lnTo>
                    <a:lnTo>
                      <a:pt x="1435" y="1905"/>
                    </a:lnTo>
                    <a:lnTo>
                      <a:pt x="1435" y="1901"/>
                    </a:lnTo>
                    <a:lnTo>
                      <a:pt x="1430" y="1891"/>
                    </a:lnTo>
                    <a:lnTo>
                      <a:pt x="1427" y="1890"/>
                    </a:lnTo>
                    <a:lnTo>
                      <a:pt x="1426" y="1889"/>
                    </a:lnTo>
                    <a:lnTo>
                      <a:pt x="1428" y="1885"/>
                    </a:lnTo>
                    <a:lnTo>
                      <a:pt x="1426" y="1882"/>
                    </a:lnTo>
                    <a:lnTo>
                      <a:pt x="1424" y="1883"/>
                    </a:lnTo>
                    <a:lnTo>
                      <a:pt x="1421" y="1883"/>
                    </a:lnTo>
                    <a:lnTo>
                      <a:pt x="1419" y="1878"/>
                    </a:lnTo>
                    <a:lnTo>
                      <a:pt x="1421" y="1874"/>
                    </a:lnTo>
                    <a:lnTo>
                      <a:pt x="1424" y="1874"/>
                    </a:lnTo>
                    <a:lnTo>
                      <a:pt x="1427" y="1872"/>
                    </a:lnTo>
                    <a:lnTo>
                      <a:pt x="1428" y="1871"/>
                    </a:lnTo>
                    <a:lnTo>
                      <a:pt x="1430" y="1871"/>
                    </a:lnTo>
                    <a:lnTo>
                      <a:pt x="1435" y="1874"/>
                    </a:lnTo>
                    <a:lnTo>
                      <a:pt x="1439" y="1874"/>
                    </a:lnTo>
                    <a:lnTo>
                      <a:pt x="1446" y="1872"/>
                    </a:lnTo>
                    <a:lnTo>
                      <a:pt x="1450" y="1875"/>
                    </a:lnTo>
                    <a:lnTo>
                      <a:pt x="1453" y="1875"/>
                    </a:lnTo>
                    <a:lnTo>
                      <a:pt x="1455" y="1872"/>
                    </a:lnTo>
                    <a:lnTo>
                      <a:pt x="1455" y="1871"/>
                    </a:lnTo>
                    <a:lnTo>
                      <a:pt x="1451" y="1870"/>
                    </a:lnTo>
                    <a:lnTo>
                      <a:pt x="1451" y="1867"/>
                    </a:lnTo>
                    <a:lnTo>
                      <a:pt x="1453" y="1866"/>
                    </a:lnTo>
                    <a:lnTo>
                      <a:pt x="1457" y="1862"/>
                    </a:lnTo>
                    <a:lnTo>
                      <a:pt x="1459" y="1862"/>
                    </a:lnTo>
                    <a:lnTo>
                      <a:pt x="1459" y="1860"/>
                    </a:lnTo>
                    <a:lnTo>
                      <a:pt x="1461" y="1859"/>
                    </a:lnTo>
                    <a:lnTo>
                      <a:pt x="1461" y="1853"/>
                    </a:lnTo>
                    <a:lnTo>
                      <a:pt x="1464" y="1851"/>
                    </a:lnTo>
                    <a:lnTo>
                      <a:pt x="1469" y="1845"/>
                    </a:lnTo>
                    <a:lnTo>
                      <a:pt x="1470" y="1841"/>
                    </a:lnTo>
                    <a:lnTo>
                      <a:pt x="1473" y="1837"/>
                    </a:lnTo>
                    <a:lnTo>
                      <a:pt x="1480" y="1834"/>
                    </a:lnTo>
                    <a:lnTo>
                      <a:pt x="1476" y="1829"/>
                    </a:lnTo>
                    <a:lnTo>
                      <a:pt x="1476" y="1826"/>
                    </a:lnTo>
                    <a:lnTo>
                      <a:pt x="1480" y="1824"/>
                    </a:lnTo>
                    <a:lnTo>
                      <a:pt x="1485" y="1824"/>
                    </a:lnTo>
                    <a:lnTo>
                      <a:pt x="1487" y="1821"/>
                    </a:lnTo>
                    <a:lnTo>
                      <a:pt x="1487" y="1815"/>
                    </a:lnTo>
                    <a:lnTo>
                      <a:pt x="1489" y="1813"/>
                    </a:lnTo>
                    <a:lnTo>
                      <a:pt x="1492" y="1813"/>
                    </a:lnTo>
                    <a:lnTo>
                      <a:pt x="1493" y="1814"/>
                    </a:lnTo>
                    <a:lnTo>
                      <a:pt x="1495" y="1815"/>
                    </a:lnTo>
                    <a:lnTo>
                      <a:pt x="1497" y="1814"/>
                    </a:lnTo>
                    <a:lnTo>
                      <a:pt x="1499" y="1810"/>
                    </a:lnTo>
                    <a:lnTo>
                      <a:pt x="1500" y="1809"/>
                    </a:lnTo>
                    <a:lnTo>
                      <a:pt x="1502" y="1806"/>
                    </a:lnTo>
                    <a:lnTo>
                      <a:pt x="1500" y="1803"/>
                    </a:lnTo>
                    <a:lnTo>
                      <a:pt x="1502" y="1802"/>
                    </a:lnTo>
                    <a:lnTo>
                      <a:pt x="1504" y="1800"/>
                    </a:lnTo>
                    <a:lnTo>
                      <a:pt x="1508" y="1800"/>
                    </a:lnTo>
                    <a:lnTo>
                      <a:pt x="1511" y="1794"/>
                    </a:lnTo>
                    <a:lnTo>
                      <a:pt x="1511" y="1791"/>
                    </a:lnTo>
                    <a:lnTo>
                      <a:pt x="1510" y="1783"/>
                    </a:lnTo>
                    <a:lnTo>
                      <a:pt x="1510" y="1781"/>
                    </a:lnTo>
                    <a:lnTo>
                      <a:pt x="1510" y="1781"/>
                    </a:lnTo>
                    <a:lnTo>
                      <a:pt x="1516" y="1775"/>
                    </a:lnTo>
                    <a:lnTo>
                      <a:pt x="1522" y="1773"/>
                    </a:lnTo>
                    <a:lnTo>
                      <a:pt x="1523" y="1772"/>
                    </a:lnTo>
                    <a:lnTo>
                      <a:pt x="1527" y="1769"/>
                    </a:lnTo>
                    <a:lnTo>
                      <a:pt x="1523" y="1765"/>
                    </a:lnTo>
                    <a:lnTo>
                      <a:pt x="1523" y="1765"/>
                    </a:lnTo>
                    <a:lnTo>
                      <a:pt x="1520" y="1756"/>
                    </a:lnTo>
                    <a:lnTo>
                      <a:pt x="1520" y="1756"/>
                    </a:lnTo>
                    <a:lnTo>
                      <a:pt x="1516" y="1749"/>
                    </a:lnTo>
                    <a:lnTo>
                      <a:pt x="1514" y="1746"/>
                    </a:lnTo>
                    <a:lnTo>
                      <a:pt x="1515" y="1742"/>
                    </a:lnTo>
                    <a:lnTo>
                      <a:pt x="1514" y="1741"/>
                    </a:lnTo>
                    <a:lnTo>
                      <a:pt x="1514" y="1741"/>
                    </a:lnTo>
                    <a:lnTo>
                      <a:pt x="1514" y="1735"/>
                    </a:lnTo>
                    <a:lnTo>
                      <a:pt x="1512" y="1733"/>
                    </a:lnTo>
                    <a:lnTo>
                      <a:pt x="1511" y="1730"/>
                    </a:lnTo>
                    <a:lnTo>
                      <a:pt x="1508" y="1731"/>
                    </a:lnTo>
                    <a:lnTo>
                      <a:pt x="1506" y="1729"/>
                    </a:lnTo>
                    <a:lnTo>
                      <a:pt x="1503" y="1730"/>
                    </a:lnTo>
                    <a:lnTo>
                      <a:pt x="1495" y="1724"/>
                    </a:lnTo>
                    <a:lnTo>
                      <a:pt x="1493" y="1722"/>
                    </a:lnTo>
                    <a:lnTo>
                      <a:pt x="1491" y="1719"/>
                    </a:lnTo>
                    <a:lnTo>
                      <a:pt x="1493" y="1715"/>
                    </a:lnTo>
                    <a:lnTo>
                      <a:pt x="1491" y="1714"/>
                    </a:lnTo>
                    <a:lnTo>
                      <a:pt x="1492" y="1711"/>
                    </a:lnTo>
                    <a:lnTo>
                      <a:pt x="1492" y="1710"/>
                    </a:lnTo>
                    <a:lnTo>
                      <a:pt x="1488" y="1704"/>
                    </a:lnTo>
                    <a:lnTo>
                      <a:pt x="1487" y="1704"/>
                    </a:lnTo>
                    <a:lnTo>
                      <a:pt x="1485" y="1707"/>
                    </a:lnTo>
                    <a:lnTo>
                      <a:pt x="1485" y="1707"/>
                    </a:lnTo>
                    <a:lnTo>
                      <a:pt x="1478" y="1706"/>
                    </a:lnTo>
                    <a:lnTo>
                      <a:pt x="1478" y="1706"/>
                    </a:lnTo>
                    <a:lnTo>
                      <a:pt x="1473" y="1703"/>
                    </a:lnTo>
                    <a:lnTo>
                      <a:pt x="1469" y="1701"/>
                    </a:lnTo>
                    <a:lnTo>
                      <a:pt x="1469" y="1701"/>
                    </a:lnTo>
                    <a:lnTo>
                      <a:pt x="1468" y="1700"/>
                    </a:lnTo>
                    <a:lnTo>
                      <a:pt x="1468" y="1700"/>
                    </a:lnTo>
                    <a:lnTo>
                      <a:pt x="1462" y="1696"/>
                    </a:lnTo>
                    <a:lnTo>
                      <a:pt x="1462" y="1696"/>
                    </a:lnTo>
                    <a:lnTo>
                      <a:pt x="1457" y="1696"/>
                    </a:lnTo>
                    <a:lnTo>
                      <a:pt x="1453" y="1696"/>
                    </a:lnTo>
                    <a:lnTo>
                      <a:pt x="1453" y="1696"/>
                    </a:lnTo>
                    <a:lnTo>
                      <a:pt x="1450" y="1699"/>
                    </a:lnTo>
                    <a:lnTo>
                      <a:pt x="1447" y="1700"/>
                    </a:lnTo>
                    <a:lnTo>
                      <a:pt x="1442" y="1700"/>
                    </a:lnTo>
                    <a:lnTo>
                      <a:pt x="1431" y="1697"/>
                    </a:lnTo>
                    <a:lnTo>
                      <a:pt x="1430" y="1696"/>
                    </a:lnTo>
                    <a:lnTo>
                      <a:pt x="1430" y="1696"/>
                    </a:lnTo>
                    <a:lnTo>
                      <a:pt x="1424" y="1696"/>
                    </a:lnTo>
                    <a:lnTo>
                      <a:pt x="1417" y="1695"/>
                    </a:lnTo>
                    <a:lnTo>
                      <a:pt x="1417" y="1692"/>
                    </a:lnTo>
                    <a:lnTo>
                      <a:pt x="1412" y="1691"/>
                    </a:lnTo>
                    <a:lnTo>
                      <a:pt x="1411" y="1689"/>
                    </a:lnTo>
                    <a:lnTo>
                      <a:pt x="1411" y="1689"/>
                    </a:lnTo>
                    <a:lnTo>
                      <a:pt x="1402" y="1685"/>
                    </a:lnTo>
                    <a:lnTo>
                      <a:pt x="1398" y="1681"/>
                    </a:lnTo>
                    <a:lnTo>
                      <a:pt x="1394" y="1678"/>
                    </a:lnTo>
                    <a:lnTo>
                      <a:pt x="1394" y="1674"/>
                    </a:lnTo>
                    <a:lnTo>
                      <a:pt x="1394" y="1674"/>
                    </a:lnTo>
                    <a:lnTo>
                      <a:pt x="1392" y="1673"/>
                    </a:lnTo>
                    <a:lnTo>
                      <a:pt x="1388" y="1669"/>
                    </a:lnTo>
                    <a:lnTo>
                      <a:pt x="1378" y="1665"/>
                    </a:lnTo>
                    <a:lnTo>
                      <a:pt x="1378" y="1665"/>
                    </a:lnTo>
                    <a:lnTo>
                      <a:pt x="1378" y="1662"/>
                    </a:lnTo>
                    <a:lnTo>
                      <a:pt x="1377" y="1659"/>
                    </a:lnTo>
                    <a:lnTo>
                      <a:pt x="1375" y="1662"/>
                    </a:lnTo>
                    <a:lnTo>
                      <a:pt x="1374" y="1661"/>
                    </a:lnTo>
                    <a:lnTo>
                      <a:pt x="1371" y="1661"/>
                    </a:lnTo>
                    <a:lnTo>
                      <a:pt x="1369" y="1659"/>
                    </a:lnTo>
                    <a:lnTo>
                      <a:pt x="1369" y="1657"/>
                    </a:lnTo>
                    <a:lnTo>
                      <a:pt x="1366" y="1655"/>
                    </a:lnTo>
                    <a:lnTo>
                      <a:pt x="1362" y="1655"/>
                    </a:lnTo>
                    <a:lnTo>
                      <a:pt x="1362" y="1655"/>
                    </a:lnTo>
                    <a:lnTo>
                      <a:pt x="1358" y="1654"/>
                    </a:lnTo>
                    <a:lnTo>
                      <a:pt x="1354" y="1651"/>
                    </a:lnTo>
                    <a:lnTo>
                      <a:pt x="1352" y="1649"/>
                    </a:lnTo>
                    <a:lnTo>
                      <a:pt x="1352" y="1649"/>
                    </a:lnTo>
                    <a:lnTo>
                      <a:pt x="1347" y="1649"/>
                    </a:lnTo>
                    <a:lnTo>
                      <a:pt x="1343" y="1649"/>
                    </a:lnTo>
                    <a:lnTo>
                      <a:pt x="1341" y="1650"/>
                    </a:lnTo>
                    <a:lnTo>
                      <a:pt x="1341" y="1654"/>
                    </a:lnTo>
                    <a:lnTo>
                      <a:pt x="1339" y="1654"/>
                    </a:lnTo>
                    <a:lnTo>
                      <a:pt x="1331" y="1649"/>
                    </a:lnTo>
                    <a:lnTo>
                      <a:pt x="1329" y="1649"/>
                    </a:lnTo>
                    <a:lnTo>
                      <a:pt x="1326" y="1653"/>
                    </a:lnTo>
                    <a:lnTo>
                      <a:pt x="1322" y="1655"/>
                    </a:lnTo>
                    <a:lnTo>
                      <a:pt x="1321" y="1654"/>
                    </a:lnTo>
                    <a:lnTo>
                      <a:pt x="1318" y="1649"/>
                    </a:lnTo>
                    <a:lnTo>
                      <a:pt x="1322" y="1647"/>
                    </a:lnTo>
                    <a:lnTo>
                      <a:pt x="1322" y="1643"/>
                    </a:lnTo>
                    <a:lnTo>
                      <a:pt x="1325" y="1643"/>
                    </a:lnTo>
                    <a:lnTo>
                      <a:pt x="1325" y="1642"/>
                    </a:lnTo>
                    <a:lnTo>
                      <a:pt x="1326" y="1638"/>
                    </a:lnTo>
                    <a:lnTo>
                      <a:pt x="1325" y="1636"/>
                    </a:lnTo>
                    <a:lnTo>
                      <a:pt x="1324" y="1638"/>
                    </a:lnTo>
                    <a:lnTo>
                      <a:pt x="1324" y="1638"/>
                    </a:lnTo>
                    <a:lnTo>
                      <a:pt x="1320" y="1635"/>
                    </a:lnTo>
                    <a:lnTo>
                      <a:pt x="1317" y="1632"/>
                    </a:lnTo>
                    <a:lnTo>
                      <a:pt x="1317" y="1630"/>
                    </a:lnTo>
                    <a:lnTo>
                      <a:pt x="1317" y="1630"/>
                    </a:lnTo>
                    <a:lnTo>
                      <a:pt x="1314" y="1625"/>
                    </a:lnTo>
                    <a:lnTo>
                      <a:pt x="1312" y="1623"/>
                    </a:lnTo>
                    <a:lnTo>
                      <a:pt x="1307" y="1620"/>
                    </a:lnTo>
                    <a:lnTo>
                      <a:pt x="1303" y="1619"/>
                    </a:lnTo>
                    <a:lnTo>
                      <a:pt x="1303" y="1619"/>
                    </a:lnTo>
                    <a:lnTo>
                      <a:pt x="1302" y="1617"/>
                    </a:lnTo>
                    <a:lnTo>
                      <a:pt x="1299" y="1616"/>
                    </a:lnTo>
                    <a:lnTo>
                      <a:pt x="1299" y="1616"/>
                    </a:lnTo>
                    <a:lnTo>
                      <a:pt x="1295" y="1616"/>
                    </a:lnTo>
                    <a:lnTo>
                      <a:pt x="1293" y="1615"/>
                    </a:lnTo>
                    <a:lnTo>
                      <a:pt x="1290" y="1615"/>
                    </a:lnTo>
                    <a:lnTo>
                      <a:pt x="1286" y="1615"/>
                    </a:lnTo>
                    <a:lnTo>
                      <a:pt x="1284" y="1616"/>
                    </a:lnTo>
                    <a:lnTo>
                      <a:pt x="1280" y="1616"/>
                    </a:lnTo>
                    <a:lnTo>
                      <a:pt x="1278" y="1613"/>
                    </a:lnTo>
                    <a:lnTo>
                      <a:pt x="1278" y="1616"/>
                    </a:lnTo>
                    <a:lnTo>
                      <a:pt x="1268" y="1615"/>
                    </a:lnTo>
                    <a:lnTo>
                      <a:pt x="1267" y="1616"/>
                    </a:lnTo>
                    <a:lnTo>
                      <a:pt x="1264" y="1616"/>
                    </a:lnTo>
                    <a:lnTo>
                      <a:pt x="1259" y="1613"/>
                    </a:lnTo>
                    <a:lnTo>
                      <a:pt x="1257" y="1613"/>
                    </a:lnTo>
                    <a:lnTo>
                      <a:pt x="1253" y="1612"/>
                    </a:lnTo>
                    <a:lnTo>
                      <a:pt x="1251" y="1613"/>
                    </a:lnTo>
                    <a:lnTo>
                      <a:pt x="1249" y="1612"/>
                    </a:lnTo>
                    <a:lnTo>
                      <a:pt x="1246" y="1615"/>
                    </a:lnTo>
                    <a:lnTo>
                      <a:pt x="1245" y="1613"/>
                    </a:lnTo>
                    <a:lnTo>
                      <a:pt x="1242" y="1615"/>
                    </a:lnTo>
                    <a:lnTo>
                      <a:pt x="1240" y="1620"/>
                    </a:lnTo>
                    <a:lnTo>
                      <a:pt x="1237" y="1621"/>
                    </a:lnTo>
                    <a:lnTo>
                      <a:pt x="1237" y="1624"/>
                    </a:lnTo>
                    <a:lnTo>
                      <a:pt x="1232" y="1628"/>
                    </a:lnTo>
                    <a:lnTo>
                      <a:pt x="1225" y="1630"/>
                    </a:lnTo>
                    <a:lnTo>
                      <a:pt x="1225" y="1635"/>
                    </a:lnTo>
                    <a:lnTo>
                      <a:pt x="1226" y="1639"/>
                    </a:lnTo>
                    <a:lnTo>
                      <a:pt x="1232" y="1643"/>
                    </a:lnTo>
                    <a:lnTo>
                      <a:pt x="1232" y="1643"/>
                    </a:lnTo>
                    <a:lnTo>
                      <a:pt x="1226" y="1646"/>
                    </a:lnTo>
                    <a:lnTo>
                      <a:pt x="1223" y="1644"/>
                    </a:lnTo>
                    <a:lnTo>
                      <a:pt x="1221" y="1644"/>
                    </a:lnTo>
                    <a:lnTo>
                      <a:pt x="1218" y="1644"/>
                    </a:lnTo>
                    <a:lnTo>
                      <a:pt x="1217" y="1646"/>
                    </a:lnTo>
                    <a:lnTo>
                      <a:pt x="1217" y="1649"/>
                    </a:lnTo>
                    <a:lnTo>
                      <a:pt x="1217" y="1649"/>
                    </a:lnTo>
                    <a:lnTo>
                      <a:pt x="1218" y="1651"/>
                    </a:lnTo>
                    <a:lnTo>
                      <a:pt x="1218" y="1654"/>
                    </a:lnTo>
                    <a:lnTo>
                      <a:pt x="1217" y="1658"/>
                    </a:lnTo>
                    <a:lnTo>
                      <a:pt x="1214" y="1659"/>
                    </a:lnTo>
                    <a:lnTo>
                      <a:pt x="1214" y="1663"/>
                    </a:lnTo>
                    <a:lnTo>
                      <a:pt x="1214" y="1663"/>
                    </a:lnTo>
                    <a:lnTo>
                      <a:pt x="1211" y="1666"/>
                    </a:lnTo>
                    <a:lnTo>
                      <a:pt x="1208" y="1668"/>
                    </a:lnTo>
                    <a:lnTo>
                      <a:pt x="1202" y="1669"/>
                    </a:lnTo>
                    <a:lnTo>
                      <a:pt x="1202" y="1669"/>
                    </a:lnTo>
                    <a:lnTo>
                      <a:pt x="1194" y="1670"/>
                    </a:lnTo>
                    <a:lnTo>
                      <a:pt x="1189" y="1672"/>
                    </a:lnTo>
                    <a:lnTo>
                      <a:pt x="1184" y="1676"/>
                    </a:lnTo>
                    <a:lnTo>
                      <a:pt x="1179" y="1680"/>
                    </a:lnTo>
                    <a:lnTo>
                      <a:pt x="1179" y="1680"/>
                    </a:lnTo>
                    <a:lnTo>
                      <a:pt x="1175" y="1681"/>
                    </a:lnTo>
                    <a:lnTo>
                      <a:pt x="1170" y="1682"/>
                    </a:lnTo>
                    <a:lnTo>
                      <a:pt x="1170" y="1682"/>
                    </a:lnTo>
                    <a:lnTo>
                      <a:pt x="1166" y="1681"/>
                    </a:lnTo>
                    <a:lnTo>
                      <a:pt x="1162" y="1681"/>
                    </a:lnTo>
                    <a:lnTo>
                      <a:pt x="1162" y="1681"/>
                    </a:lnTo>
                    <a:lnTo>
                      <a:pt x="1160" y="1684"/>
                    </a:lnTo>
                    <a:lnTo>
                      <a:pt x="1157" y="1685"/>
                    </a:lnTo>
                    <a:lnTo>
                      <a:pt x="1151" y="1687"/>
                    </a:lnTo>
                    <a:lnTo>
                      <a:pt x="1151" y="1687"/>
                    </a:lnTo>
                    <a:lnTo>
                      <a:pt x="1142" y="1684"/>
                    </a:lnTo>
                    <a:lnTo>
                      <a:pt x="1134" y="1677"/>
                    </a:lnTo>
                    <a:lnTo>
                      <a:pt x="1134" y="1677"/>
                    </a:lnTo>
                    <a:lnTo>
                      <a:pt x="1128" y="1673"/>
                    </a:lnTo>
                    <a:lnTo>
                      <a:pt x="1128" y="1673"/>
                    </a:lnTo>
                    <a:lnTo>
                      <a:pt x="1126" y="1669"/>
                    </a:lnTo>
                    <a:lnTo>
                      <a:pt x="1126" y="1669"/>
                    </a:lnTo>
                    <a:lnTo>
                      <a:pt x="1120" y="1666"/>
                    </a:lnTo>
                    <a:lnTo>
                      <a:pt x="1120" y="1663"/>
                    </a:lnTo>
                    <a:lnTo>
                      <a:pt x="1115" y="1661"/>
                    </a:lnTo>
                    <a:lnTo>
                      <a:pt x="1115" y="1661"/>
                    </a:lnTo>
                    <a:lnTo>
                      <a:pt x="1112" y="1663"/>
                    </a:lnTo>
                    <a:lnTo>
                      <a:pt x="1105" y="1662"/>
                    </a:lnTo>
                    <a:lnTo>
                      <a:pt x="1105" y="1663"/>
                    </a:lnTo>
                    <a:lnTo>
                      <a:pt x="1105" y="1663"/>
                    </a:lnTo>
                    <a:lnTo>
                      <a:pt x="1101" y="1665"/>
                    </a:lnTo>
                    <a:lnTo>
                      <a:pt x="1097" y="1663"/>
                    </a:lnTo>
                    <a:lnTo>
                      <a:pt x="1096" y="1662"/>
                    </a:lnTo>
                    <a:lnTo>
                      <a:pt x="1096" y="1662"/>
                    </a:lnTo>
                    <a:lnTo>
                      <a:pt x="1085" y="1663"/>
                    </a:lnTo>
                    <a:lnTo>
                      <a:pt x="1081" y="1666"/>
                    </a:lnTo>
                    <a:lnTo>
                      <a:pt x="1081" y="1666"/>
                    </a:lnTo>
                    <a:lnTo>
                      <a:pt x="1077" y="1665"/>
                    </a:lnTo>
                    <a:lnTo>
                      <a:pt x="1073" y="1665"/>
                    </a:lnTo>
                    <a:lnTo>
                      <a:pt x="1069" y="1665"/>
                    </a:lnTo>
                    <a:lnTo>
                      <a:pt x="1066" y="1663"/>
                    </a:lnTo>
                    <a:lnTo>
                      <a:pt x="1066" y="1663"/>
                    </a:lnTo>
                    <a:lnTo>
                      <a:pt x="1062" y="1662"/>
                    </a:lnTo>
                    <a:lnTo>
                      <a:pt x="1056" y="1658"/>
                    </a:lnTo>
                    <a:lnTo>
                      <a:pt x="1048" y="1651"/>
                    </a:lnTo>
                    <a:lnTo>
                      <a:pt x="1047" y="1651"/>
                    </a:lnTo>
                    <a:lnTo>
                      <a:pt x="1037" y="1659"/>
                    </a:lnTo>
                    <a:lnTo>
                      <a:pt x="1032" y="1658"/>
                    </a:lnTo>
                    <a:lnTo>
                      <a:pt x="1029" y="1657"/>
                    </a:lnTo>
                    <a:lnTo>
                      <a:pt x="1027" y="1657"/>
                    </a:lnTo>
                    <a:lnTo>
                      <a:pt x="1025" y="1654"/>
                    </a:lnTo>
                    <a:lnTo>
                      <a:pt x="1024" y="1657"/>
                    </a:lnTo>
                    <a:lnTo>
                      <a:pt x="1024" y="1657"/>
                    </a:lnTo>
                    <a:lnTo>
                      <a:pt x="1020" y="1657"/>
                    </a:lnTo>
                    <a:lnTo>
                      <a:pt x="1014" y="1655"/>
                    </a:lnTo>
                    <a:lnTo>
                      <a:pt x="1005" y="1653"/>
                    </a:lnTo>
                    <a:lnTo>
                      <a:pt x="1005" y="1653"/>
                    </a:lnTo>
                    <a:lnTo>
                      <a:pt x="1002" y="1654"/>
                    </a:lnTo>
                    <a:lnTo>
                      <a:pt x="998" y="1654"/>
                    </a:lnTo>
                    <a:lnTo>
                      <a:pt x="991" y="1653"/>
                    </a:lnTo>
                    <a:lnTo>
                      <a:pt x="989" y="1650"/>
                    </a:lnTo>
                    <a:lnTo>
                      <a:pt x="989" y="1650"/>
                    </a:lnTo>
                    <a:lnTo>
                      <a:pt x="979" y="1647"/>
                    </a:lnTo>
                    <a:lnTo>
                      <a:pt x="971" y="1646"/>
                    </a:lnTo>
                    <a:lnTo>
                      <a:pt x="967" y="1642"/>
                    </a:lnTo>
                    <a:lnTo>
                      <a:pt x="960" y="1640"/>
                    </a:lnTo>
                    <a:lnTo>
                      <a:pt x="960" y="1639"/>
                    </a:lnTo>
                    <a:lnTo>
                      <a:pt x="956" y="1638"/>
                    </a:lnTo>
                    <a:lnTo>
                      <a:pt x="955" y="1640"/>
                    </a:lnTo>
                    <a:lnTo>
                      <a:pt x="955" y="1640"/>
                    </a:lnTo>
                    <a:lnTo>
                      <a:pt x="949" y="1642"/>
                    </a:lnTo>
                    <a:lnTo>
                      <a:pt x="944" y="1643"/>
                    </a:lnTo>
                    <a:lnTo>
                      <a:pt x="944" y="1644"/>
                    </a:lnTo>
                    <a:lnTo>
                      <a:pt x="944" y="1644"/>
                    </a:lnTo>
                    <a:lnTo>
                      <a:pt x="941" y="1646"/>
                    </a:lnTo>
                    <a:lnTo>
                      <a:pt x="938" y="1646"/>
                    </a:lnTo>
                    <a:lnTo>
                      <a:pt x="937" y="1644"/>
                    </a:lnTo>
                    <a:lnTo>
                      <a:pt x="934" y="1644"/>
                    </a:lnTo>
                    <a:lnTo>
                      <a:pt x="933" y="1643"/>
                    </a:lnTo>
                    <a:lnTo>
                      <a:pt x="932" y="1640"/>
                    </a:lnTo>
                    <a:lnTo>
                      <a:pt x="929" y="1638"/>
                    </a:lnTo>
                    <a:lnTo>
                      <a:pt x="932" y="1636"/>
                    </a:lnTo>
                    <a:lnTo>
                      <a:pt x="932" y="1636"/>
                    </a:lnTo>
                    <a:lnTo>
                      <a:pt x="930" y="1632"/>
                    </a:lnTo>
                    <a:lnTo>
                      <a:pt x="929" y="1630"/>
                    </a:lnTo>
                    <a:lnTo>
                      <a:pt x="926" y="1630"/>
                    </a:lnTo>
                    <a:lnTo>
                      <a:pt x="925" y="1631"/>
                    </a:lnTo>
                    <a:lnTo>
                      <a:pt x="922" y="1635"/>
                    </a:lnTo>
                    <a:lnTo>
                      <a:pt x="918" y="1636"/>
                    </a:lnTo>
                    <a:lnTo>
                      <a:pt x="919" y="1636"/>
                    </a:lnTo>
                    <a:lnTo>
                      <a:pt x="918" y="1638"/>
                    </a:lnTo>
                    <a:lnTo>
                      <a:pt x="915" y="1638"/>
                    </a:lnTo>
                    <a:lnTo>
                      <a:pt x="915" y="1638"/>
                    </a:lnTo>
                    <a:lnTo>
                      <a:pt x="914" y="1639"/>
                    </a:lnTo>
                    <a:lnTo>
                      <a:pt x="911" y="1638"/>
                    </a:lnTo>
                    <a:lnTo>
                      <a:pt x="915" y="1636"/>
                    </a:lnTo>
                    <a:lnTo>
                      <a:pt x="915" y="1635"/>
                    </a:lnTo>
                    <a:lnTo>
                      <a:pt x="915" y="1635"/>
                    </a:lnTo>
                    <a:lnTo>
                      <a:pt x="913" y="1634"/>
                    </a:lnTo>
                    <a:lnTo>
                      <a:pt x="911" y="1630"/>
                    </a:lnTo>
                    <a:lnTo>
                      <a:pt x="911" y="1630"/>
                    </a:lnTo>
                    <a:lnTo>
                      <a:pt x="911" y="1625"/>
                    </a:lnTo>
                    <a:lnTo>
                      <a:pt x="911" y="1620"/>
                    </a:lnTo>
                    <a:lnTo>
                      <a:pt x="910" y="1615"/>
                    </a:lnTo>
                    <a:lnTo>
                      <a:pt x="907" y="1611"/>
                    </a:lnTo>
                    <a:lnTo>
                      <a:pt x="907" y="1611"/>
                    </a:lnTo>
                    <a:lnTo>
                      <a:pt x="905" y="1609"/>
                    </a:lnTo>
                    <a:lnTo>
                      <a:pt x="900" y="1608"/>
                    </a:lnTo>
                    <a:lnTo>
                      <a:pt x="895" y="1602"/>
                    </a:lnTo>
                    <a:lnTo>
                      <a:pt x="890" y="1594"/>
                    </a:lnTo>
                    <a:lnTo>
                      <a:pt x="886" y="1587"/>
                    </a:lnTo>
                    <a:lnTo>
                      <a:pt x="883" y="1586"/>
                    </a:lnTo>
                    <a:lnTo>
                      <a:pt x="881" y="1590"/>
                    </a:lnTo>
                    <a:lnTo>
                      <a:pt x="877" y="1592"/>
                    </a:lnTo>
                    <a:lnTo>
                      <a:pt x="877" y="1592"/>
                    </a:lnTo>
                    <a:lnTo>
                      <a:pt x="873" y="1590"/>
                    </a:lnTo>
                    <a:lnTo>
                      <a:pt x="869" y="1589"/>
                    </a:lnTo>
                    <a:lnTo>
                      <a:pt x="869" y="1586"/>
                    </a:lnTo>
                    <a:lnTo>
                      <a:pt x="872" y="1582"/>
                    </a:lnTo>
                    <a:lnTo>
                      <a:pt x="871" y="1581"/>
                    </a:lnTo>
                    <a:lnTo>
                      <a:pt x="867" y="1579"/>
                    </a:lnTo>
                    <a:lnTo>
                      <a:pt x="865" y="1581"/>
                    </a:lnTo>
                    <a:lnTo>
                      <a:pt x="865" y="1585"/>
                    </a:lnTo>
                    <a:lnTo>
                      <a:pt x="862" y="1587"/>
                    </a:lnTo>
                    <a:lnTo>
                      <a:pt x="860" y="1586"/>
                    </a:lnTo>
                    <a:lnTo>
                      <a:pt x="858" y="1583"/>
                    </a:lnTo>
                    <a:lnTo>
                      <a:pt x="861" y="1581"/>
                    </a:lnTo>
                    <a:lnTo>
                      <a:pt x="861" y="1578"/>
                    </a:lnTo>
                    <a:lnTo>
                      <a:pt x="862" y="1578"/>
                    </a:lnTo>
                    <a:lnTo>
                      <a:pt x="862" y="1581"/>
                    </a:lnTo>
                    <a:lnTo>
                      <a:pt x="862" y="1581"/>
                    </a:lnTo>
                    <a:lnTo>
                      <a:pt x="861" y="1582"/>
                    </a:lnTo>
                    <a:lnTo>
                      <a:pt x="860" y="1585"/>
                    </a:lnTo>
                    <a:lnTo>
                      <a:pt x="861" y="1586"/>
                    </a:lnTo>
                    <a:lnTo>
                      <a:pt x="864" y="1583"/>
                    </a:lnTo>
                    <a:lnTo>
                      <a:pt x="864" y="1579"/>
                    </a:lnTo>
                    <a:lnTo>
                      <a:pt x="867" y="1577"/>
                    </a:lnTo>
                    <a:lnTo>
                      <a:pt x="875" y="1581"/>
                    </a:lnTo>
                    <a:lnTo>
                      <a:pt x="876" y="1585"/>
                    </a:lnTo>
                    <a:lnTo>
                      <a:pt x="873" y="1586"/>
                    </a:lnTo>
                    <a:lnTo>
                      <a:pt x="873" y="1587"/>
                    </a:lnTo>
                    <a:lnTo>
                      <a:pt x="875" y="1589"/>
                    </a:lnTo>
                    <a:lnTo>
                      <a:pt x="875" y="1589"/>
                    </a:lnTo>
                    <a:lnTo>
                      <a:pt x="876" y="1586"/>
                    </a:lnTo>
                    <a:lnTo>
                      <a:pt x="879" y="1583"/>
                    </a:lnTo>
                    <a:lnTo>
                      <a:pt x="879" y="1583"/>
                    </a:lnTo>
                    <a:lnTo>
                      <a:pt x="883" y="1585"/>
                    </a:lnTo>
                    <a:lnTo>
                      <a:pt x="887" y="1585"/>
                    </a:lnTo>
                    <a:lnTo>
                      <a:pt x="887" y="1585"/>
                    </a:lnTo>
                    <a:lnTo>
                      <a:pt x="894" y="1596"/>
                    </a:lnTo>
                    <a:lnTo>
                      <a:pt x="899" y="1600"/>
                    </a:lnTo>
                    <a:lnTo>
                      <a:pt x="903" y="1604"/>
                    </a:lnTo>
                    <a:lnTo>
                      <a:pt x="907" y="1604"/>
                    </a:lnTo>
                    <a:lnTo>
                      <a:pt x="907" y="1605"/>
                    </a:lnTo>
                    <a:lnTo>
                      <a:pt x="907" y="1605"/>
                    </a:lnTo>
                    <a:lnTo>
                      <a:pt x="914" y="1611"/>
                    </a:lnTo>
                    <a:lnTo>
                      <a:pt x="915" y="1615"/>
                    </a:lnTo>
                    <a:lnTo>
                      <a:pt x="919" y="1619"/>
                    </a:lnTo>
                    <a:lnTo>
                      <a:pt x="930" y="1624"/>
                    </a:lnTo>
                    <a:lnTo>
                      <a:pt x="932" y="1623"/>
                    </a:lnTo>
                    <a:lnTo>
                      <a:pt x="934" y="1624"/>
                    </a:lnTo>
                    <a:lnTo>
                      <a:pt x="934" y="1624"/>
                    </a:lnTo>
                    <a:lnTo>
                      <a:pt x="943" y="1620"/>
                    </a:lnTo>
                    <a:lnTo>
                      <a:pt x="943" y="1620"/>
                    </a:lnTo>
                    <a:lnTo>
                      <a:pt x="952" y="1619"/>
                    </a:lnTo>
                    <a:lnTo>
                      <a:pt x="953" y="1623"/>
                    </a:lnTo>
                    <a:lnTo>
                      <a:pt x="957" y="1624"/>
                    </a:lnTo>
                    <a:lnTo>
                      <a:pt x="960" y="1621"/>
                    </a:lnTo>
                    <a:lnTo>
                      <a:pt x="960" y="1620"/>
                    </a:lnTo>
                    <a:lnTo>
                      <a:pt x="957" y="1617"/>
                    </a:lnTo>
                    <a:lnTo>
                      <a:pt x="963" y="1620"/>
                    </a:lnTo>
                    <a:lnTo>
                      <a:pt x="963" y="1620"/>
                    </a:lnTo>
                    <a:lnTo>
                      <a:pt x="963" y="1617"/>
                    </a:lnTo>
                    <a:lnTo>
                      <a:pt x="968" y="1617"/>
                    </a:lnTo>
                    <a:lnTo>
                      <a:pt x="978" y="1627"/>
                    </a:lnTo>
                    <a:lnTo>
                      <a:pt x="983" y="1628"/>
                    </a:lnTo>
                    <a:lnTo>
                      <a:pt x="985" y="1627"/>
                    </a:lnTo>
                    <a:lnTo>
                      <a:pt x="989" y="1627"/>
                    </a:lnTo>
                    <a:lnTo>
                      <a:pt x="993" y="1631"/>
                    </a:lnTo>
                    <a:lnTo>
                      <a:pt x="993" y="1631"/>
                    </a:lnTo>
                    <a:lnTo>
                      <a:pt x="995" y="1631"/>
                    </a:lnTo>
                    <a:lnTo>
                      <a:pt x="999" y="1631"/>
                    </a:lnTo>
                    <a:lnTo>
                      <a:pt x="999" y="1631"/>
                    </a:lnTo>
                    <a:lnTo>
                      <a:pt x="1002" y="1632"/>
                    </a:lnTo>
                    <a:lnTo>
                      <a:pt x="1005" y="1634"/>
                    </a:lnTo>
                    <a:lnTo>
                      <a:pt x="1006" y="1634"/>
                    </a:lnTo>
                    <a:lnTo>
                      <a:pt x="1006" y="1634"/>
                    </a:lnTo>
                    <a:lnTo>
                      <a:pt x="1027" y="1642"/>
                    </a:lnTo>
                    <a:lnTo>
                      <a:pt x="1028" y="1644"/>
                    </a:lnTo>
                    <a:lnTo>
                      <a:pt x="1032" y="1647"/>
                    </a:lnTo>
                    <a:lnTo>
                      <a:pt x="1036" y="1646"/>
                    </a:lnTo>
                    <a:lnTo>
                      <a:pt x="1036" y="1644"/>
                    </a:lnTo>
                    <a:lnTo>
                      <a:pt x="1035" y="1642"/>
                    </a:lnTo>
                    <a:lnTo>
                      <a:pt x="1035" y="1638"/>
                    </a:lnTo>
                    <a:lnTo>
                      <a:pt x="1032" y="1636"/>
                    </a:lnTo>
                    <a:lnTo>
                      <a:pt x="1033" y="1635"/>
                    </a:lnTo>
                    <a:lnTo>
                      <a:pt x="1035" y="1636"/>
                    </a:lnTo>
                    <a:lnTo>
                      <a:pt x="1042" y="1634"/>
                    </a:lnTo>
                    <a:lnTo>
                      <a:pt x="1044" y="1636"/>
                    </a:lnTo>
                    <a:lnTo>
                      <a:pt x="1050" y="1635"/>
                    </a:lnTo>
                    <a:lnTo>
                      <a:pt x="1051" y="1634"/>
                    </a:lnTo>
                    <a:lnTo>
                      <a:pt x="1051" y="1631"/>
                    </a:lnTo>
                    <a:lnTo>
                      <a:pt x="1051" y="1630"/>
                    </a:lnTo>
                    <a:lnTo>
                      <a:pt x="1055" y="1627"/>
                    </a:lnTo>
                    <a:lnTo>
                      <a:pt x="1056" y="1628"/>
                    </a:lnTo>
                    <a:lnTo>
                      <a:pt x="1061" y="1631"/>
                    </a:lnTo>
                    <a:lnTo>
                      <a:pt x="1061" y="1631"/>
                    </a:lnTo>
                    <a:lnTo>
                      <a:pt x="1062" y="1630"/>
                    </a:lnTo>
                    <a:lnTo>
                      <a:pt x="1065" y="1628"/>
                    </a:lnTo>
                    <a:lnTo>
                      <a:pt x="1063" y="1627"/>
                    </a:lnTo>
                    <a:lnTo>
                      <a:pt x="1063" y="1625"/>
                    </a:lnTo>
                    <a:lnTo>
                      <a:pt x="1066" y="1625"/>
                    </a:lnTo>
                    <a:lnTo>
                      <a:pt x="1069" y="1620"/>
                    </a:lnTo>
                    <a:lnTo>
                      <a:pt x="1070" y="1620"/>
                    </a:lnTo>
                    <a:lnTo>
                      <a:pt x="1073" y="1621"/>
                    </a:lnTo>
                    <a:lnTo>
                      <a:pt x="1073" y="1619"/>
                    </a:lnTo>
                    <a:lnTo>
                      <a:pt x="1073" y="1619"/>
                    </a:lnTo>
                    <a:lnTo>
                      <a:pt x="1080" y="1617"/>
                    </a:lnTo>
                    <a:lnTo>
                      <a:pt x="1084" y="1616"/>
                    </a:lnTo>
                    <a:lnTo>
                      <a:pt x="1086" y="1616"/>
                    </a:lnTo>
                    <a:lnTo>
                      <a:pt x="1090" y="1620"/>
                    </a:lnTo>
                    <a:lnTo>
                      <a:pt x="1093" y="1619"/>
                    </a:lnTo>
                    <a:lnTo>
                      <a:pt x="1096" y="1619"/>
                    </a:lnTo>
                    <a:lnTo>
                      <a:pt x="1096" y="1619"/>
                    </a:lnTo>
                    <a:lnTo>
                      <a:pt x="1096" y="1616"/>
                    </a:lnTo>
                    <a:lnTo>
                      <a:pt x="1097" y="1615"/>
                    </a:lnTo>
                    <a:lnTo>
                      <a:pt x="1115" y="1613"/>
                    </a:lnTo>
                    <a:lnTo>
                      <a:pt x="1115" y="1613"/>
                    </a:lnTo>
                    <a:lnTo>
                      <a:pt x="1115" y="1611"/>
                    </a:lnTo>
                    <a:lnTo>
                      <a:pt x="1116" y="1606"/>
                    </a:lnTo>
                    <a:lnTo>
                      <a:pt x="1116" y="1606"/>
                    </a:lnTo>
                    <a:lnTo>
                      <a:pt x="1119" y="1602"/>
                    </a:lnTo>
                    <a:lnTo>
                      <a:pt x="1119" y="1600"/>
                    </a:lnTo>
                    <a:lnTo>
                      <a:pt x="1119" y="1592"/>
                    </a:lnTo>
                    <a:lnTo>
                      <a:pt x="1119" y="1592"/>
                    </a:lnTo>
                    <a:lnTo>
                      <a:pt x="1120" y="1586"/>
                    </a:lnTo>
                    <a:lnTo>
                      <a:pt x="1123" y="1581"/>
                    </a:lnTo>
                    <a:lnTo>
                      <a:pt x="1127" y="1578"/>
                    </a:lnTo>
                    <a:lnTo>
                      <a:pt x="1131" y="1578"/>
                    </a:lnTo>
                    <a:lnTo>
                      <a:pt x="1131" y="1578"/>
                    </a:lnTo>
                    <a:lnTo>
                      <a:pt x="1135" y="1574"/>
                    </a:lnTo>
                    <a:lnTo>
                      <a:pt x="1139" y="1570"/>
                    </a:lnTo>
                    <a:lnTo>
                      <a:pt x="1141" y="1567"/>
                    </a:lnTo>
                    <a:lnTo>
                      <a:pt x="1143" y="1566"/>
                    </a:lnTo>
                    <a:lnTo>
                      <a:pt x="1145" y="1567"/>
                    </a:lnTo>
                    <a:lnTo>
                      <a:pt x="1146" y="1566"/>
                    </a:lnTo>
                    <a:lnTo>
                      <a:pt x="1149" y="1560"/>
                    </a:lnTo>
                    <a:lnTo>
                      <a:pt x="1151" y="1559"/>
                    </a:lnTo>
                    <a:lnTo>
                      <a:pt x="1151" y="1559"/>
                    </a:lnTo>
                    <a:lnTo>
                      <a:pt x="1153" y="1556"/>
                    </a:lnTo>
                    <a:lnTo>
                      <a:pt x="1156" y="1554"/>
                    </a:lnTo>
                    <a:lnTo>
                      <a:pt x="1161" y="1550"/>
                    </a:lnTo>
                    <a:lnTo>
                      <a:pt x="1164" y="1550"/>
                    </a:lnTo>
                    <a:lnTo>
                      <a:pt x="1164" y="1550"/>
                    </a:lnTo>
                    <a:lnTo>
                      <a:pt x="1168" y="1547"/>
                    </a:lnTo>
                    <a:lnTo>
                      <a:pt x="1169" y="1544"/>
                    </a:lnTo>
                    <a:lnTo>
                      <a:pt x="1170" y="1541"/>
                    </a:lnTo>
                    <a:lnTo>
                      <a:pt x="1170" y="1541"/>
                    </a:lnTo>
                    <a:lnTo>
                      <a:pt x="1175" y="1539"/>
                    </a:lnTo>
                    <a:lnTo>
                      <a:pt x="1177" y="1536"/>
                    </a:lnTo>
                    <a:lnTo>
                      <a:pt x="1179" y="1533"/>
                    </a:lnTo>
                    <a:lnTo>
                      <a:pt x="1179" y="1533"/>
                    </a:lnTo>
                    <a:lnTo>
                      <a:pt x="1184" y="1526"/>
                    </a:lnTo>
                    <a:lnTo>
                      <a:pt x="1188" y="1525"/>
                    </a:lnTo>
                    <a:lnTo>
                      <a:pt x="1192" y="1522"/>
                    </a:lnTo>
                    <a:lnTo>
                      <a:pt x="1200" y="1521"/>
                    </a:lnTo>
                    <a:lnTo>
                      <a:pt x="1200" y="1521"/>
                    </a:lnTo>
                    <a:lnTo>
                      <a:pt x="1206" y="1522"/>
                    </a:lnTo>
                    <a:lnTo>
                      <a:pt x="1213" y="1524"/>
                    </a:lnTo>
                    <a:lnTo>
                      <a:pt x="1218" y="1526"/>
                    </a:lnTo>
                    <a:lnTo>
                      <a:pt x="1221" y="1528"/>
                    </a:lnTo>
                    <a:lnTo>
                      <a:pt x="1221" y="1531"/>
                    </a:lnTo>
                    <a:lnTo>
                      <a:pt x="1221" y="1532"/>
                    </a:lnTo>
                    <a:lnTo>
                      <a:pt x="1225" y="1533"/>
                    </a:lnTo>
                    <a:lnTo>
                      <a:pt x="1225" y="1535"/>
                    </a:lnTo>
                    <a:lnTo>
                      <a:pt x="1223" y="1537"/>
                    </a:lnTo>
                    <a:lnTo>
                      <a:pt x="1225" y="1537"/>
                    </a:lnTo>
                    <a:lnTo>
                      <a:pt x="1229" y="1535"/>
                    </a:lnTo>
                    <a:lnTo>
                      <a:pt x="1230" y="1536"/>
                    </a:lnTo>
                    <a:lnTo>
                      <a:pt x="1233" y="1539"/>
                    </a:lnTo>
                    <a:lnTo>
                      <a:pt x="1236" y="1539"/>
                    </a:lnTo>
                    <a:lnTo>
                      <a:pt x="1237" y="1536"/>
                    </a:lnTo>
                    <a:lnTo>
                      <a:pt x="1240" y="1535"/>
                    </a:lnTo>
                    <a:lnTo>
                      <a:pt x="1245" y="1539"/>
                    </a:lnTo>
                    <a:lnTo>
                      <a:pt x="1245" y="1539"/>
                    </a:lnTo>
                    <a:lnTo>
                      <a:pt x="1248" y="1535"/>
                    </a:lnTo>
                    <a:lnTo>
                      <a:pt x="1252" y="1531"/>
                    </a:lnTo>
                    <a:lnTo>
                      <a:pt x="1260" y="1525"/>
                    </a:lnTo>
                    <a:lnTo>
                      <a:pt x="1271" y="1521"/>
                    </a:lnTo>
                    <a:lnTo>
                      <a:pt x="1280" y="1520"/>
                    </a:lnTo>
                    <a:lnTo>
                      <a:pt x="1283" y="1514"/>
                    </a:lnTo>
                    <a:lnTo>
                      <a:pt x="1287" y="1516"/>
                    </a:lnTo>
                    <a:lnTo>
                      <a:pt x="1290" y="1513"/>
                    </a:lnTo>
                    <a:lnTo>
                      <a:pt x="1294" y="1507"/>
                    </a:lnTo>
                    <a:lnTo>
                      <a:pt x="1294" y="1507"/>
                    </a:lnTo>
                    <a:lnTo>
                      <a:pt x="1299" y="1505"/>
                    </a:lnTo>
                    <a:lnTo>
                      <a:pt x="1303" y="1502"/>
                    </a:lnTo>
                    <a:lnTo>
                      <a:pt x="1306" y="1499"/>
                    </a:lnTo>
                    <a:lnTo>
                      <a:pt x="1310" y="1495"/>
                    </a:lnTo>
                    <a:lnTo>
                      <a:pt x="1310" y="1494"/>
                    </a:lnTo>
                    <a:lnTo>
                      <a:pt x="1313" y="1490"/>
                    </a:lnTo>
                    <a:lnTo>
                      <a:pt x="1318" y="1490"/>
                    </a:lnTo>
                    <a:lnTo>
                      <a:pt x="1318" y="1490"/>
                    </a:lnTo>
                    <a:lnTo>
                      <a:pt x="1322" y="1484"/>
                    </a:lnTo>
                    <a:lnTo>
                      <a:pt x="1325" y="1479"/>
                    </a:lnTo>
                    <a:lnTo>
                      <a:pt x="1320" y="1475"/>
                    </a:lnTo>
                    <a:lnTo>
                      <a:pt x="1316" y="1475"/>
                    </a:lnTo>
                    <a:lnTo>
                      <a:pt x="1316" y="1475"/>
                    </a:lnTo>
                    <a:lnTo>
                      <a:pt x="1313" y="1472"/>
                    </a:lnTo>
                    <a:lnTo>
                      <a:pt x="1310" y="1471"/>
                    </a:lnTo>
                    <a:lnTo>
                      <a:pt x="1309" y="1468"/>
                    </a:lnTo>
                    <a:lnTo>
                      <a:pt x="1309" y="1468"/>
                    </a:lnTo>
                    <a:lnTo>
                      <a:pt x="1306" y="1467"/>
                    </a:lnTo>
                    <a:lnTo>
                      <a:pt x="1303" y="1464"/>
                    </a:lnTo>
                    <a:lnTo>
                      <a:pt x="1299" y="1460"/>
                    </a:lnTo>
                    <a:lnTo>
                      <a:pt x="1299" y="1456"/>
                    </a:lnTo>
                    <a:lnTo>
                      <a:pt x="1294" y="1453"/>
                    </a:lnTo>
                    <a:lnTo>
                      <a:pt x="1291" y="1455"/>
                    </a:lnTo>
                    <a:lnTo>
                      <a:pt x="1290" y="1452"/>
                    </a:lnTo>
                    <a:lnTo>
                      <a:pt x="1288" y="1450"/>
                    </a:lnTo>
                    <a:lnTo>
                      <a:pt x="1288" y="1450"/>
                    </a:lnTo>
                    <a:lnTo>
                      <a:pt x="1284" y="1452"/>
                    </a:lnTo>
                    <a:lnTo>
                      <a:pt x="1282" y="1450"/>
                    </a:lnTo>
                    <a:lnTo>
                      <a:pt x="1280" y="1449"/>
                    </a:lnTo>
                    <a:lnTo>
                      <a:pt x="1276" y="1450"/>
                    </a:lnTo>
                    <a:lnTo>
                      <a:pt x="1276" y="1450"/>
                    </a:lnTo>
                    <a:lnTo>
                      <a:pt x="1271" y="1449"/>
                    </a:lnTo>
                    <a:lnTo>
                      <a:pt x="1267" y="1448"/>
                    </a:lnTo>
                    <a:lnTo>
                      <a:pt x="1263" y="1446"/>
                    </a:lnTo>
                    <a:lnTo>
                      <a:pt x="1257" y="1446"/>
                    </a:lnTo>
                    <a:lnTo>
                      <a:pt x="1257" y="1446"/>
                    </a:lnTo>
                    <a:lnTo>
                      <a:pt x="1255" y="1442"/>
                    </a:lnTo>
                    <a:lnTo>
                      <a:pt x="1253" y="1440"/>
                    </a:lnTo>
                    <a:lnTo>
                      <a:pt x="1246" y="1438"/>
                    </a:lnTo>
                    <a:lnTo>
                      <a:pt x="1246" y="1438"/>
                    </a:lnTo>
                    <a:lnTo>
                      <a:pt x="1246" y="1434"/>
                    </a:lnTo>
                    <a:lnTo>
                      <a:pt x="1245" y="1431"/>
                    </a:lnTo>
                    <a:lnTo>
                      <a:pt x="1241" y="1425"/>
                    </a:lnTo>
                    <a:lnTo>
                      <a:pt x="1238" y="1431"/>
                    </a:lnTo>
                    <a:lnTo>
                      <a:pt x="1236" y="1433"/>
                    </a:lnTo>
                    <a:lnTo>
                      <a:pt x="1236" y="1433"/>
                    </a:lnTo>
                    <a:lnTo>
                      <a:pt x="1230" y="1431"/>
                    </a:lnTo>
                    <a:lnTo>
                      <a:pt x="1226" y="1427"/>
                    </a:lnTo>
                    <a:lnTo>
                      <a:pt x="1226" y="1427"/>
                    </a:lnTo>
                    <a:lnTo>
                      <a:pt x="1221" y="1429"/>
                    </a:lnTo>
                    <a:lnTo>
                      <a:pt x="1219" y="1429"/>
                    </a:lnTo>
                    <a:lnTo>
                      <a:pt x="1217" y="1427"/>
                    </a:lnTo>
                    <a:lnTo>
                      <a:pt x="1217" y="1426"/>
                    </a:lnTo>
                    <a:lnTo>
                      <a:pt x="1217" y="1425"/>
                    </a:lnTo>
                    <a:lnTo>
                      <a:pt x="1217" y="1425"/>
                    </a:lnTo>
                    <a:lnTo>
                      <a:pt x="1222" y="1425"/>
                    </a:lnTo>
                    <a:lnTo>
                      <a:pt x="1225" y="1423"/>
                    </a:lnTo>
                    <a:lnTo>
                      <a:pt x="1227" y="1422"/>
                    </a:lnTo>
                    <a:lnTo>
                      <a:pt x="1230" y="1423"/>
                    </a:lnTo>
                    <a:lnTo>
                      <a:pt x="1234" y="1421"/>
                    </a:lnTo>
                    <a:lnTo>
                      <a:pt x="1234" y="1422"/>
                    </a:lnTo>
                    <a:lnTo>
                      <a:pt x="1236" y="1422"/>
                    </a:lnTo>
                    <a:lnTo>
                      <a:pt x="1236" y="1422"/>
                    </a:lnTo>
                    <a:lnTo>
                      <a:pt x="1238" y="1419"/>
                    </a:lnTo>
                    <a:lnTo>
                      <a:pt x="1240" y="1415"/>
                    </a:lnTo>
                    <a:lnTo>
                      <a:pt x="1242" y="1411"/>
                    </a:lnTo>
                    <a:lnTo>
                      <a:pt x="1245" y="1407"/>
                    </a:lnTo>
                    <a:lnTo>
                      <a:pt x="1245" y="1407"/>
                    </a:lnTo>
                    <a:lnTo>
                      <a:pt x="1245" y="1403"/>
                    </a:lnTo>
                    <a:lnTo>
                      <a:pt x="1245" y="1399"/>
                    </a:lnTo>
                    <a:lnTo>
                      <a:pt x="1245" y="1399"/>
                    </a:lnTo>
                    <a:lnTo>
                      <a:pt x="1246" y="1389"/>
                    </a:lnTo>
                    <a:lnTo>
                      <a:pt x="1248" y="1380"/>
                    </a:lnTo>
                    <a:lnTo>
                      <a:pt x="1244" y="1375"/>
                    </a:lnTo>
                    <a:lnTo>
                      <a:pt x="1242" y="1377"/>
                    </a:lnTo>
                    <a:lnTo>
                      <a:pt x="1242" y="1377"/>
                    </a:lnTo>
                    <a:lnTo>
                      <a:pt x="1234" y="1379"/>
                    </a:lnTo>
                    <a:lnTo>
                      <a:pt x="1229" y="1380"/>
                    </a:lnTo>
                    <a:lnTo>
                      <a:pt x="1225" y="1379"/>
                    </a:lnTo>
                    <a:lnTo>
                      <a:pt x="1219" y="1372"/>
                    </a:lnTo>
                    <a:lnTo>
                      <a:pt x="1219" y="1372"/>
                    </a:lnTo>
                    <a:lnTo>
                      <a:pt x="1208" y="1373"/>
                    </a:lnTo>
                    <a:lnTo>
                      <a:pt x="1198" y="1376"/>
                    </a:lnTo>
                    <a:lnTo>
                      <a:pt x="1196" y="1381"/>
                    </a:lnTo>
                    <a:lnTo>
                      <a:pt x="1194" y="1381"/>
                    </a:lnTo>
                    <a:lnTo>
                      <a:pt x="1192" y="1384"/>
                    </a:lnTo>
                    <a:lnTo>
                      <a:pt x="1192" y="1384"/>
                    </a:lnTo>
                    <a:lnTo>
                      <a:pt x="1189" y="1384"/>
                    </a:lnTo>
                    <a:lnTo>
                      <a:pt x="1185" y="1387"/>
                    </a:lnTo>
                    <a:lnTo>
                      <a:pt x="1180" y="1391"/>
                    </a:lnTo>
                    <a:lnTo>
                      <a:pt x="1180" y="1391"/>
                    </a:lnTo>
                    <a:lnTo>
                      <a:pt x="1172" y="1392"/>
                    </a:lnTo>
                    <a:lnTo>
                      <a:pt x="1162" y="1395"/>
                    </a:lnTo>
                    <a:lnTo>
                      <a:pt x="1162" y="1395"/>
                    </a:lnTo>
                    <a:lnTo>
                      <a:pt x="1161" y="1398"/>
                    </a:lnTo>
                    <a:lnTo>
                      <a:pt x="1157" y="1400"/>
                    </a:lnTo>
                    <a:lnTo>
                      <a:pt x="1149" y="1404"/>
                    </a:lnTo>
                    <a:lnTo>
                      <a:pt x="1141" y="1408"/>
                    </a:lnTo>
                    <a:lnTo>
                      <a:pt x="1134" y="1410"/>
                    </a:lnTo>
                    <a:lnTo>
                      <a:pt x="1134" y="1410"/>
                    </a:lnTo>
                    <a:lnTo>
                      <a:pt x="1130" y="1412"/>
                    </a:lnTo>
                    <a:lnTo>
                      <a:pt x="1130" y="1412"/>
                    </a:lnTo>
                    <a:lnTo>
                      <a:pt x="1111" y="1422"/>
                    </a:lnTo>
                    <a:lnTo>
                      <a:pt x="1111" y="1422"/>
                    </a:lnTo>
                    <a:lnTo>
                      <a:pt x="1108" y="1425"/>
                    </a:lnTo>
                    <a:lnTo>
                      <a:pt x="1104" y="1427"/>
                    </a:lnTo>
                    <a:lnTo>
                      <a:pt x="1104" y="1427"/>
                    </a:lnTo>
                    <a:lnTo>
                      <a:pt x="1090" y="1433"/>
                    </a:lnTo>
                    <a:lnTo>
                      <a:pt x="1074" y="1436"/>
                    </a:lnTo>
                    <a:lnTo>
                      <a:pt x="1074" y="1436"/>
                    </a:lnTo>
                    <a:lnTo>
                      <a:pt x="1071" y="1434"/>
                    </a:lnTo>
                    <a:lnTo>
                      <a:pt x="1070" y="1434"/>
                    </a:lnTo>
                    <a:lnTo>
                      <a:pt x="1069" y="1434"/>
                    </a:lnTo>
                    <a:lnTo>
                      <a:pt x="1069" y="1434"/>
                    </a:lnTo>
                    <a:lnTo>
                      <a:pt x="1063" y="1431"/>
                    </a:lnTo>
                    <a:lnTo>
                      <a:pt x="1059" y="1429"/>
                    </a:lnTo>
                    <a:lnTo>
                      <a:pt x="1059" y="1429"/>
                    </a:lnTo>
                    <a:lnTo>
                      <a:pt x="1054" y="1423"/>
                    </a:lnTo>
                    <a:lnTo>
                      <a:pt x="1047" y="1418"/>
                    </a:lnTo>
                    <a:lnTo>
                      <a:pt x="1048" y="1418"/>
                    </a:lnTo>
                    <a:lnTo>
                      <a:pt x="1048" y="1418"/>
                    </a:lnTo>
                    <a:lnTo>
                      <a:pt x="1055" y="1422"/>
                    </a:lnTo>
                    <a:lnTo>
                      <a:pt x="1062" y="1429"/>
                    </a:lnTo>
                    <a:lnTo>
                      <a:pt x="1062" y="1429"/>
                    </a:lnTo>
                    <a:lnTo>
                      <a:pt x="1067" y="1430"/>
                    </a:lnTo>
                    <a:lnTo>
                      <a:pt x="1070" y="1430"/>
                    </a:lnTo>
                    <a:lnTo>
                      <a:pt x="1075" y="1429"/>
                    </a:lnTo>
                    <a:lnTo>
                      <a:pt x="1080" y="1426"/>
                    </a:lnTo>
                    <a:lnTo>
                      <a:pt x="1084" y="1425"/>
                    </a:lnTo>
                    <a:lnTo>
                      <a:pt x="1084" y="1425"/>
                    </a:lnTo>
                    <a:lnTo>
                      <a:pt x="1093" y="1422"/>
                    </a:lnTo>
                    <a:lnTo>
                      <a:pt x="1101" y="1418"/>
                    </a:lnTo>
                    <a:lnTo>
                      <a:pt x="1103" y="1415"/>
                    </a:lnTo>
                    <a:lnTo>
                      <a:pt x="1103" y="1415"/>
                    </a:lnTo>
                    <a:lnTo>
                      <a:pt x="1112" y="1406"/>
                    </a:lnTo>
                    <a:lnTo>
                      <a:pt x="1122" y="1396"/>
                    </a:lnTo>
                    <a:lnTo>
                      <a:pt x="1122" y="1395"/>
                    </a:lnTo>
                    <a:lnTo>
                      <a:pt x="1122" y="1395"/>
                    </a:lnTo>
                    <a:lnTo>
                      <a:pt x="1123" y="1395"/>
                    </a:lnTo>
                    <a:lnTo>
                      <a:pt x="1123" y="1395"/>
                    </a:lnTo>
                    <a:lnTo>
                      <a:pt x="1127" y="1389"/>
                    </a:lnTo>
                    <a:lnTo>
                      <a:pt x="1131" y="1385"/>
                    </a:lnTo>
                    <a:lnTo>
                      <a:pt x="1131" y="1385"/>
                    </a:lnTo>
                    <a:lnTo>
                      <a:pt x="1134" y="1383"/>
                    </a:lnTo>
                    <a:lnTo>
                      <a:pt x="1137" y="1383"/>
                    </a:lnTo>
                    <a:lnTo>
                      <a:pt x="1139" y="1380"/>
                    </a:lnTo>
                    <a:lnTo>
                      <a:pt x="1143" y="1376"/>
                    </a:lnTo>
                    <a:lnTo>
                      <a:pt x="1143" y="1376"/>
                    </a:lnTo>
                    <a:lnTo>
                      <a:pt x="1147" y="1373"/>
                    </a:lnTo>
                    <a:lnTo>
                      <a:pt x="1151" y="1375"/>
                    </a:lnTo>
                    <a:lnTo>
                      <a:pt x="1153" y="1372"/>
                    </a:lnTo>
                    <a:lnTo>
                      <a:pt x="1153" y="1372"/>
                    </a:lnTo>
                    <a:lnTo>
                      <a:pt x="1156" y="1370"/>
                    </a:lnTo>
                    <a:lnTo>
                      <a:pt x="1160" y="1368"/>
                    </a:lnTo>
                    <a:lnTo>
                      <a:pt x="1165" y="1372"/>
                    </a:lnTo>
                    <a:lnTo>
                      <a:pt x="1165" y="1372"/>
                    </a:lnTo>
                    <a:lnTo>
                      <a:pt x="1176" y="1373"/>
                    </a:lnTo>
                    <a:lnTo>
                      <a:pt x="1185" y="1372"/>
                    </a:lnTo>
                    <a:lnTo>
                      <a:pt x="1188" y="1369"/>
                    </a:lnTo>
                    <a:lnTo>
                      <a:pt x="1188" y="1369"/>
                    </a:lnTo>
                    <a:lnTo>
                      <a:pt x="1196" y="1365"/>
                    </a:lnTo>
                    <a:lnTo>
                      <a:pt x="1206" y="1362"/>
                    </a:lnTo>
                    <a:lnTo>
                      <a:pt x="1215" y="1362"/>
                    </a:lnTo>
                    <a:lnTo>
                      <a:pt x="1219" y="1364"/>
                    </a:lnTo>
                    <a:lnTo>
                      <a:pt x="1223" y="1365"/>
                    </a:lnTo>
                    <a:lnTo>
                      <a:pt x="1236" y="1358"/>
                    </a:lnTo>
                    <a:lnTo>
                      <a:pt x="1236" y="1358"/>
                    </a:lnTo>
                    <a:lnTo>
                      <a:pt x="1236" y="1358"/>
                    </a:lnTo>
                    <a:lnTo>
                      <a:pt x="1244" y="1356"/>
                    </a:lnTo>
                    <a:lnTo>
                      <a:pt x="1253" y="1354"/>
                    </a:lnTo>
                    <a:lnTo>
                      <a:pt x="1253" y="1357"/>
                    </a:lnTo>
                    <a:lnTo>
                      <a:pt x="1253" y="1357"/>
                    </a:lnTo>
                    <a:lnTo>
                      <a:pt x="1257" y="1358"/>
                    </a:lnTo>
                    <a:lnTo>
                      <a:pt x="1261" y="1361"/>
                    </a:lnTo>
                    <a:lnTo>
                      <a:pt x="1265" y="1364"/>
                    </a:lnTo>
                    <a:lnTo>
                      <a:pt x="1269" y="1365"/>
                    </a:lnTo>
                    <a:lnTo>
                      <a:pt x="1274" y="1364"/>
                    </a:lnTo>
                    <a:lnTo>
                      <a:pt x="1274" y="1364"/>
                    </a:lnTo>
                    <a:lnTo>
                      <a:pt x="1275" y="1360"/>
                    </a:lnTo>
                    <a:lnTo>
                      <a:pt x="1276" y="1356"/>
                    </a:lnTo>
                    <a:lnTo>
                      <a:pt x="1278" y="1346"/>
                    </a:lnTo>
                    <a:lnTo>
                      <a:pt x="1278" y="1346"/>
                    </a:lnTo>
                    <a:lnTo>
                      <a:pt x="1280" y="1343"/>
                    </a:lnTo>
                    <a:lnTo>
                      <a:pt x="1283" y="1342"/>
                    </a:lnTo>
                    <a:lnTo>
                      <a:pt x="1283" y="1342"/>
                    </a:lnTo>
                    <a:lnTo>
                      <a:pt x="1290" y="1338"/>
                    </a:lnTo>
                    <a:lnTo>
                      <a:pt x="1295" y="1334"/>
                    </a:lnTo>
                    <a:lnTo>
                      <a:pt x="1295" y="1334"/>
                    </a:lnTo>
                    <a:lnTo>
                      <a:pt x="1299" y="1330"/>
                    </a:lnTo>
                    <a:lnTo>
                      <a:pt x="1299" y="1330"/>
                    </a:lnTo>
                    <a:lnTo>
                      <a:pt x="1307" y="1326"/>
                    </a:lnTo>
                    <a:lnTo>
                      <a:pt x="1307" y="1326"/>
                    </a:lnTo>
                    <a:lnTo>
                      <a:pt x="1313" y="1316"/>
                    </a:lnTo>
                    <a:lnTo>
                      <a:pt x="1316" y="1313"/>
                    </a:lnTo>
                    <a:lnTo>
                      <a:pt x="1321" y="1309"/>
                    </a:lnTo>
                    <a:lnTo>
                      <a:pt x="1321" y="1309"/>
                    </a:lnTo>
                    <a:lnTo>
                      <a:pt x="1324" y="1311"/>
                    </a:lnTo>
                    <a:lnTo>
                      <a:pt x="1326" y="1309"/>
                    </a:lnTo>
                    <a:lnTo>
                      <a:pt x="1326" y="1309"/>
                    </a:lnTo>
                    <a:lnTo>
                      <a:pt x="1328" y="1308"/>
                    </a:lnTo>
                    <a:lnTo>
                      <a:pt x="1329" y="1307"/>
                    </a:lnTo>
                    <a:lnTo>
                      <a:pt x="1333" y="1304"/>
                    </a:lnTo>
                    <a:lnTo>
                      <a:pt x="1337" y="1304"/>
                    </a:lnTo>
                    <a:lnTo>
                      <a:pt x="1343" y="1300"/>
                    </a:lnTo>
                    <a:lnTo>
                      <a:pt x="1343" y="1296"/>
                    </a:lnTo>
                    <a:lnTo>
                      <a:pt x="1344" y="1294"/>
                    </a:lnTo>
                    <a:lnTo>
                      <a:pt x="1344" y="1293"/>
                    </a:lnTo>
                    <a:lnTo>
                      <a:pt x="1350" y="1292"/>
                    </a:lnTo>
                    <a:lnTo>
                      <a:pt x="1348" y="1290"/>
                    </a:lnTo>
                    <a:lnTo>
                      <a:pt x="1351" y="1289"/>
                    </a:lnTo>
                    <a:lnTo>
                      <a:pt x="1351" y="1285"/>
                    </a:lnTo>
                    <a:lnTo>
                      <a:pt x="1351" y="1282"/>
                    </a:lnTo>
                    <a:lnTo>
                      <a:pt x="1355" y="1281"/>
                    </a:lnTo>
                    <a:lnTo>
                      <a:pt x="1355" y="1281"/>
                    </a:lnTo>
                    <a:lnTo>
                      <a:pt x="1359" y="1274"/>
                    </a:lnTo>
                    <a:lnTo>
                      <a:pt x="1362" y="1270"/>
                    </a:lnTo>
                    <a:lnTo>
                      <a:pt x="1364" y="1267"/>
                    </a:lnTo>
                    <a:lnTo>
                      <a:pt x="1363" y="1263"/>
                    </a:lnTo>
                    <a:lnTo>
                      <a:pt x="1360" y="1262"/>
                    </a:lnTo>
                    <a:lnTo>
                      <a:pt x="1356" y="1262"/>
                    </a:lnTo>
                    <a:lnTo>
                      <a:pt x="1355" y="1261"/>
                    </a:lnTo>
                    <a:lnTo>
                      <a:pt x="1354" y="1248"/>
                    </a:lnTo>
                    <a:lnTo>
                      <a:pt x="1356" y="1247"/>
                    </a:lnTo>
                    <a:lnTo>
                      <a:pt x="1356" y="1243"/>
                    </a:lnTo>
                    <a:lnTo>
                      <a:pt x="1356" y="1243"/>
                    </a:lnTo>
                    <a:lnTo>
                      <a:pt x="1360" y="1239"/>
                    </a:lnTo>
                    <a:lnTo>
                      <a:pt x="1366" y="1236"/>
                    </a:lnTo>
                    <a:lnTo>
                      <a:pt x="1367" y="1236"/>
                    </a:lnTo>
                    <a:lnTo>
                      <a:pt x="1370" y="1233"/>
                    </a:lnTo>
                    <a:lnTo>
                      <a:pt x="1374" y="1232"/>
                    </a:lnTo>
                    <a:lnTo>
                      <a:pt x="1379" y="1225"/>
                    </a:lnTo>
                    <a:lnTo>
                      <a:pt x="1377" y="1223"/>
                    </a:lnTo>
                    <a:lnTo>
                      <a:pt x="1381" y="1219"/>
                    </a:lnTo>
                    <a:lnTo>
                      <a:pt x="1379" y="1219"/>
                    </a:lnTo>
                    <a:lnTo>
                      <a:pt x="1379" y="1219"/>
                    </a:lnTo>
                    <a:lnTo>
                      <a:pt x="1374" y="1217"/>
                    </a:lnTo>
                    <a:lnTo>
                      <a:pt x="1371" y="1217"/>
                    </a:lnTo>
                    <a:lnTo>
                      <a:pt x="1369" y="1219"/>
                    </a:lnTo>
                    <a:lnTo>
                      <a:pt x="1364" y="1216"/>
                    </a:lnTo>
                    <a:lnTo>
                      <a:pt x="1363" y="1219"/>
                    </a:lnTo>
                    <a:lnTo>
                      <a:pt x="1363" y="1219"/>
                    </a:lnTo>
                    <a:lnTo>
                      <a:pt x="1358" y="1220"/>
                    </a:lnTo>
                    <a:lnTo>
                      <a:pt x="1351" y="1219"/>
                    </a:lnTo>
                    <a:lnTo>
                      <a:pt x="1351" y="1219"/>
                    </a:lnTo>
                    <a:lnTo>
                      <a:pt x="1345" y="1213"/>
                    </a:lnTo>
                    <a:lnTo>
                      <a:pt x="1339" y="1209"/>
                    </a:lnTo>
                    <a:lnTo>
                      <a:pt x="1340" y="1209"/>
                    </a:lnTo>
                    <a:lnTo>
                      <a:pt x="1344" y="1210"/>
                    </a:lnTo>
                    <a:lnTo>
                      <a:pt x="1344" y="1209"/>
                    </a:lnTo>
                    <a:lnTo>
                      <a:pt x="1344" y="1208"/>
                    </a:lnTo>
                    <a:lnTo>
                      <a:pt x="1344" y="1208"/>
                    </a:lnTo>
                    <a:lnTo>
                      <a:pt x="1347" y="1209"/>
                    </a:lnTo>
                    <a:lnTo>
                      <a:pt x="1347" y="1212"/>
                    </a:lnTo>
                    <a:lnTo>
                      <a:pt x="1348" y="1212"/>
                    </a:lnTo>
                    <a:lnTo>
                      <a:pt x="1350" y="1209"/>
                    </a:lnTo>
                    <a:lnTo>
                      <a:pt x="1350" y="1206"/>
                    </a:lnTo>
                    <a:lnTo>
                      <a:pt x="1351" y="1205"/>
                    </a:lnTo>
                    <a:lnTo>
                      <a:pt x="1351" y="1205"/>
                    </a:lnTo>
                    <a:lnTo>
                      <a:pt x="1356" y="1205"/>
                    </a:lnTo>
                    <a:lnTo>
                      <a:pt x="1362" y="1206"/>
                    </a:lnTo>
                    <a:lnTo>
                      <a:pt x="1364" y="1205"/>
                    </a:lnTo>
                    <a:lnTo>
                      <a:pt x="1366" y="1208"/>
                    </a:lnTo>
                    <a:lnTo>
                      <a:pt x="1367" y="1210"/>
                    </a:lnTo>
                    <a:lnTo>
                      <a:pt x="1366" y="1213"/>
                    </a:lnTo>
                    <a:lnTo>
                      <a:pt x="1371" y="1217"/>
                    </a:lnTo>
                    <a:lnTo>
                      <a:pt x="1371" y="1217"/>
                    </a:lnTo>
                    <a:lnTo>
                      <a:pt x="1374" y="1216"/>
                    </a:lnTo>
                    <a:lnTo>
                      <a:pt x="1375" y="1214"/>
                    </a:lnTo>
                    <a:lnTo>
                      <a:pt x="1375" y="1214"/>
                    </a:lnTo>
                    <a:lnTo>
                      <a:pt x="1378" y="1201"/>
                    </a:lnTo>
                    <a:lnTo>
                      <a:pt x="1381" y="1194"/>
                    </a:lnTo>
                    <a:lnTo>
                      <a:pt x="1383" y="1189"/>
                    </a:lnTo>
                    <a:lnTo>
                      <a:pt x="1383" y="1187"/>
                    </a:lnTo>
                    <a:lnTo>
                      <a:pt x="1381" y="1187"/>
                    </a:lnTo>
                    <a:lnTo>
                      <a:pt x="1388" y="1181"/>
                    </a:lnTo>
                    <a:lnTo>
                      <a:pt x="1388" y="1181"/>
                    </a:lnTo>
                    <a:lnTo>
                      <a:pt x="1389" y="1178"/>
                    </a:lnTo>
                    <a:lnTo>
                      <a:pt x="1389" y="1178"/>
                    </a:lnTo>
                    <a:lnTo>
                      <a:pt x="1393" y="1174"/>
                    </a:lnTo>
                    <a:lnTo>
                      <a:pt x="1397" y="1172"/>
                    </a:lnTo>
                    <a:lnTo>
                      <a:pt x="1401" y="1174"/>
                    </a:lnTo>
                    <a:lnTo>
                      <a:pt x="1402" y="1172"/>
                    </a:lnTo>
                    <a:lnTo>
                      <a:pt x="1402" y="1171"/>
                    </a:lnTo>
                    <a:lnTo>
                      <a:pt x="1402" y="1171"/>
                    </a:lnTo>
                    <a:lnTo>
                      <a:pt x="1405" y="1168"/>
                    </a:lnTo>
                    <a:lnTo>
                      <a:pt x="1408" y="1167"/>
                    </a:lnTo>
                    <a:lnTo>
                      <a:pt x="1408" y="1166"/>
                    </a:lnTo>
                    <a:lnTo>
                      <a:pt x="1408" y="1166"/>
                    </a:lnTo>
                    <a:lnTo>
                      <a:pt x="1417" y="1162"/>
                    </a:lnTo>
                    <a:lnTo>
                      <a:pt x="1424" y="1156"/>
                    </a:lnTo>
                    <a:lnTo>
                      <a:pt x="1430" y="1149"/>
                    </a:lnTo>
                    <a:lnTo>
                      <a:pt x="1434" y="1140"/>
                    </a:lnTo>
                    <a:lnTo>
                      <a:pt x="1438" y="1138"/>
                    </a:lnTo>
                    <a:lnTo>
                      <a:pt x="1440" y="1136"/>
                    </a:lnTo>
                    <a:lnTo>
                      <a:pt x="1439" y="1130"/>
                    </a:lnTo>
                    <a:lnTo>
                      <a:pt x="1439" y="1130"/>
                    </a:lnTo>
                    <a:lnTo>
                      <a:pt x="1445" y="1129"/>
                    </a:lnTo>
                    <a:lnTo>
                      <a:pt x="1447" y="1126"/>
                    </a:lnTo>
                    <a:lnTo>
                      <a:pt x="1450" y="1122"/>
                    </a:lnTo>
                    <a:lnTo>
                      <a:pt x="1454" y="1119"/>
                    </a:lnTo>
                    <a:lnTo>
                      <a:pt x="1454" y="1119"/>
                    </a:lnTo>
                    <a:lnTo>
                      <a:pt x="1458" y="1113"/>
                    </a:lnTo>
                    <a:lnTo>
                      <a:pt x="1462" y="1106"/>
                    </a:lnTo>
                    <a:lnTo>
                      <a:pt x="1461" y="1099"/>
                    </a:lnTo>
                    <a:lnTo>
                      <a:pt x="1464" y="1096"/>
                    </a:lnTo>
                    <a:lnTo>
                      <a:pt x="1466" y="1095"/>
                    </a:lnTo>
                    <a:lnTo>
                      <a:pt x="1465" y="1094"/>
                    </a:lnTo>
                    <a:lnTo>
                      <a:pt x="1466" y="1091"/>
                    </a:lnTo>
                    <a:lnTo>
                      <a:pt x="1468" y="1090"/>
                    </a:lnTo>
                    <a:lnTo>
                      <a:pt x="1468" y="1090"/>
                    </a:lnTo>
                    <a:lnTo>
                      <a:pt x="1468" y="1086"/>
                    </a:lnTo>
                    <a:lnTo>
                      <a:pt x="1466" y="1082"/>
                    </a:lnTo>
                    <a:lnTo>
                      <a:pt x="1468" y="1077"/>
                    </a:lnTo>
                    <a:lnTo>
                      <a:pt x="1468" y="1077"/>
                    </a:lnTo>
                    <a:lnTo>
                      <a:pt x="1466" y="1075"/>
                    </a:lnTo>
                    <a:lnTo>
                      <a:pt x="1468" y="1072"/>
                    </a:lnTo>
                    <a:lnTo>
                      <a:pt x="1469" y="1071"/>
                    </a:lnTo>
                    <a:lnTo>
                      <a:pt x="1468" y="1068"/>
                    </a:lnTo>
                    <a:lnTo>
                      <a:pt x="1469" y="1067"/>
                    </a:lnTo>
                    <a:lnTo>
                      <a:pt x="1466" y="1065"/>
                    </a:lnTo>
                    <a:lnTo>
                      <a:pt x="1468" y="1064"/>
                    </a:lnTo>
                    <a:lnTo>
                      <a:pt x="1466" y="1061"/>
                    </a:lnTo>
                    <a:lnTo>
                      <a:pt x="1468" y="1060"/>
                    </a:lnTo>
                    <a:lnTo>
                      <a:pt x="1466" y="1058"/>
                    </a:lnTo>
                    <a:lnTo>
                      <a:pt x="1466" y="1057"/>
                    </a:lnTo>
                    <a:lnTo>
                      <a:pt x="1465" y="1057"/>
                    </a:lnTo>
                    <a:lnTo>
                      <a:pt x="1465" y="1057"/>
                    </a:lnTo>
                    <a:lnTo>
                      <a:pt x="1465" y="1053"/>
                    </a:lnTo>
                    <a:lnTo>
                      <a:pt x="1472" y="1048"/>
                    </a:lnTo>
                    <a:lnTo>
                      <a:pt x="1474" y="1046"/>
                    </a:lnTo>
                    <a:lnTo>
                      <a:pt x="1474" y="1046"/>
                    </a:lnTo>
                    <a:lnTo>
                      <a:pt x="1474" y="1042"/>
                    </a:lnTo>
                    <a:lnTo>
                      <a:pt x="1476" y="1037"/>
                    </a:lnTo>
                    <a:lnTo>
                      <a:pt x="1478" y="1034"/>
                    </a:lnTo>
                    <a:lnTo>
                      <a:pt x="1478" y="1034"/>
                    </a:lnTo>
                    <a:lnTo>
                      <a:pt x="1478" y="1030"/>
                    </a:lnTo>
                    <a:lnTo>
                      <a:pt x="1480" y="1027"/>
                    </a:lnTo>
                    <a:lnTo>
                      <a:pt x="1481" y="1022"/>
                    </a:lnTo>
                    <a:lnTo>
                      <a:pt x="1484" y="1020"/>
                    </a:lnTo>
                    <a:lnTo>
                      <a:pt x="1484" y="1020"/>
                    </a:lnTo>
                    <a:lnTo>
                      <a:pt x="1487" y="1018"/>
                    </a:lnTo>
                    <a:lnTo>
                      <a:pt x="1488" y="1014"/>
                    </a:lnTo>
                    <a:lnTo>
                      <a:pt x="1491" y="1012"/>
                    </a:lnTo>
                    <a:lnTo>
                      <a:pt x="1496" y="1006"/>
                    </a:lnTo>
                    <a:lnTo>
                      <a:pt x="1495" y="1004"/>
                    </a:lnTo>
                    <a:lnTo>
                      <a:pt x="1499" y="1001"/>
                    </a:lnTo>
                    <a:lnTo>
                      <a:pt x="1499" y="1001"/>
                    </a:lnTo>
                    <a:lnTo>
                      <a:pt x="1500" y="999"/>
                    </a:lnTo>
                    <a:lnTo>
                      <a:pt x="1503" y="996"/>
                    </a:lnTo>
                    <a:lnTo>
                      <a:pt x="1502" y="995"/>
                    </a:lnTo>
                    <a:lnTo>
                      <a:pt x="1506" y="992"/>
                    </a:lnTo>
                    <a:lnTo>
                      <a:pt x="1507" y="989"/>
                    </a:lnTo>
                    <a:lnTo>
                      <a:pt x="1506" y="988"/>
                    </a:lnTo>
                    <a:lnTo>
                      <a:pt x="1507" y="985"/>
                    </a:lnTo>
                    <a:lnTo>
                      <a:pt x="1507" y="984"/>
                    </a:lnTo>
                    <a:lnTo>
                      <a:pt x="1511" y="980"/>
                    </a:lnTo>
                    <a:lnTo>
                      <a:pt x="1511" y="980"/>
                    </a:lnTo>
                    <a:lnTo>
                      <a:pt x="1511" y="976"/>
                    </a:lnTo>
                    <a:lnTo>
                      <a:pt x="1514" y="973"/>
                    </a:lnTo>
                    <a:lnTo>
                      <a:pt x="1514" y="973"/>
                    </a:lnTo>
                    <a:lnTo>
                      <a:pt x="1514" y="970"/>
                    </a:lnTo>
                    <a:lnTo>
                      <a:pt x="1516" y="968"/>
                    </a:lnTo>
                    <a:lnTo>
                      <a:pt x="1516" y="965"/>
                    </a:lnTo>
                    <a:lnTo>
                      <a:pt x="1519" y="963"/>
                    </a:lnTo>
                    <a:lnTo>
                      <a:pt x="1519" y="961"/>
                    </a:lnTo>
                    <a:lnTo>
                      <a:pt x="1520" y="959"/>
                    </a:lnTo>
                    <a:lnTo>
                      <a:pt x="1522" y="955"/>
                    </a:lnTo>
                    <a:lnTo>
                      <a:pt x="1522" y="953"/>
                    </a:lnTo>
                    <a:lnTo>
                      <a:pt x="1519" y="951"/>
                    </a:lnTo>
                    <a:lnTo>
                      <a:pt x="1520" y="950"/>
                    </a:lnTo>
                    <a:lnTo>
                      <a:pt x="1523" y="949"/>
                    </a:lnTo>
                    <a:lnTo>
                      <a:pt x="1523" y="947"/>
                    </a:lnTo>
                    <a:lnTo>
                      <a:pt x="1522" y="947"/>
                    </a:lnTo>
                    <a:lnTo>
                      <a:pt x="1519" y="945"/>
                    </a:lnTo>
                    <a:lnTo>
                      <a:pt x="1512" y="947"/>
                    </a:lnTo>
                    <a:lnTo>
                      <a:pt x="1510" y="947"/>
                    </a:lnTo>
                    <a:lnTo>
                      <a:pt x="1511" y="945"/>
                    </a:lnTo>
                    <a:lnTo>
                      <a:pt x="1512" y="945"/>
                    </a:lnTo>
                    <a:lnTo>
                      <a:pt x="1514" y="946"/>
                    </a:lnTo>
                    <a:lnTo>
                      <a:pt x="1515" y="946"/>
                    </a:lnTo>
                    <a:lnTo>
                      <a:pt x="1515" y="946"/>
                    </a:lnTo>
                    <a:lnTo>
                      <a:pt x="1512" y="940"/>
                    </a:lnTo>
                    <a:lnTo>
                      <a:pt x="1512" y="935"/>
                    </a:lnTo>
                    <a:lnTo>
                      <a:pt x="1512" y="926"/>
                    </a:lnTo>
                    <a:lnTo>
                      <a:pt x="1512" y="926"/>
                    </a:lnTo>
                    <a:lnTo>
                      <a:pt x="1508" y="926"/>
                    </a:lnTo>
                    <a:lnTo>
                      <a:pt x="1507" y="924"/>
                    </a:lnTo>
                    <a:lnTo>
                      <a:pt x="1508" y="924"/>
                    </a:lnTo>
                    <a:lnTo>
                      <a:pt x="1512" y="923"/>
                    </a:lnTo>
                    <a:lnTo>
                      <a:pt x="1515" y="908"/>
                    </a:lnTo>
                    <a:lnTo>
                      <a:pt x="1515" y="908"/>
                    </a:lnTo>
                    <a:lnTo>
                      <a:pt x="1516" y="905"/>
                    </a:lnTo>
                    <a:lnTo>
                      <a:pt x="1516" y="905"/>
                    </a:lnTo>
                    <a:lnTo>
                      <a:pt x="1522" y="889"/>
                    </a:lnTo>
                    <a:lnTo>
                      <a:pt x="1529" y="875"/>
                    </a:lnTo>
                    <a:lnTo>
                      <a:pt x="1544" y="845"/>
                    </a:lnTo>
                    <a:lnTo>
                      <a:pt x="1544" y="845"/>
                    </a:lnTo>
                    <a:lnTo>
                      <a:pt x="1544" y="843"/>
                    </a:lnTo>
                    <a:lnTo>
                      <a:pt x="1542" y="840"/>
                    </a:lnTo>
                    <a:lnTo>
                      <a:pt x="1544" y="839"/>
                    </a:lnTo>
                    <a:lnTo>
                      <a:pt x="1544" y="836"/>
                    </a:lnTo>
                    <a:lnTo>
                      <a:pt x="1541" y="835"/>
                    </a:lnTo>
                    <a:lnTo>
                      <a:pt x="1542" y="829"/>
                    </a:lnTo>
                    <a:lnTo>
                      <a:pt x="1542" y="829"/>
                    </a:lnTo>
                    <a:lnTo>
                      <a:pt x="1539" y="826"/>
                    </a:lnTo>
                    <a:lnTo>
                      <a:pt x="1535" y="825"/>
                    </a:lnTo>
                    <a:lnTo>
                      <a:pt x="1537" y="821"/>
                    </a:lnTo>
                    <a:lnTo>
                      <a:pt x="1542" y="818"/>
                    </a:lnTo>
                    <a:lnTo>
                      <a:pt x="1542" y="818"/>
                    </a:lnTo>
                    <a:lnTo>
                      <a:pt x="1539" y="817"/>
                    </a:lnTo>
                    <a:lnTo>
                      <a:pt x="1537" y="816"/>
                    </a:lnTo>
                    <a:lnTo>
                      <a:pt x="1537" y="816"/>
                    </a:lnTo>
                    <a:lnTo>
                      <a:pt x="1535" y="813"/>
                    </a:lnTo>
                    <a:lnTo>
                      <a:pt x="1534" y="810"/>
                    </a:lnTo>
                    <a:lnTo>
                      <a:pt x="1537" y="810"/>
                    </a:lnTo>
                    <a:lnTo>
                      <a:pt x="1538" y="813"/>
                    </a:lnTo>
                    <a:lnTo>
                      <a:pt x="1538" y="813"/>
                    </a:lnTo>
                    <a:lnTo>
                      <a:pt x="1541" y="814"/>
                    </a:lnTo>
                    <a:lnTo>
                      <a:pt x="1544" y="816"/>
                    </a:lnTo>
                    <a:lnTo>
                      <a:pt x="1545" y="817"/>
                    </a:lnTo>
                    <a:lnTo>
                      <a:pt x="1541" y="822"/>
                    </a:lnTo>
                    <a:lnTo>
                      <a:pt x="1546" y="836"/>
                    </a:lnTo>
                    <a:lnTo>
                      <a:pt x="1545" y="839"/>
                    </a:lnTo>
                    <a:lnTo>
                      <a:pt x="1544" y="840"/>
                    </a:lnTo>
                    <a:lnTo>
                      <a:pt x="1545" y="841"/>
                    </a:lnTo>
                    <a:lnTo>
                      <a:pt x="1546" y="840"/>
                    </a:lnTo>
                    <a:lnTo>
                      <a:pt x="1552" y="831"/>
                    </a:lnTo>
                    <a:lnTo>
                      <a:pt x="1557" y="828"/>
                    </a:lnTo>
                    <a:lnTo>
                      <a:pt x="1557" y="825"/>
                    </a:lnTo>
                    <a:lnTo>
                      <a:pt x="1564" y="820"/>
                    </a:lnTo>
                    <a:lnTo>
                      <a:pt x="1565" y="818"/>
                    </a:lnTo>
                    <a:lnTo>
                      <a:pt x="1568" y="817"/>
                    </a:lnTo>
                    <a:lnTo>
                      <a:pt x="1569" y="816"/>
                    </a:lnTo>
                    <a:lnTo>
                      <a:pt x="1569" y="812"/>
                    </a:lnTo>
                    <a:lnTo>
                      <a:pt x="1572" y="810"/>
                    </a:lnTo>
                    <a:lnTo>
                      <a:pt x="1573" y="807"/>
                    </a:lnTo>
                    <a:lnTo>
                      <a:pt x="1580" y="802"/>
                    </a:lnTo>
                    <a:lnTo>
                      <a:pt x="1582" y="802"/>
                    </a:lnTo>
                    <a:lnTo>
                      <a:pt x="1582" y="799"/>
                    </a:lnTo>
                    <a:lnTo>
                      <a:pt x="1582" y="799"/>
                    </a:lnTo>
                    <a:lnTo>
                      <a:pt x="1587" y="797"/>
                    </a:lnTo>
                    <a:lnTo>
                      <a:pt x="1590" y="793"/>
                    </a:lnTo>
                    <a:lnTo>
                      <a:pt x="1592" y="791"/>
                    </a:lnTo>
                    <a:lnTo>
                      <a:pt x="1591" y="789"/>
                    </a:lnTo>
                    <a:lnTo>
                      <a:pt x="1591" y="789"/>
                    </a:lnTo>
                    <a:lnTo>
                      <a:pt x="1591" y="784"/>
                    </a:lnTo>
                    <a:lnTo>
                      <a:pt x="1592" y="779"/>
                    </a:lnTo>
                    <a:lnTo>
                      <a:pt x="1596" y="776"/>
                    </a:lnTo>
                    <a:lnTo>
                      <a:pt x="1599" y="779"/>
                    </a:lnTo>
                    <a:lnTo>
                      <a:pt x="1602" y="776"/>
                    </a:lnTo>
                    <a:lnTo>
                      <a:pt x="1603" y="774"/>
                    </a:lnTo>
                    <a:lnTo>
                      <a:pt x="1605" y="772"/>
                    </a:lnTo>
                    <a:lnTo>
                      <a:pt x="1605" y="771"/>
                    </a:lnTo>
                    <a:lnTo>
                      <a:pt x="1609" y="768"/>
                    </a:lnTo>
                    <a:lnTo>
                      <a:pt x="1607" y="763"/>
                    </a:lnTo>
                    <a:lnTo>
                      <a:pt x="1611" y="761"/>
                    </a:lnTo>
                    <a:lnTo>
                      <a:pt x="1611" y="759"/>
                    </a:lnTo>
                    <a:lnTo>
                      <a:pt x="1614" y="755"/>
                    </a:lnTo>
                    <a:lnTo>
                      <a:pt x="1614" y="753"/>
                    </a:lnTo>
                    <a:lnTo>
                      <a:pt x="1621" y="748"/>
                    </a:lnTo>
                    <a:lnTo>
                      <a:pt x="1621" y="744"/>
                    </a:lnTo>
                    <a:lnTo>
                      <a:pt x="1624" y="742"/>
                    </a:lnTo>
                    <a:lnTo>
                      <a:pt x="1624" y="741"/>
                    </a:lnTo>
                    <a:lnTo>
                      <a:pt x="1624" y="741"/>
                    </a:lnTo>
                    <a:lnTo>
                      <a:pt x="1621" y="740"/>
                    </a:lnTo>
                    <a:lnTo>
                      <a:pt x="1618" y="736"/>
                    </a:lnTo>
                    <a:lnTo>
                      <a:pt x="1617" y="736"/>
                    </a:lnTo>
                    <a:lnTo>
                      <a:pt x="1614" y="734"/>
                    </a:lnTo>
                    <a:lnTo>
                      <a:pt x="1620" y="730"/>
                    </a:lnTo>
                    <a:lnTo>
                      <a:pt x="1620" y="730"/>
                    </a:lnTo>
                    <a:lnTo>
                      <a:pt x="1620" y="730"/>
                    </a:lnTo>
                    <a:lnTo>
                      <a:pt x="1618" y="727"/>
                    </a:lnTo>
                    <a:lnTo>
                      <a:pt x="1615" y="726"/>
                    </a:lnTo>
                    <a:lnTo>
                      <a:pt x="1617" y="722"/>
                    </a:lnTo>
                    <a:lnTo>
                      <a:pt x="1624" y="723"/>
                    </a:lnTo>
                    <a:lnTo>
                      <a:pt x="1622" y="725"/>
                    </a:lnTo>
                    <a:lnTo>
                      <a:pt x="1624" y="726"/>
                    </a:lnTo>
                    <a:lnTo>
                      <a:pt x="1626" y="723"/>
                    </a:lnTo>
                    <a:lnTo>
                      <a:pt x="1625" y="719"/>
                    </a:lnTo>
                    <a:lnTo>
                      <a:pt x="1624" y="721"/>
                    </a:lnTo>
                    <a:lnTo>
                      <a:pt x="1624" y="718"/>
                    </a:lnTo>
                    <a:lnTo>
                      <a:pt x="1617" y="714"/>
                    </a:lnTo>
                    <a:lnTo>
                      <a:pt x="1614" y="714"/>
                    </a:lnTo>
                    <a:lnTo>
                      <a:pt x="1614" y="710"/>
                    </a:lnTo>
                    <a:lnTo>
                      <a:pt x="1614" y="710"/>
                    </a:lnTo>
                    <a:lnTo>
                      <a:pt x="1613" y="708"/>
                    </a:lnTo>
                    <a:lnTo>
                      <a:pt x="1611" y="704"/>
                    </a:lnTo>
                    <a:lnTo>
                      <a:pt x="1611" y="699"/>
                    </a:lnTo>
                    <a:lnTo>
                      <a:pt x="1613" y="696"/>
                    </a:lnTo>
                    <a:lnTo>
                      <a:pt x="1611" y="688"/>
                    </a:lnTo>
                    <a:lnTo>
                      <a:pt x="1611" y="688"/>
                    </a:lnTo>
                    <a:lnTo>
                      <a:pt x="1607" y="684"/>
                    </a:lnTo>
                    <a:lnTo>
                      <a:pt x="1605" y="676"/>
                    </a:lnTo>
                    <a:lnTo>
                      <a:pt x="1603" y="669"/>
                    </a:lnTo>
                    <a:lnTo>
                      <a:pt x="1603" y="662"/>
                    </a:lnTo>
                    <a:lnTo>
                      <a:pt x="1603" y="662"/>
                    </a:lnTo>
                    <a:lnTo>
                      <a:pt x="1606" y="658"/>
                    </a:lnTo>
                    <a:lnTo>
                      <a:pt x="1605" y="654"/>
                    </a:lnTo>
                    <a:lnTo>
                      <a:pt x="1605" y="654"/>
                    </a:lnTo>
                    <a:lnTo>
                      <a:pt x="1603" y="653"/>
                    </a:lnTo>
                    <a:lnTo>
                      <a:pt x="1601" y="650"/>
                    </a:lnTo>
                    <a:lnTo>
                      <a:pt x="1595" y="649"/>
                    </a:lnTo>
                    <a:lnTo>
                      <a:pt x="1588" y="645"/>
                    </a:lnTo>
                    <a:lnTo>
                      <a:pt x="1586" y="642"/>
                    </a:lnTo>
                    <a:lnTo>
                      <a:pt x="1583" y="639"/>
                    </a:lnTo>
                    <a:lnTo>
                      <a:pt x="1580" y="638"/>
                    </a:lnTo>
                    <a:lnTo>
                      <a:pt x="1582" y="637"/>
                    </a:lnTo>
                    <a:lnTo>
                      <a:pt x="1582" y="637"/>
                    </a:lnTo>
                    <a:lnTo>
                      <a:pt x="1577" y="633"/>
                    </a:lnTo>
                    <a:lnTo>
                      <a:pt x="1576" y="627"/>
                    </a:lnTo>
                    <a:lnTo>
                      <a:pt x="1576" y="627"/>
                    </a:lnTo>
                    <a:lnTo>
                      <a:pt x="1573" y="626"/>
                    </a:lnTo>
                    <a:lnTo>
                      <a:pt x="1572" y="623"/>
                    </a:lnTo>
                    <a:lnTo>
                      <a:pt x="1569" y="619"/>
                    </a:lnTo>
                    <a:lnTo>
                      <a:pt x="1569" y="616"/>
                    </a:lnTo>
                    <a:lnTo>
                      <a:pt x="1563" y="612"/>
                    </a:lnTo>
                    <a:lnTo>
                      <a:pt x="1558" y="614"/>
                    </a:lnTo>
                    <a:lnTo>
                      <a:pt x="1558" y="616"/>
                    </a:lnTo>
                    <a:lnTo>
                      <a:pt x="1558" y="616"/>
                    </a:lnTo>
                    <a:lnTo>
                      <a:pt x="1548" y="615"/>
                    </a:lnTo>
                    <a:lnTo>
                      <a:pt x="1544" y="614"/>
                    </a:lnTo>
                    <a:lnTo>
                      <a:pt x="1539" y="609"/>
                    </a:lnTo>
                    <a:lnTo>
                      <a:pt x="1541" y="607"/>
                    </a:lnTo>
                    <a:lnTo>
                      <a:pt x="1542" y="605"/>
                    </a:lnTo>
                    <a:lnTo>
                      <a:pt x="1538" y="601"/>
                    </a:lnTo>
                    <a:lnTo>
                      <a:pt x="1535" y="603"/>
                    </a:lnTo>
                    <a:lnTo>
                      <a:pt x="1533" y="601"/>
                    </a:lnTo>
                    <a:lnTo>
                      <a:pt x="1525" y="605"/>
                    </a:lnTo>
                    <a:lnTo>
                      <a:pt x="1510" y="600"/>
                    </a:lnTo>
                    <a:lnTo>
                      <a:pt x="1499" y="603"/>
                    </a:lnTo>
                    <a:lnTo>
                      <a:pt x="1497" y="601"/>
                    </a:lnTo>
                    <a:lnTo>
                      <a:pt x="1495" y="600"/>
                    </a:lnTo>
                    <a:lnTo>
                      <a:pt x="1495" y="600"/>
                    </a:lnTo>
                    <a:lnTo>
                      <a:pt x="1491" y="604"/>
                    </a:lnTo>
                    <a:lnTo>
                      <a:pt x="1488" y="607"/>
                    </a:lnTo>
                    <a:lnTo>
                      <a:pt x="1488" y="607"/>
                    </a:lnTo>
                    <a:lnTo>
                      <a:pt x="1483" y="611"/>
                    </a:lnTo>
                    <a:lnTo>
                      <a:pt x="1481" y="611"/>
                    </a:lnTo>
                    <a:lnTo>
                      <a:pt x="1480" y="614"/>
                    </a:lnTo>
                    <a:lnTo>
                      <a:pt x="1476" y="616"/>
                    </a:lnTo>
                    <a:lnTo>
                      <a:pt x="1476" y="616"/>
                    </a:lnTo>
                    <a:lnTo>
                      <a:pt x="1473" y="618"/>
                    </a:lnTo>
                    <a:lnTo>
                      <a:pt x="1473" y="618"/>
                    </a:lnTo>
                    <a:lnTo>
                      <a:pt x="1470" y="618"/>
                    </a:lnTo>
                    <a:lnTo>
                      <a:pt x="1466" y="616"/>
                    </a:lnTo>
                    <a:lnTo>
                      <a:pt x="1462" y="614"/>
                    </a:lnTo>
                    <a:lnTo>
                      <a:pt x="1459" y="614"/>
                    </a:lnTo>
                    <a:lnTo>
                      <a:pt x="1457" y="612"/>
                    </a:lnTo>
                    <a:lnTo>
                      <a:pt x="1453" y="614"/>
                    </a:lnTo>
                    <a:lnTo>
                      <a:pt x="1450" y="611"/>
                    </a:lnTo>
                    <a:lnTo>
                      <a:pt x="1447" y="612"/>
                    </a:lnTo>
                    <a:lnTo>
                      <a:pt x="1446" y="612"/>
                    </a:lnTo>
                    <a:lnTo>
                      <a:pt x="1440" y="612"/>
                    </a:lnTo>
                    <a:lnTo>
                      <a:pt x="1442" y="609"/>
                    </a:lnTo>
                    <a:lnTo>
                      <a:pt x="1432" y="607"/>
                    </a:lnTo>
                    <a:lnTo>
                      <a:pt x="1434" y="604"/>
                    </a:lnTo>
                    <a:lnTo>
                      <a:pt x="1431" y="604"/>
                    </a:lnTo>
                    <a:lnTo>
                      <a:pt x="1427" y="607"/>
                    </a:lnTo>
                    <a:lnTo>
                      <a:pt x="1426" y="605"/>
                    </a:lnTo>
                    <a:lnTo>
                      <a:pt x="1426" y="605"/>
                    </a:lnTo>
                    <a:lnTo>
                      <a:pt x="1423" y="608"/>
                    </a:lnTo>
                    <a:lnTo>
                      <a:pt x="1420" y="609"/>
                    </a:lnTo>
                    <a:lnTo>
                      <a:pt x="1420" y="615"/>
                    </a:lnTo>
                    <a:lnTo>
                      <a:pt x="1413" y="619"/>
                    </a:lnTo>
                    <a:lnTo>
                      <a:pt x="1412" y="618"/>
                    </a:lnTo>
                    <a:lnTo>
                      <a:pt x="1412" y="618"/>
                    </a:lnTo>
                    <a:lnTo>
                      <a:pt x="1408" y="616"/>
                    </a:lnTo>
                    <a:lnTo>
                      <a:pt x="1405" y="616"/>
                    </a:lnTo>
                    <a:lnTo>
                      <a:pt x="1400" y="620"/>
                    </a:lnTo>
                    <a:lnTo>
                      <a:pt x="1400" y="620"/>
                    </a:lnTo>
                    <a:lnTo>
                      <a:pt x="1394" y="620"/>
                    </a:lnTo>
                    <a:lnTo>
                      <a:pt x="1390" y="619"/>
                    </a:lnTo>
                    <a:lnTo>
                      <a:pt x="1388" y="619"/>
                    </a:lnTo>
                    <a:lnTo>
                      <a:pt x="1383" y="618"/>
                    </a:lnTo>
                    <a:lnTo>
                      <a:pt x="1383" y="616"/>
                    </a:lnTo>
                    <a:lnTo>
                      <a:pt x="1377" y="620"/>
                    </a:lnTo>
                    <a:lnTo>
                      <a:pt x="1374" y="618"/>
                    </a:lnTo>
                    <a:lnTo>
                      <a:pt x="1367" y="619"/>
                    </a:lnTo>
                    <a:lnTo>
                      <a:pt x="1366" y="616"/>
                    </a:lnTo>
                    <a:lnTo>
                      <a:pt x="1362" y="618"/>
                    </a:lnTo>
                    <a:lnTo>
                      <a:pt x="1359" y="616"/>
                    </a:lnTo>
                    <a:lnTo>
                      <a:pt x="1355" y="619"/>
                    </a:lnTo>
                    <a:lnTo>
                      <a:pt x="1352" y="624"/>
                    </a:lnTo>
                    <a:lnTo>
                      <a:pt x="1350" y="620"/>
                    </a:lnTo>
                    <a:lnTo>
                      <a:pt x="1350" y="619"/>
                    </a:lnTo>
                    <a:lnTo>
                      <a:pt x="1350" y="619"/>
                    </a:lnTo>
                    <a:lnTo>
                      <a:pt x="1341" y="619"/>
                    </a:lnTo>
                    <a:lnTo>
                      <a:pt x="1337" y="619"/>
                    </a:lnTo>
                    <a:lnTo>
                      <a:pt x="1335" y="616"/>
                    </a:lnTo>
                    <a:lnTo>
                      <a:pt x="1331" y="612"/>
                    </a:lnTo>
                    <a:lnTo>
                      <a:pt x="1328" y="612"/>
                    </a:lnTo>
                    <a:lnTo>
                      <a:pt x="1328" y="614"/>
                    </a:lnTo>
                    <a:lnTo>
                      <a:pt x="1326" y="615"/>
                    </a:lnTo>
                    <a:lnTo>
                      <a:pt x="1320" y="612"/>
                    </a:lnTo>
                    <a:lnTo>
                      <a:pt x="1317" y="614"/>
                    </a:lnTo>
                    <a:lnTo>
                      <a:pt x="1314" y="612"/>
                    </a:lnTo>
                    <a:lnTo>
                      <a:pt x="1312" y="614"/>
                    </a:lnTo>
                    <a:lnTo>
                      <a:pt x="1309" y="612"/>
                    </a:lnTo>
                    <a:lnTo>
                      <a:pt x="1306" y="612"/>
                    </a:lnTo>
                    <a:lnTo>
                      <a:pt x="1306" y="612"/>
                    </a:lnTo>
                    <a:lnTo>
                      <a:pt x="1301" y="608"/>
                    </a:lnTo>
                    <a:lnTo>
                      <a:pt x="1299" y="609"/>
                    </a:lnTo>
                    <a:lnTo>
                      <a:pt x="1298" y="607"/>
                    </a:lnTo>
                    <a:lnTo>
                      <a:pt x="1293" y="611"/>
                    </a:lnTo>
                    <a:lnTo>
                      <a:pt x="1291" y="611"/>
                    </a:lnTo>
                    <a:lnTo>
                      <a:pt x="1290" y="608"/>
                    </a:lnTo>
                    <a:lnTo>
                      <a:pt x="1286" y="609"/>
                    </a:lnTo>
                    <a:lnTo>
                      <a:pt x="1282" y="608"/>
                    </a:lnTo>
                    <a:lnTo>
                      <a:pt x="1280" y="605"/>
                    </a:lnTo>
                    <a:lnTo>
                      <a:pt x="1272" y="612"/>
                    </a:lnTo>
                    <a:lnTo>
                      <a:pt x="1269" y="612"/>
                    </a:lnTo>
                    <a:lnTo>
                      <a:pt x="1269" y="611"/>
                    </a:lnTo>
                    <a:lnTo>
                      <a:pt x="1268" y="607"/>
                    </a:lnTo>
                    <a:lnTo>
                      <a:pt x="1268" y="607"/>
                    </a:lnTo>
                    <a:lnTo>
                      <a:pt x="1265" y="607"/>
                    </a:lnTo>
                    <a:lnTo>
                      <a:pt x="1261" y="605"/>
                    </a:lnTo>
                    <a:lnTo>
                      <a:pt x="1260" y="605"/>
                    </a:lnTo>
                    <a:lnTo>
                      <a:pt x="1256" y="605"/>
                    </a:lnTo>
                    <a:lnTo>
                      <a:pt x="1253" y="601"/>
                    </a:lnTo>
                    <a:lnTo>
                      <a:pt x="1253" y="601"/>
                    </a:lnTo>
                    <a:lnTo>
                      <a:pt x="1251" y="601"/>
                    </a:lnTo>
                    <a:lnTo>
                      <a:pt x="1248" y="604"/>
                    </a:lnTo>
                    <a:lnTo>
                      <a:pt x="1248" y="604"/>
                    </a:lnTo>
                    <a:lnTo>
                      <a:pt x="1244" y="604"/>
                    </a:lnTo>
                    <a:lnTo>
                      <a:pt x="1238" y="604"/>
                    </a:lnTo>
                    <a:lnTo>
                      <a:pt x="1238" y="604"/>
                    </a:lnTo>
                    <a:lnTo>
                      <a:pt x="1236" y="603"/>
                    </a:lnTo>
                    <a:lnTo>
                      <a:pt x="1232" y="601"/>
                    </a:lnTo>
                    <a:lnTo>
                      <a:pt x="1232" y="597"/>
                    </a:lnTo>
                    <a:lnTo>
                      <a:pt x="1229" y="597"/>
                    </a:lnTo>
                    <a:lnTo>
                      <a:pt x="1223" y="599"/>
                    </a:lnTo>
                    <a:lnTo>
                      <a:pt x="1222" y="597"/>
                    </a:lnTo>
                    <a:lnTo>
                      <a:pt x="1222" y="597"/>
                    </a:lnTo>
                    <a:lnTo>
                      <a:pt x="1219" y="600"/>
                    </a:lnTo>
                    <a:lnTo>
                      <a:pt x="1217" y="601"/>
                    </a:lnTo>
                    <a:lnTo>
                      <a:pt x="1215" y="600"/>
                    </a:lnTo>
                    <a:lnTo>
                      <a:pt x="1214" y="599"/>
                    </a:lnTo>
                    <a:lnTo>
                      <a:pt x="1211" y="603"/>
                    </a:lnTo>
                    <a:lnTo>
                      <a:pt x="1207" y="601"/>
                    </a:lnTo>
                    <a:lnTo>
                      <a:pt x="1207" y="601"/>
                    </a:lnTo>
                    <a:lnTo>
                      <a:pt x="1196" y="609"/>
                    </a:lnTo>
                    <a:lnTo>
                      <a:pt x="1183" y="615"/>
                    </a:lnTo>
                    <a:lnTo>
                      <a:pt x="1183" y="615"/>
                    </a:lnTo>
                    <a:lnTo>
                      <a:pt x="1176" y="619"/>
                    </a:lnTo>
                    <a:lnTo>
                      <a:pt x="1170" y="622"/>
                    </a:lnTo>
                    <a:lnTo>
                      <a:pt x="1165" y="622"/>
                    </a:lnTo>
                    <a:lnTo>
                      <a:pt x="1157" y="620"/>
                    </a:lnTo>
                    <a:lnTo>
                      <a:pt x="1143" y="616"/>
                    </a:lnTo>
                    <a:lnTo>
                      <a:pt x="1145" y="619"/>
                    </a:lnTo>
                    <a:lnTo>
                      <a:pt x="1145" y="622"/>
                    </a:lnTo>
                    <a:lnTo>
                      <a:pt x="1143" y="623"/>
                    </a:lnTo>
                    <a:lnTo>
                      <a:pt x="1141" y="622"/>
                    </a:lnTo>
                    <a:lnTo>
                      <a:pt x="1142" y="619"/>
                    </a:lnTo>
                    <a:lnTo>
                      <a:pt x="1139" y="618"/>
                    </a:lnTo>
                    <a:lnTo>
                      <a:pt x="1139" y="616"/>
                    </a:lnTo>
                    <a:lnTo>
                      <a:pt x="1139" y="616"/>
                    </a:lnTo>
                    <a:lnTo>
                      <a:pt x="1135" y="615"/>
                    </a:lnTo>
                    <a:lnTo>
                      <a:pt x="1127" y="614"/>
                    </a:lnTo>
                    <a:lnTo>
                      <a:pt x="1108" y="605"/>
                    </a:lnTo>
                    <a:lnTo>
                      <a:pt x="1089" y="597"/>
                    </a:lnTo>
                    <a:lnTo>
                      <a:pt x="1082" y="593"/>
                    </a:lnTo>
                    <a:lnTo>
                      <a:pt x="1078" y="590"/>
                    </a:lnTo>
                    <a:lnTo>
                      <a:pt x="1075" y="589"/>
                    </a:lnTo>
                    <a:lnTo>
                      <a:pt x="1077" y="586"/>
                    </a:lnTo>
                    <a:lnTo>
                      <a:pt x="1073" y="585"/>
                    </a:lnTo>
                    <a:lnTo>
                      <a:pt x="1065" y="588"/>
                    </a:lnTo>
                    <a:lnTo>
                      <a:pt x="1065" y="588"/>
                    </a:lnTo>
                    <a:lnTo>
                      <a:pt x="1055" y="585"/>
                    </a:lnTo>
                    <a:lnTo>
                      <a:pt x="1055" y="585"/>
                    </a:lnTo>
                    <a:lnTo>
                      <a:pt x="1042" y="588"/>
                    </a:lnTo>
                    <a:lnTo>
                      <a:pt x="1028" y="593"/>
                    </a:lnTo>
                    <a:lnTo>
                      <a:pt x="1025" y="592"/>
                    </a:lnTo>
                    <a:lnTo>
                      <a:pt x="1021" y="593"/>
                    </a:lnTo>
                    <a:lnTo>
                      <a:pt x="1020" y="593"/>
                    </a:lnTo>
                    <a:lnTo>
                      <a:pt x="1020" y="593"/>
                    </a:lnTo>
                    <a:lnTo>
                      <a:pt x="1012" y="597"/>
                    </a:lnTo>
                    <a:lnTo>
                      <a:pt x="1006" y="599"/>
                    </a:lnTo>
                    <a:lnTo>
                      <a:pt x="1002" y="599"/>
                    </a:lnTo>
                    <a:lnTo>
                      <a:pt x="999" y="597"/>
                    </a:lnTo>
                    <a:lnTo>
                      <a:pt x="995" y="599"/>
                    </a:lnTo>
                    <a:lnTo>
                      <a:pt x="999" y="601"/>
                    </a:lnTo>
                    <a:lnTo>
                      <a:pt x="999" y="601"/>
                    </a:lnTo>
                    <a:lnTo>
                      <a:pt x="999" y="604"/>
                    </a:lnTo>
                    <a:lnTo>
                      <a:pt x="998" y="609"/>
                    </a:lnTo>
                    <a:lnTo>
                      <a:pt x="995" y="616"/>
                    </a:lnTo>
                    <a:lnTo>
                      <a:pt x="995" y="616"/>
                    </a:lnTo>
                    <a:lnTo>
                      <a:pt x="993" y="619"/>
                    </a:lnTo>
                    <a:lnTo>
                      <a:pt x="990" y="622"/>
                    </a:lnTo>
                    <a:lnTo>
                      <a:pt x="989" y="622"/>
                    </a:lnTo>
                    <a:lnTo>
                      <a:pt x="989" y="622"/>
                    </a:lnTo>
                    <a:lnTo>
                      <a:pt x="978" y="624"/>
                    </a:lnTo>
                    <a:lnTo>
                      <a:pt x="978" y="624"/>
                    </a:lnTo>
                    <a:lnTo>
                      <a:pt x="966" y="624"/>
                    </a:lnTo>
                    <a:lnTo>
                      <a:pt x="953" y="623"/>
                    </a:lnTo>
                    <a:lnTo>
                      <a:pt x="953" y="623"/>
                    </a:lnTo>
                    <a:lnTo>
                      <a:pt x="951" y="624"/>
                    </a:lnTo>
                    <a:lnTo>
                      <a:pt x="964" y="634"/>
                    </a:lnTo>
                    <a:lnTo>
                      <a:pt x="964" y="641"/>
                    </a:lnTo>
                    <a:lnTo>
                      <a:pt x="962" y="643"/>
                    </a:lnTo>
                    <a:lnTo>
                      <a:pt x="955" y="641"/>
                    </a:lnTo>
                    <a:lnTo>
                      <a:pt x="952" y="641"/>
                    </a:lnTo>
                    <a:lnTo>
                      <a:pt x="951" y="641"/>
                    </a:lnTo>
                    <a:lnTo>
                      <a:pt x="949" y="641"/>
                    </a:lnTo>
                    <a:lnTo>
                      <a:pt x="947" y="643"/>
                    </a:lnTo>
                    <a:lnTo>
                      <a:pt x="947" y="641"/>
                    </a:lnTo>
                    <a:lnTo>
                      <a:pt x="945" y="639"/>
                    </a:lnTo>
                    <a:lnTo>
                      <a:pt x="945" y="638"/>
                    </a:lnTo>
                    <a:lnTo>
                      <a:pt x="943" y="639"/>
                    </a:lnTo>
                    <a:lnTo>
                      <a:pt x="943" y="637"/>
                    </a:lnTo>
                    <a:lnTo>
                      <a:pt x="944" y="635"/>
                    </a:lnTo>
                    <a:lnTo>
                      <a:pt x="948" y="637"/>
                    </a:lnTo>
                    <a:lnTo>
                      <a:pt x="949" y="635"/>
                    </a:lnTo>
                    <a:lnTo>
                      <a:pt x="949" y="635"/>
                    </a:lnTo>
                    <a:lnTo>
                      <a:pt x="951" y="631"/>
                    </a:lnTo>
                    <a:lnTo>
                      <a:pt x="952" y="630"/>
                    </a:lnTo>
                    <a:lnTo>
                      <a:pt x="951" y="627"/>
                    </a:lnTo>
                    <a:lnTo>
                      <a:pt x="948" y="624"/>
                    </a:lnTo>
                    <a:lnTo>
                      <a:pt x="948" y="624"/>
                    </a:lnTo>
                    <a:lnTo>
                      <a:pt x="941" y="624"/>
                    </a:lnTo>
                    <a:lnTo>
                      <a:pt x="933" y="624"/>
                    </a:lnTo>
                    <a:lnTo>
                      <a:pt x="924" y="627"/>
                    </a:lnTo>
                    <a:lnTo>
                      <a:pt x="918" y="630"/>
                    </a:lnTo>
                    <a:lnTo>
                      <a:pt x="925" y="627"/>
                    </a:lnTo>
                    <a:lnTo>
                      <a:pt x="925" y="628"/>
                    </a:lnTo>
                    <a:lnTo>
                      <a:pt x="925" y="628"/>
                    </a:lnTo>
                    <a:lnTo>
                      <a:pt x="921" y="633"/>
                    </a:lnTo>
                    <a:lnTo>
                      <a:pt x="917" y="637"/>
                    </a:lnTo>
                    <a:lnTo>
                      <a:pt x="905" y="643"/>
                    </a:lnTo>
                    <a:lnTo>
                      <a:pt x="903" y="642"/>
                    </a:lnTo>
                    <a:lnTo>
                      <a:pt x="903" y="642"/>
                    </a:lnTo>
                    <a:lnTo>
                      <a:pt x="907" y="638"/>
                    </a:lnTo>
                    <a:lnTo>
                      <a:pt x="911" y="637"/>
                    </a:lnTo>
                    <a:lnTo>
                      <a:pt x="911" y="635"/>
                    </a:lnTo>
                    <a:lnTo>
                      <a:pt x="911" y="635"/>
                    </a:lnTo>
                    <a:lnTo>
                      <a:pt x="898" y="645"/>
                    </a:lnTo>
                    <a:lnTo>
                      <a:pt x="896" y="646"/>
                    </a:lnTo>
                    <a:lnTo>
                      <a:pt x="896" y="646"/>
                    </a:lnTo>
                    <a:lnTo>
                      <a:pt x="886" y="657"/>
                    </a:lnTo>
                    <a:lnTo>
                      <a:pt x="873" y="665"/>
                    </a:lnTo>
                    <a:lnTo>
                      <a:pt x="872" y="664"/>
                    </a:lnTo>
                    <a:lnTo>
                      <a:pt x="872" y="664"/>
                    </a:lnTo>
                    <a:lnTo>
                      <a:pt x="861" y="668"/>
                    </a:lnTo>
                    <a:lnTo>
                      <a:pt x="861" y="668"/>
                    </a:lnTo>
                    <a:lnTo>
                      <a:pt x="857" y="668"/>
                    </a:lnTo>
                    <a:lnTo>
                      <a:pt x="850" y="669"/>
                    </a:lnTo>
                    <a:lnTo>
                      <a:pt x="837" y="670"/>
                    </a:lnTo>
                    <a:lnTo>
                      <a:pt x="837" y="670"/>
                    </a:lnTo>
                    <a:lnTo>
                      <a:pt x="833" y="669"/>
                    </a:lnTo>
                    <a:lnTo>
                      <a:pt x="826" y="666"/>
                    </a:lnTo>
                    <a:lnTo>
                      <a:pt x="815" y="662"/>
                    </a:lnTo>
                    <a:lnTo>
                      <a:pt x="814" y="662"/>
                    </a:lnTo>
                    <a:lnTo>
                      <a:pt x="814" y="664"/>
                    </a:lnTo>
                    <a:lnTo>
                      <a:pt x="814" y="664"/>
                    </a:lnTo>
                    <a:lnTo>
                      <a:pt x="820" y="668"/>
                    </a:lnTo>
                    <a:lnTo>
                      <a:pt x="824" y="669"/>
                    </a:lnTo>
                    <a:lnTo>
                      <a:pt x="829" y="669"/>
                    </a:lnTo>
                    <a:lnTo>
                      <a:pt x="829" y="670"/>
                    </a:lnTo>
                    <a:lnTo>
                      <a:pt x="822" y="670"/>
                    </a:lnTo>
                    <a:lnTo>
                      <a:pt x="819" y="669"/>
                    </a:lnTo>
                    <a:lnTo>
                      <a:pt x="819" y="668"/>
                    </a:lnTo>
                    <a:lnTo>
                      <a:pt x="810" y="662"/>
                    </a:lnTo>
                    <a:lnTo>
                      <a:pt x="805" y="668"/>
                    </a:lnTo>
                    <a:lnTo>
                      <a:pt x="805" y="668"/>
                    </a:lnTo>
                    <a:lnTo>
                      <a:pt x="799" y="666"/>
                    </a:lnTo>
                    <a:lnTo>
                      <a:pt x="793" y="668"/>
                    </a:lnTo>
                    <a:lnTo>
                      <a:pt x="789" y="669"/>
                    </a:lnTo>
                    <a:lnTo>
                      <a:pt x="784" y="672"/>
                    </a:lnTo>
                    <a:lnTo>
                      <a:pt x="786" y="673"/>
                    </a:lnTo>
                    <a:lnTo>
                      <a:pt x="789" y="673"/>
                    </a:lnTo>
                    <a:lnTo>
                      <a:pt x="789" y="673"/>
                    </a:lnTo>
                    <a:lnTo>
                      <a:pt x="792" y="675"/>
                    </a:lnTo>
                    <a:lnTo>
                      <a:pt x="795" y="677"/>
                    </a:lnTo>
                    <a:lnTo>
                      <a:pt x="797" y="681"/>
                    </a:lnTo>
                    <a:lnTo>
                      <a:pt x="797" y="685"/>
                    </a:lnTo>
                    <a:lnTo>
                      <a:pt x="797" y="685"/>
                    </a:lnTo>
                    <a:lnTo>
                      <a:pt x="796" y="688"/>
                    </a:lnTo>
                    <a:lnTo>
                      <a:pt x="793" y="691"/>
                    </a:lnTo>
                    <a:lnTo>
                      <a:pt x="786" y="695"/>
                    </a:lnTo>
                    <a:lnTo>
                      <a:pt x="780" y="699"/>
                    </a:lnTo>
                    <a:lnTo>
                      <a:pt x="776" y="702"/>
                    </a:lnTo>
                    <a:lnTo>
                      <a:pt x="776" y="702"/>
                    </a:lnTo>
                    <a:lnTo>
                      <a:pt x="773" y="706"/>
                    </a:lnTo>
                    <a:lnTo>
                      <a:pt x="770" y="711"/>
                    </a:lnTo>
                    <a:lnTo>
                      <a:pt x="773" y="711"/>
                    </a:lnTo>
                    <a:lnTo>
                      <a:pt x="773" y="713"/>
                    </a:lnTo>
                    <a:lnTo>
                      <a:pt x="769" y="715"/>
                    </a:lnTo>
                    <a:lnTo>
                      <a:pt x="769" y="715"/>
                    </a:lnTo>
                    <a:lnTo>
                      <a:pt x="763" y="714"/>
                    </a:lnTo>
                    <a:lnTo>
                      <a:pt x="759" y="713"/>
                    </a:lnTo>
                    <a:lnTo>
                      <a:pt x="758" y="714"/>
                    </a:lnTo>
                    <a:lnTo>
                      <a:pt x="757" y="718"/>
                    </a:lnTo>
                    <a:lnTo>
                      <a:pt x="759" y="721"/>
                    </a:lnTo>
                    <a:lnTo>
                      <a:pt x="759" y="721"/>
                    </a:lnTo>
                    <a:lnTo>
                      <a:pt x="757" y="725"/>
                    </a:lnTo>
                    <a:lnTo>
                      <a:pt x="753" y="729"/>
                    </a:lnTo>
                    <a:lnTo>
                      <a:pt x="747" y="732"/>
                    </a:lnTo>
                    <a:lnTo>
                      <a:pt x="743" y="734"/>
                    </a:lnTo>
                    <a:lnTo>
                      <a:pt x="743" y="734"/>
                    </a:lnTo>
                    <a:lnTo>
                      <a:pt x="738" y="730"/>
                    </a:lnTo>
                    <a:lnTo>
                      <a:pt x="734" y="726"/>
                    </a:lnTo>
                    <a:lnTo>
                      <a:pt x="727" y="729"/>
                    </a:lnTo>
                    <a:lnTo>
                      <a:pt x="727" y="730"/>
                    </a:lnTo>
                    <a:lnTo>
                      <a:pt x="727" y="730"/>
                    </a:lnTo>
                    <a:lnTo>
                      <a:pt x="724" y="729"/>
                    </a:lnTo>
                    <a:lnTo>
                      <a:pt x="725" y="727"/>
                    </a:lnTo>
                    <a:lnTo>
                      <a:pt x="723" y="727"/>
                    </a:lnTo>
                    <a:lnTo>
                      <a:pt x="719" y="730"/>
                    </a:lnTo>
                    <a:lnTo>
                      <a:pt x="716" y="729"/>
                    </a:lnTo>
                    <a:lnTo>
                      <a:pt x="716" y="729"/>
                    </a:lnTo>
                    <a:lnTo>
                      <a:pt x="713" y="732"/>
                    </a:lnTo>
                    <a:lnTo>
                      <a:pt x="711" y="733"/>
                    </a:lnTo>
                    <a:lnTo>
                      <a:pt x="705" y="736"/>
                    </a:lnTo>
                    <a:lnTo>
                      <a:pt x="700" y="734"/>
                    </a:lnTo>
                    <a:lnTo>
                      <a:pt x="697" y="736"/>
                    </a:lnTo>
                    <a:lnTo>
                      <a:pt x="697" y="736"/>
                    </a:lnTo>
                    <a:lnTo>
                      <a:pt x="692" y="733"/>
                    </a:lnTo>
                    <a:lnTo>
                      <a:pt x="687" y="734"/>
                    </a:lnTo>
                    <a:lnTo>
                      <a:pt x="683" y="734"/>
                    </a:lnTo>
                    <a:lnTo>
                      <a:pt x="679" y="734"/>
                    </a:lnTo>
                    <a:lnTo>
                      <a:pt x="678" y="736"/>
                    </a:lnTo>
                    <a:lnTo>
                      <a:pt x="678" y="736"/>
                    </a:lnTo>
                    <a:lnTo>
                      <a:pt x="675" y="736"/>
                    </a:lnTo>
                    <a:lnTo>
                      <a:pt x="671" y="736"/>
                    </a:lnTo>
                    <a:lnTo>
                      <a:pt x="671" y="736"/>
                    </a:lnTo>
                    <a:lnTo>
                      <a:pt x="670" y="732"/>
                    </a:lnTo>
                    <a:lnTo>
                      <a:pt x="667" y="729"/>
                    </a:lnTo>
                    <a:lnTo>
                      <a:pt x="662" y="726"/>
                    </a:lnTo>
                    <a:lnTo>
                      <a:pt x="654" y="732"/>
                    </a:lnTo>
                    <a:lnTo>
                      <a:pt x="655" y="734"/>
                    </a:lnTo>
                    <a:lnTo>
                      <a:pt x="652" y="736"/>
                    </a:lnTo>
                    <a:lnTo>
                      <a:pt x="648" y="734"/>
                    </a:lnTo>
                    <a:lnTo>
                      <a:pt x="645" y="737"/>
                    </a:lnTo>
                    <a:lnTo>
                      <a:pt x="644" y="737"/>
                    </a:lnTo>
                    <a:lnTo>
                      <a:pt x="645" y="736"/>
                    </a:lnTo>
                    <a:lnTo>
                      <a:pt x="644" y="734"/>
                    </a:lnTo>
                    <a:lnTo>
                      <a:pt x="647" y="733"/>
                    </a:lnTo>
                    <a:lnTo>
                      <a:pt x="647" y="733"/>
                    </a:lnTo>
                    <a:lnTo>
                      <a:pt x="649" y="733"/>
                    </a:lnTo>
                    <a:lnTo>
                      <a:pt x="652" y="733"/>
                    </a:lnTo>
                    <a:lnTo>
                      <a:pt x="655" y="729"/>
                    </a:lnTo>
                    <a:lnTo>
                      <a:pt x="654" y="727"/>
                    </a:lnTo>
                    <a:lnTo>
                      <a:pt x="658" y="726"/>
                    </a:lnTo>
                    <a:lnTo>
                      <a:pt x="659" y="722"/>
                    </a:lnTo>
                    <a:lnTo>
                      <a:pt x="659" y="722"/>
                    </a:lnTo>
                    <a:lnTo>
                      <a:pt x="666" y="719"/>
                    </a:lnTo>
                    <a:lnTo>
                      <a:pt x="673" y="717"/>
                    </a:lnTo>
                    <a:lnTo>
                      <a:pt x="681" y="717"/>
                    </a:lnTo>
                    <a:lnTo>
                      <a:pt x="683" y="718"/>
                    </a:lnTo>
                    <a:lnTo>
                      <a:pt x="686" y="721"/>
                    </a:lnTo>
                    <a:lnTo>
                      <a:pt x="686" y="721"/>
                    </a:lnTo>
                    <a:lnTo>
                      <a:pt x="689" y="721"/>
                    </a:lnTo>
                    <a:lnTo>
                      <a:pt x="693" y="721"/>
                    </a:lnTo>
                    <a:lnTo>
                      <a:pt x="698" y="722"/>
                    </a:lnTo>
                    <a:lnTo>
                      <a:pt x="698" y="722"/>
                    </a:lnTo>
                    <a:lnTo>
                      <a:pt x="705" y="722"/>
                    </a:lnTo>
                    <a:lnTo>
                      <a:pt x="712" y="721"/>
                    </a:lnTo>
                    <a:lnTo>
                      <a:pt x="712" y="721"/>
                    </a:lnTo>
                    <a:lnTo>
                      <a:pt x="719" y="723"/>
                    </a:lnTo>
                    <a:lnTo>
                      <a:pt x="723" y="723"/>
                    </a:lnTo>
                    <a:lnTo>
                      <a:pt x="725" y="723"/>
                    </a:lnTo>
                    <a:lnTo>
                      <a:pt x="725" y="723"/>
                    </a:lnTo>
                    <a:lnTo>
                      <a:pt x="730" y="718"/>
                    </a:lnTo>
                    <a:lnTo>
                      <a:pt x="732" y="714"/>
                    </a:lnTo>
                    <a:lnTo>
                      <a:pt x="735" y="713"/>
                    </a:lnTo>
                    <a:lnTo>
                      <a:pt x="735" y="713"/>
                    </a:lnTo>
                    <a:lnTo>
                      <a:pt x="739" y="707"/>
                    </a:lnTo>
                    <a:lnTo>
                      <a:pt x="742" y="700"/>
                    </a:lnTo>
                    <a:lnTo>
                      <a:pt x="739" y="698"/>
                    </a:lnTo>
                    <a:lnTo>
                      <a:pt x="736" y="699"/>
                    </a:lnTo>
                    <a:lnTo>
                      <a:pt x="736" y="699"/>
                    </a:lnTo>
                    <a:lnTo>
                      <a:pt x="728" y="696"/>
                    </a:lnTo>
                    <a:lnTo>
                      <a:pt x="720" y="694"/>
                    </a:lnTo>
                    <a:lnTo>
                      <a:pt x="720" y="694"/>
                    </a:lnTo>
                    <a:lnTo>
                      <a:pt x="727" y="692"/>
                    </a:lnTo>
                    <a:lnTo>
                      <a:pt x="727" y="692"/>
                    </a:lnTo>
                    <a:lnTo>
                      <a:pt x="731" y="694"/>
                    </a:lnTo>
                    <a:lnTo>
                      <a:pt x="735" y="694"/>
                    </a:lnTo>
                    <a:lnTo>
                      <a:pt x="735" y="694"/>
                    </a:lnTo>
                    <a:lnTo>
                      <a:pt x="743" y="696"/>
                    </a:lnTo>
                    <a:lnTo>
                      <a:pt x="747" y="692"/>
                    </a:lnTo>
                    <a:lnTo>
                      <a:pt x="747" y="687"/>
                    </a:lnTo>
                    <a:lnTo>
                      <a:pt x="747" y="687"/>
                    </a:lnTo>
                    <a:lnTo>
                      <a:pt x="750" y="684"/>
                    </a:lnTo>
                    <a:lnTo>
                      <a:pt x="754" y="680"/>
                    </a:lnTo>
                    <a:lnTo>
                      <a:pt x="762" y="675"/>
                    </a:lnTo>
                    <a:lnTo>
                      <a:pt x="762" y="675"/>
                    </a:lnTo>
                    <a:lnTo>
                      <a:pt x="766" y="675"/>
                    </a:lnTo>
                    <a:lnTo>
                      <a:pt x="770" y="676"/>
                    </a:lnTo>
                    <a:lnTo>
                      <a:pt x="777" y="679"/>
                    </a:lnTo>
                    <a:lnTo>
                      <a:pt x="778" y="677"/>
                    </a:lnTo>
                    <a:lnTo>
                      <a:pt x="778" y="677"/>
                    </a:lnTo>
                    <a:lnTo>
                      <a:pt x="776" y="676"/>
                    </a:lnTo>
                    <a:lnTo>
                      <a:pt x="773" y="672"/>
                    </a:lnTo>
                    <a:lnTo>
                      <a:pt x="772" y="669"/>
                    </a:lnTo>
                    <a:lnTo>
                      <a:pt x="770" y="666"/>
                    </a:lnTo>
                    <a:lnTo>
                      <a:pt x="770" y="666"/>
                    </a:lnTo>
                    <a:lnTo>
                      <a:pt x="774" y="662"/>
                    </a:lnTo>
                    <a:lnTo>
                      <a:pt x="776" y="657"/>
                    </a:lnTo>
                    <a:lnTo>
                      <a:pt x="778" y="656"/>
                    </a:lnTo>
                    <a:lnTo>
                      <a:pt x="781" y="651"/>
                    </a:lnTo>
                    <a:lnTo>
                      <a:pt x="781" y="651"/>
                    </a:lnTo>
                    <a:lnTo>
                      <a:pt x="784" y="649"/>
                    </a:lnTo>
                    <a:lnTo>
                      <a:pt x="785" y="647"/>
                    </a:lnTo>
                    <a:lnTo>
                      <a:pt x="788" y="642"/>
                    </a:lnTo>
                    <a:lnTo>
                      <a:pt x="788" y="642"/>
                    </a:lnTo>
                    <a:lnTo>
                      <a:pt x="795" y="634"/>
                    </a:lnTo>
                    <a:lnTo>
                      <a:pt x="795" y="634"/>
                    </a:lnTo>
                    <a:lnTo>
                      <a:pt x="800" y="631"/>
                    </a:lnTo>
                    <a:lnTo>
                      <a:pt x="800" y="631"/>
                    </a:lnTo>
                    <a:lnTo>
                      <a:pt x="801" y="628"/>
                    </a:lnTo>
                    <a:lnTo>
                      <a:pt x="801" y="628"/>
                    </a:lnTo>
                    <a:lnTo>
                      <a:pt x="807" y="626"/>
                    </a:lnTo>
                    <a:lnTo>
                      <a:pt x="807" y="626"/>
                    </a:lnTo>
                    <a:lnTo>
                      <a:pt x="815" y="616"/>
                    </a:lnTo>
                    <a:lnTo>
                      <a:pt x="812" y="614"/>
                    </a:lnTo>
                    <a:lnTo>
                      <a:pt x="812" y="614"/>
                    </a:lnTo>
                    <a:lnTo>
                      <a:pt x="810" y="614"/>
                    </a:lnTo>
                    <a:lnTo>
                      <a:pt x="805" y="614"/>
                    </a:lnTo>
                    <a:lnTo>
                      <a:pt x="805" y="614"/>
                    </a:lnTo>
                    <a:lnTo>
                      <a:pt x="803" y="614"/>
                    </a:lnTo>
                    <a:lnTo>
                      <a:pt x="800" y="611"/>
                    </a:lnTo>
                    <a:lnTo>
                      <a:pt x="800" y="611"/>
                    </a:lnTo>
                    <a:lnTo>
                      <a:pt x="796" y="614"/>
                    </a:lnTo>
                    <a:lnTo>
                      <a:pt x="792" y="615"/>
                    </a:lnTo>
                    <a:lnTo>
                      <a:pt x="792" y="615"/>
                    </a:lnTo>
                    <a:lnTo>
                      <a:pt x="782" y="620"/>
                    </a:lnTo>
                    <a:lnTo>
                      <a:pt x="774" y="623"/>
                    </a:lnTo>
                    <a:lnTo>
                      <a:pt x="766" y="626"/>
                    </a:lnTo>
                    <a:lnTo>
                      <a:pt x="755" y="627"/>
                    </a:lnTo>
                    <a:lnTo>
                      <a:pt x="755" y="627"/>
                    </a:lnTo>
                    <a:lnTo>
                      <a:pt x="753" y="626"/>
                    </a:lnTo>
                    <a:lnTo>
                      <a:pt x="751" y="624"/>
                    </a:lnTo>
                    <a:lnTo>
                      <a:pt x="751" y="624"/>
                    </a:lnTo>
                    <a:lnTo>
                      <a:pt x="751" y="620"/>
                    </a:lnTo>
                    <a:lnTo>
                      <a:pt x="753" y="616"/>
                    </a:lnTo>
                    <a:lnTo>
                      <a:pt x="751" y="616"/>
                    </a:lnTo>
                    <a:lnTo>
                      <a:pt x="751" y="616"/>
                    </a:lnTo>
                    <a:lnTo>
                      <a:pt x="738" y="618"/>
                    </a:lnTo>
                    <a:lnTo>
                      <a:pt x="728" y="619"/>
                    </a:lnTo>
                    <a:lnTo>
                      <a:pt x="723" y="622"/>
                    </a:lnTo>
                    <a:lnTo>
                      <a:pt x="723" y="622"/>
                    </a:lnTo>
                    <a:lnTo>
                      <a:pt x="711" y="631"/>
                    </a:lnTo>
                    <a:lnTo>
                      <a:pt x="711" y="631"/>
                    </a:lnTo>
                    <a:lnTo>
                      <a:pt x="700" y="639"/>
                    </a:lnTo>
                    <a:lnTo>
                      <a:pt x="690" y="646"/>
                    </a:lnTo>
                    <a:lnTo>
                      <a:pt x="690" y="646"/>
                    </a:lnTo>
                    <a:lnTo>
                      <a:pt x="683" y="654"/>
                    </a:lnTo>
                    <a:lnTo>
                      <a:pt x="675" y="662"/>
                    </a:lnTo>
                    <a:lnTo>
                      <a:pt x="675" y="662"/>
                    </a:lnTo>
                    <a:lnTo>
                      <a:pt x="671" y="666"/>
                    </a:lnTo>
                    <a:lnTo>
                      <a:pt x="668" y="669"/>
                    </a:lnTo>
                    <a:lnTo>
                      <a:pt x="668" y="669"/>
                    </a:lnTo>
                    <a:lnTo>
                      <a:pt x="662" y="675"/>
                    </a:lnTo>
                    <a:lnTo>
                      <a:pt x="659" y="675"/>
                    </a:lnTo>
                    <a:lnTo>
                      <a:pt x="659" y="675"/>
                    </a:lnTo>
                    <a:lnTo>
                      <a:pt x="654" y="681"/>
                    </a:lnTo>
                    <a:lnTo>
                      <a:pt x="652" y="681"/>
                    </a:lnTo>
                    <a:lnTo>
                      <a:pt x="652" y="679"/>
                    </a:lnTo>
                    <a:lnTo>
                      <a:pt x="652" y="679"/>
                    </a:lnTo>
                    <a:lnTo>
                      <a:pt x="655" y="677"/>
                    </a:lnTo>
                    <a:lnTo>
                      <a:pt x="658" y="675"/>
                    </a:lnTo>
                    <a:lnTo>
                      <a:pt x="658" y="675"/>
                    </a:lnTo>
                    <a:lnTo>
                      <a:pt x="658" y="672"/>
                    </a:lnTo>
                    <a:lnTo>
                      <a:pt x="659" y="670"/>
                    </a:lnTo>
                    <a:lnTo>
                      <a:pt x="663" y="666"/>
                    </a:lnTo>
                    <a:lnTo>
                      <a:pt x="663" y="666"/>
                    </a:lnTo>
                    <a:lnTo>
                      <a:pt x="660" y="664"/>
                    </a:lnTo>
                    <a:lnTo>
                      <a:pt x="659" y="661"/>
                    </a:lnTo>
                    <a:lnTo>
                      <a:pt x="659" y="661"/>
                    </a:lnTo>
                    <a:lnTo>
                      <a:pt x="662" y="657"/>
                    </a:lnTo>
                    <a:lnTo>
                      <a:pt x="666" y="654"/>
                    </a:lnTo>
                    <a:lnTo>
                      <a:pt x="674" y="647"/>
                    </a:lnTo>
                    <a:lnTo>
                      <a:pt x="674" y="647"/>
                    </a:lnTo>
                    <a:lnTo>
                      <a:pt x="679" y="643"/>
                    </a:lnTo>
                    <a:lnTo>
                      <a:pt x="683" y="638"/>
                    </a:lnTo>
                    <a:lnTo>
                      <a:pt x="690" y="630"/>
                    </a:lnTo>
                    <a:lnTo>
                      <a:pt x="690" y="630"/>
                    </a:lnTo>
                    <a:lnTo>
                      <a:pt x="693" y="628"/>
                    </a:lnTo>
                    <a:lnTo>
                      <a:pt x="696" y="628"/>
                    </a:lnTo>
                    <a:lnTo>
                      <a:pt x="700" y="627"/>
                    </a:lnTo>
                    <a:lnTo>
                      <a:pt x="700" y="627"/>
                    </a:lnTo>
                    <a:lnTo>
                      <a:pt x="701" y="624"/>
                    </a:lnTo>
                    <a:lnTo>
                      <a:pt x="702" y="622"/>
                    </a:lnTo>
                    <a:lnTo>
                      <a:pt x="701" y="618"/>
                    </a:lnTo>
                    <a:lnTo>
                      <a:pt x="701" y="616"/>
                    </a:lnTo>
                    <a:lnTo>
                      <a:pt x="701" y="616"/>
                    </a:lnTo>
                    <a:lnTo>
                      <a:pt x="705" y="614"/>
                    </a:lnTo>
                    <a:lnTo>
                      <a:pt x="711" y="611"/>
                    </a:lnTo>
                    <a:lnTo>
                      <a:pt x="716" y="614"/>
                    </a:lnTo>
                    <a:lnTo>
                      <a:pt x="716" y="614"/>
                    </a:lnTo>
                    <a:lnTo>
                      <a:pt x="719" y="614"/>
                    </a:lnTo>
                    <a:lnTo>
                      <a:pt x="721" y="611"/>
                    </a:lnTo>
                    <a:lnTo>
                      <a:pt x="723" y="611"/>
                    </a:lnTo>
                    <a:lnTo>
                      <a:pt x="723" y="611"/>
                    </a:lnTo>
                    <a:lnTo>
                      <a:pt x="725" y="608"/>
                    </a:lnTo>
                    <a:lnTo>
                      <a:pt x="730" y="607"/>
                    </a:lnTo>
                    <a:lnTo>
                      <a:pt x="738" y="605"/>
                    </a:lnTo>
                    <a:lnTo>
                      <a:pt x="738" y="605"/>
                    </a:lnTo>
                    <a:lnTo>
                      <a:pt x="744" y="607"/>
                    </a:lnTo>
                    <a:lnTo>
                      <a:pt x="750" y="609"/>
                    </a:lnTo>
                    <a:lnTo>
                      <a:pt x="750" y="609"/>
                    </a:lnTo>
                    <a:lnTo>
                      <a:pt x="754" y="608"/>
                    </a:lnTo>
                    <a:lnTo>
                      <a:pt x="759" y="604"/>
                    </a:lnTo>
                    <a:lnTo>
                      <a:pt x="767" y="596"/>
                    </a:lnTo>
                    <a:lnTo>
                      <a:pt x="767" y="596"/>
                    </a:lnTo>
                    <a:lnTo>
                      <a:pt x="773" y="590"/>
                    </a:lnTo>
                    <a:lnTo>
                      <a:pt x="773" y="590"/>
                    </a:lnTo>
                    <a:lnTo>
                      <a:pt x="784" y="581"/>
                    </a:lnTo>
                    <a:lnTo>
                      <a:pt x="784" y="581"/>
                    </a:lnTo>
                    <a:lnTo>
                      <a:pt x="785" y="581"/>
                    </a:lnTo>
                    <a:lnTo>
                      <a:pt x="788" y="581"/>
                    </a:lnTo>
                    <a:lnTo>
                      <a:pt x="792" y="582"/>
                    </a:lnTo>
                    <a:lnTo>
                      <a:pt x="795" y="580"/>
                    </a:lnTo>
                    <a:lnTo>
                      <a:pt x="804" y="577"/>
                    </a:lnTo>
                    <a:lnTo>
                      <a:pt x="807" y="578"/>
                    </a:lnTo>
                    <a:lnTo>
                      <a:pt x="808" y="581"/>
                    </a:lnTo>
                    <a:lnTo>
                      <a:pt x="808" y="581"/>
                    </a:lnTo>
                    <a:lnTo>
                      <a:pt x="807" y="586"/>
                    </a:lnTo>
                    <a:lnTo>
                      <a:pt x="803" y="590"/>
                    </a:lnTo>
                    <a:lnTo>
                      <a:pt x="803" y="599"/>
                    </a:lnTo>
                    <a:lnTo>
                      <a:pt x="800" y="600"/>
                    </a:lnTo>
                    <a:lnTo>
                      <a:pt x="799" y="604"/>
                    </a:lnTo>
                    <a:lnTo>
                      <a:pt x="799" y="604"/>
                    </a:lnTo>
                    <a:lnTo>
                      <a:pt x="803" y="604"/>
                    </a:lnTo>
                    <a:lnTo>
                      <a:pt x="805" y="605"/>
                    </a:lnTo>
                    <a:lnTo>
                      <a:pt x="808" y="604"/>
                    </a:lnTo>
                    <a:lnTo>
                      <a:pt x="808" y="604"/>
                    </a:lnTo>
                    <a:lnTo>
                      <a:pt x="815" y="605"/>
                    </a:lnTo>
                    <a:lnTo>
                      <a:pt x="819" y="605"/>
                    </a:lnTo>
                    <a:lnTo>
                      <a:pt x="822" y="604"/>
                    </a:lnTo>
                    <a:lnTo>
                      <a:pt x="822" y="604"/>
                    </a:lnTo>
                    <a:lnTo>
                      <a:pt x="829" y="596"/>
                    </a:lnTo>
                    <a:lnTo>
                      <a:pt x="835" y="586"/>
                    </a:lnTo>
                    <a:lnTo>
                      <a:pt x="835" y="586"/>
                    </a:lnTo>
                    <a:lnTo>
                      <a:pt x="838" y="581"/>
                    </a:lnTo>
                    <a:lnTo>
                      <a:pt x="842" y="574"/>
                    </a:lnTo>
                    <a:lnTo>
                      <a:pt x="842" y="570"/>
                    </a:lnTo>
                    <a:lnTo>
                      <a:pt x="842" y="570"/>
                    </a:lnTo>
                    <a:lnTo>
                      <a:pt x="848" y="566"/>
                    </a:lnTo>
                    <a:lnTo>
                      <a:pt x="850" y="562"/>
                    </a:lnTo>
                    <a:lnTo>
                      <a:pt x="852" y="559"/>
                    </a:lnTo>
                    <a:lnTo>
                      <a:pt x="852" y="559"/>
                    </a:lnTo>
                    <a:lnTo>
                      <a:pt x="856" y="557"/>
                    </a:lnTo>
                    <a:lnTo>
                      <a:pt x="858" y="554"/>
                    </a:lnTo>
                    <a:lnTo>
                      <a:pt x="865" y="547"/>
                    </a:lnTo>
                    <a:lnTo>
                      <a:pt x="865" y="547"/>
                    </a:lnTo>
                    <a:lnTo>
                      <a:pt x="868" y="542"/>
                    </a:lnTo>
                    <a:lnTo>
                      <a:pt x="868" y="542"/>
                    </a:lnTo>
                    <a:lnTo>
                      <a:pt x="881" y="524"/>
                    </a:lnTo>
                    <a:lnTo>
                      <a:pt x="888" y="514"/>
                    </a:lnTo>
                    <a:lnTo>
                      <a:pt x="894" y="505"/>
                    </a:lnTo>
                    <a:lnTo>
                      <a:pt x="892" y="502"/>
                    </a:lnTo>
                    <a:lnTo>
                      <a:pt x="895" y="498"/>
                    </a:lnTo>
                    <a:lnTo>
                      <a:pt x="895" y="498"/>
                    </a:lnTo>
                    <a:lnTo>
                      <a:pt x="887" y="500"/>
                    </a:lnTo>
                    <a:lnTo>
                      <a:pt x="880" y="502"/>
                    </a:lnTo>
                    <a:lnTo>
                      <a:pt x="880" y="506"/>
                    </a:lnTo>
                    <a:lnTo>
                      <a:pt x="877" y="509"/>
                    </a:lnTo>
                    <a:lnTo>
                      <a:pt x="877" y="509"/>
                    </a:lnTo>
                    <a:lnTo>
                      <a:pt x="877" y="510"/>
                    </a:lnTo>
                    <a:lnTo>
                      <a:pt x="875" y="513"/>
                    </a:lnTo>
                    <a:lnTo>
                      <a:pt x="872" y="519"/>
                    </a:lnTo>
                    <a:lnTo>
                      <a:pt x="872" y="519"/>
                    </a:lnTo>
                    <a:lnTo>
                      <a:pt x="867" y="521"/>
                    </a:lnTo>
                    <a:lnTo>
                      <a:pt x="860" y="525"/>
                    </a:lnTo>
                    <a:lnTo>
                      <a:pt x="854" y="525"/>
                    </a:lnTo>
                    <a:lnTo>
                      <a:pt x="853" y="527"/>
                    </a:lnTo>
                    <a:lnTo>
                      <a:pt x="853" y="527"/>
                    </a:lnTo>
                    <a:lnTo>
                      <a:pt x="849" y="527"/>
                    </a:lnTo>
                    <a:lnTo>
                      <a:pt x="845" y="527"/>
                    </a:lnTo>
                    <a:lnTo>
                      <a:pt x="842" y="527"/>
                    </a:lnTo>
                    <a:lnTo>
                      <a:pt x="838" y="529"/>
                    </a:lnTo>
                    <a:lnTo>
                      <a:pt x="835" y="529"/>
                    </a:lnTo>
                    <a:lnTo>
                      <a:pt x="835" y="531"/>
                    </a:lnTo>
                    <a:lnTo>
                      <a:pt x="830" y="531"/>
                    </a:lnTo>
                    <a:lnTo>
                      <a:pt x="833" y="528"/>
                    </a:lnTo>
                    <a:lnTo>
                      <a:pt x="837" y="527"/>
                    </a:lnTo>
                    <a:lnTo>
                      <a:pt x="838" y="525"/>
                    </a:lnTo>
                    <a:lnTo>
                      <a:pt x="843" y="523"/>
                    </a:lnTo>
                    <a:lnTo>
                      <a:pt x="843" y="521"/>
                    </a:lnTo>
                    <a:lnTo>
                      <a:pt x="843" y="521"/>
                    </a:lnTo>
                    <a:lnTo>
                      <a:pt x="838" y="519"/>
                    </a:lnTo>
                    <a:lnTo>
                      <a:pt x="834" y="516"/>
                    </a:lnTo>
                    <a:lnTo>
                      <a:pt x="829" y="513"/>
                    </a:lnTo>
                    <a:lnTo>
                      <a:pt x="826" y="512"/>
                    </a:lnTo>
                    <a:lnTo>
                      <a:pt x="823" y="512"/>
                    </a:lnTo>
                    <a:lnTo>
                      <a:pt x="823" y="512"/>
                    </a:lnTo>
                    <a:lnTo>
                      <a:pt x="810" y="521"/>
                    </a:lnTo>
                    <a:lnTo>
                      <a:pt x="795" y="529"/>
                    </a:lnTo>
                    <a:lnTo>
                      <a:pt x="793" y="529"/>
                    </a:lnTo>
                    <a:lnTo>
                      <a:pt x="793" y="529"/>
                    </a:lnTo>
                    <a:lnTo>
                      <a:pt x="785" y="523"/>
                    </a:lnTo>
                    <a:lnTo>
                      <a:pt x="781" y="520"/>
                    </a:lnTo>
                    <a:lnTo>
                      <a:pt x="774" y="519"/>
                    </a:lnTo>
                    <a:lnTo>
                      <a:pt x="774" y="517"/>
                    </a:lnTo>
                    <a:lnTo>
                      <a:pt x="774" y="517"/>
                    </a:lnTo>
                    <a:lnTo>
                      <a:pt x="772" y="517"/>
                    </a:lnTo>
                    <a:lnTo>
                      <a:pt x="767" y="516"/>
                    </a:lnTo>
                    <a:lnTo>
                      <a:pt x="761" y="512"/>
                    </a:lnTo>
                    <a:lnTo>
                      <a:pt x="761" y="512"/>
                    </a:lnTo>
                    <a:lnTo>
                      <a:pt x="765" y="516"/>
                    </a:lnTo>
                    <a:lnTo>
                      <a:pt x="769" y="519"/>
                    </a:lnTo>
                    <a:lnTo>
                      <a:pt x="769" y="520"/>
                    </a:lnTo>
                    <a:lnTo>
                      <a:pt x="769" y="520"/>
                    </a:lnTo>
                    <a:lnTo>
                      <a:pt x="765" y="521"/>
                    </a:lnTo>
                    <a:lnTo>
                      <a:pt x="759" y="521"/>
                    </a:lnTo>
                    <a:lnTo>
                      <a:pt x="757" y="519"/>
                    </a:lnTo>
                    <a:lnTo>
                      <a:pt x="753" y="519"/>
                    </a:lnTo>
                    <a:lnTo>
                      <a:pt x="751" y="517"/>
                    </a:lnTo>
                    <a:lnTo>
                      <a:pt x="751" y="517"/>
                    </a:lnTo>
                    <a:lnTo>
                      <a:pt x="750" y="510"/>
                    </a:lnTo>
                    <a:lnTo>
                      <a:pt x="746" y="505"/>
                    </a:lnTo>
                    <a:lnTo>
                      <a:pt x="744" y="505"/>
                    </a:lnTo>
                    <a:lnTo>
                      <a:pt x="744" y="508"/>
                    </a:lnTo>
                    <a:lnTo>
                      <a:pt x="743" y="508"/>
                    </a:lnTo>
                    <a:lnTo>
                      <a:pt x="742" y="501"/>
                    </a:lnTo>
                    <a:lnTo>
                      <a:pt x="742" y="501"/>
                    </a:lnTo>
                    <a:lnTo>
                      <a:pt x="728" y="504"/>
                    </a:lnTo>
                    <a:lnTo>
                      <a:pt x="721" y="505"/>
                    </a:lnTo>
                    <a:lnTo>
                      <a:pt x="715" y="508"/>
                    </a:lnTo>
                    <a:lnTo>
                      <a:pt x="713" y="508"/>
                    </a:lnTo>
                    <a:lnTo>
                      <a:pt x="709" y="505"/>
                    </a:lnTo>
                    <a:lnTo>
                      <a:pt x="705" y="506"/>
                    </a:lnTo>
                    <a:lnTo>
                      <a:pt x="701" y="505"/>
                    </a:lnTo>
                    <a:lnTo>
                      <a:pt x="702" y="501"/>
                    </a:lnTo>
                    <a:lnTo>
                      <a:pt x="702" y="501"/>
                    </a:lnTo>
                    <a:lnTo>
                      <a:pt x="698" y="501"/>
                    </a:lnTo>
                    <a:lnTo>
                      <a:pt x="693" y="500"/>
                    </a:lnTo>
                    <a:lnTo>
                      <a:pt x="686" y="495"/>
                    </a:lnTo>
                    <a:lnTo>
                      <a:pt x="685" y="493"/>
                    </a:lnTo>
                    <a:lnTo>
                      <a:pt x="682" y="491"/>
                    </a:lnTo>
                    <a:lnTo>
                      <a:pt x="681" y="487"/>
                    </a:lnTo>
                    <a:lnTo>
                      <a:pt x="683" y="486"/>
                    </a:lnTo>
                    <a:lnTo>
                      <a:pt x="685" y="483"/>
                    </a:lnTo>
                    <a:lnTo>
                      <a:pt x="685" y="483"/>
                    </a:lnTo>
                    <a:lnTo>
                      <a:pt x="679" y="477"/>
                    </a:lnTo>
                    <a:lnTo>
                      <a:pt x="677" y="477"/>
                    </a:lnTo>
                    <a:lnTo>
                      <a:pt x="675" y="478"/>
                    </a:lnTo>
                    <a:lnTo>
                      <a:pt x="668" y="472"/>
                    </a:lnTo>
                    <a:lnTo>
                      <a:pt x="668" y="472"/>
                    </a:lnTo>
                    <a:lnTo>
                      <a:pt x="666" y="464"/>
                    </a:lnTo>
                    <a:lnTo>
                      <a:pt x="666" y="464"/>
                    </a:lnTo>
                    <a:lnTo>
                      <a:pt x="666" y="464"/>
                    </a:lnTo>
                    <a:lnTo>
                      <a:pt x="668" y="468"/>
                    </a:lnTo>
                    <a:lnTo>
                      <a:pt x="671" y="471"/>
                    </a:lnTo>
                    <a:lnTo>
                      <a:pt x="671" y="471"/>
                    </a:lnTo>
                    <a:lnTo>
                      <a:pt x="675" y="471"/>
                    </a:lnTo>
                    <a:lnTo>
                      <a:pt x="678" y="472"/>
                    </a:lnTo>
                    <a:lnTo>
                      <a:pt x="681" y="474"/>
                    </a:lnTo>
                    <a:lnTo>
                      <a:pt x="682" y="477"/>
                    </a:lnTo>
                    <a:lnTo>
                      <a:pt x="685" y="482"/>
                    </a:lnTo>
                    <a:lnTo>
                      <a:pt x="687" y="487"/>
                    </a:lnTo>
                    <a:lnTo>
                      <a:pt x="687" y="487"/>
                    </a:lnTo>
                    <a:lnTo>
                      <a:pt x="693" y="491"/>
                    </a:lnTo>
                    <a:lnTo>
                      <a:pt x="693" y="491"/>
                    </a:lnTo>
                    <a:lnTo>
                      <a:pt x="700" y="494"/>
                    </a:lnTo>
                    <a:lnTo>
                      <a:pt x="705" y="501"/>
                    </a:lnTo>
                    <a:lnTo>
                      <a:pt x="713" y="501"/>
                    </a:lnTo>
                    <a:lnTo>
                      <a:pt x="711" y="498"/>
                    </a:lnTo>
                    <a:lnTo>
                      <a:pt x="711" y="498"/>
                    </a:lnTo>
                    <a:lnTo>
                      <a:pt x="716" y="497"/>
                    </a:lnTo>
                    <a:lnTo>
                      <a:pt x="720" y="495"/>
                    </a:lnTo>
                    <a:lnTo>
                      <a:pt x="725" y="495"/>
                    </a:lnTo>
                    <a:lnTo>
                      <a:pt x="730" y="494"/>
                    </a:lnTo>
                    <a:lnTo>
                      <a:pt x="730" y="494"/>
                    </a:lnTo>
                    <a:lnTo>
                      <a:pt x="736" y="494"/>
                    </a:lnTo>
                    <a:lnTo>
                      <a:pt x="743" y="498"/>
                    </a:lnTo>
                    <a:lnTo>
                      <a:pt x="747" y="497"/>
                    </a:lnTo>
                    <a:lnTo>
                      <a:pt x="748" y="498"/>
                    </a:lnTo>
                    <a:lnTo>
                      <a:pt x="748" y="501"/>
                    </a:lnTo>
                    <a:lnTo>
                      <a:pt x="750" y="502"/>
                    </a:lnTo>
                    <a:lnTo>
                      <a:pt x="750" y="502"/>
                    </a:lnTo>
                    <a:lnTo>
                      <a:pt x="759" y="501"/>
                    </a:lnTo>
                    <a:lnTo>
                      <a:pt x="759" y="498"/>
                    </a:lnTo>
                    <a:lnTo>
                      <a:pt x="761" y="497"/>
                    </a:lnTo>
                    <a:lnTo>
                      <a:pt x="758" y="495"/>
                    </a:lnTo>
                    <a:lnTo>
                      <a:pt x="761" y="494"/>
                    </a:lnTo>
                    <a:lnTo>
                      <a:pt x="763" y="494"/>
                    </a:lnTo>
                    <a:lnTo>
                      <a:pt x="763" y="500"/>
                    </a:lnTo>
                    <a:lnTo>
                      <a:pt x="762" y="501"/>
                    </a:lnTo>
                    <a:lnTo>
                      <a:pt x="762" y="502"/>
                    </a:lnTo>
                    <a:lnTo>
                      <a:pt x="758" y="504"/>
                    </a:lnTo>
                    <a:lnTo>
                      <a:pt x="759" y="506"/>
                    </a:lnTo>
                    <a:lnTo>
                      <a:pt x="762" y="505"/>
                    </a:lnTo>
                    <a:lnTo>
                      <a:pt x="762" y="505"/>
                    </a:lnTo>
                    <a:lnTo>
                      <a:pt x="765" y="505"/>
                    </a:lnTo>
                    <a:lnTo>
                      <a:pt x="767" y="504"/>
                    </a:lnTo>
                    <a:lnTo>
                      <a:pt x="770" y="506"/>
                    </a:lnTo>
                    <a:lnTo>
                      <a:pt x="770" y="509"/>
                    </a:lnTo>
                    <a:lnTo>
                      <a:pt x="772" y="508"/>
                    </a:lnTo>
                    <a:lnTo>
                      <a:pt x="773" y="504"/>
                    </a:lnTo>
                    <a:lnTo>
                      <a:pt x="773" y="504"/>
                    </a:lnTo>
                    <a:lnTo>
                      <a:pt x="785" y="498"/>
                    </a:lnTo>
                    <a:lnTo>
                      <a:pt x="785" y="498"/>
                    </a:lnTo>
                    <a:lnTo>
                      <a:pt x="799" y="497"/>
                    </a:lnTo>
                    <a:lnTo>
                      <a:pt x="799" y="497"/>
                    </a:lnTo>
                    <a:lnTo>
                      <a:pt x="803" y="500"/>
                    </a:lnTo>
                    <a:lnTo>
                      <a:pt x="805" y="502"/>
                    </a:lnTo>
                    <a:lnTo>
                      <a:pt x="807" y="504"/>
                    </a:lnTo>
                    <a:lnTo>
                      <a:pt x="808" y="498"/>
                    </a:lnTo>
                    <a:lnTo>
                      <a:pt x="804" y="493"/>
                    </a:lnTo>
                    <a:lnTo>
                      <a:pt x="808" y="489"/>
                    </a:lnTo>
                    <a:lnTo>
                      <a:pt x="807" y="485"/>
                    </a:lnTo>
                    <a:lnTo>
                      <a:pt x="807" y="485"/>
                    </a:lnTo>
                    <a:lnTo>
                      <a:pt x="810" y="481"/>
                    </a:lnTo>
                    <a:lnTo>
                      <a:pt x="811" y="478"/>
                    </a:lnTo>
                    <a:lnTo>
                      <a:pt x="815" y="477"/>
                    </a:lnTo>
                    <a:lnTo>
                      <a:pt x="815" y="477"/>
                    </a:lnTo>
                    <a:lnTo>
                      <a:pt x="812" y="472"/>
                    </a:lnTo>
                    <a:lnTo>
                      <a:pt x="812" y="467"/>
                    </a:lnTo>
                    <a:lnTo>
                      <a:pt x="812" y="463"/>
                    </a:lnTo>
                    <a:lnTo>
                      <a:pt x="811" y="460"/>
                    </a:lnTo>
                    <a:lnTo>
                      <a:pt x="808" y="458"/>
                    </a:lnTo>
                    <a:lnTo>
                      <a:pt x="808" y="458"/>
                    </a:lnTo>
                    <a:lnTo>
                      <a:pt x="804" y="459"/>
                    </a:lnTo>
                    <a:lnTo>
                      <a:pt x="800" y="462"/>
                    </a:lnTo>
                    <a:lnTo>
                      <a:pt x="800" y="462"/>
                    </a:lnTo>
                    <a:lnTo>
                      <a:pt x="797" y="459"/>
                    </a:lnTo>
                    <a:lnTo>
                      <a:pt x="793" y="456"/>
                    </a:lnTo>
                    <a:lnTo>
                      <a:pt x="786" y="453"/>
                    </a:lnTo>
                    <a:lnTo>
                      <a:pt x="785" y="451"/>
                    </a:lnTo>
                    <a:lnTo>
                      <a:pt x="782" y="448"/>
                    </a:lnTo>
                    <a:lnTo>
                      <a:pt x="782" y="443"/>
                    </a:lnTo>
                    <a:lnTo>
                      <a:pt x="781" y="443"/>
                    </a:lnTo>
                    <a:lnTo>
                      <a:pt x="784" y="441"/>
                    </a:lnTo>
                    <a:lnTo>
                      <a:pt x="786" y="443"/>
                    </a:lnTo>
                    <a:lnTo>
                      <a:pt x="786" y="445"/>
                    </a:lnTo>
                    <a:lnTo>
                      <a:pt x="789" y="445"/>
                    </a:lnTo>
                    <a:lnTo>
                      <a:pt x="791" y="445"/>
                    </a:lnTo>
                    <a:lnTo>
                      <a:pt x="792" y="445"/>
                    </a:lnTo>
                    <a:lnTo>
                      <a:pt x="793" y="449"/>
                    </a:lnTo>
                    <a:lnTo>
                      <a:pt x="796" y="449"/>
                    </a:lnTo>
                    <a:lnTo>
                      <a:pt x="804" y="447"/>
                    </a:lnTo>
                    <a:lnTo>
                      <a:pt x="808" y="448"/>
                    </a:lnTo>
                    <a:lnTo>
                      <a:pt x="807" y="451"/>
                    </a:lnTo>
                    <a:lnTo>
                      <a:pt x="804" y="451"/>
                    </a:lnTo>
                    <a:lnTo>
                      <a:pt x="804" y="453"/>
                    </a:lnTo>
                    <a:lnTo>
                      <a:pt x="801" y="456"/>
                    </a:lnTo>
                    <a:lnTo>
                      <a:pt x="803" y="456"/>
                    </a:lnTo>
                    <a:lnTo>
                      <a:pt x="803" y="456"/>
                    </a:lnTo>
                    <a:lnTo>
                      <a:pt x="807" y="456"/>
                    </a:lnTo>
                    <a:lnTo>
                      <a:pt x="810" y="456"/>
                    </a:lnTo>
                    <a:lnTo>
                      <a:pt x="810" y="456"/>
                    </a:lnTo>
                    <a:lnTo>
                      <a:pt x="812" y="453"/>
                    </a:lnTo>
                    <a:lnTo>
                      <a:pt x="815" y="448"/>
                    </a:lnTo>
                    <a:lnTo>
                      <a:pt x="816" y="437"/>
                    </a:lnTo>
                    <a:lnTo>
                      <a:pt x="816" y="437"/>
                    </a:lnTo>
                    <a:lnTo>
                      <a:pt x="820" y="434"/>
                    </a:lnTo>
                    <a:lnTo>
                      <a:pt x="826" y="430"/>
                    </a:lnTo>
                    <a:lnTo>
                      <a:pt x="837" y="426"/>
                    </a:lnTo>
                    <a:lnTo>
                      <a:pt x="837" y="426"/>
                    </a:lnTo>
                    <a:lnTo>
                      <a:pt x="842" y="425"/>
                    </a:lnTo>
                    <a:lnTo>
                      <a:pt x="852" y="424"/>
                    </a:lnTo>
                    <a:lnTo>
                      <a:pt x="852" y="424"/>
                    </a:lnTo>
                    <a:lnTo>
                      <a:pt x="856" y="418"/>
                    </a:lnTo>
                    <a:lnTo>
                      <a:pt x="858" y="415"/>
                    </a:lnTo>
                    <a:lnTo>
                      <a:pt x="861" y="415"/>
                    </a:lnTo>
                    <a:lnTo>
                      <a:pt x="862" y="414"/>
                    </a:lnTo>
                    <a:lnTo>
                      <a:pt x="862" y="414"/>
                    </a:lnTo>
                    <a:lnTo>
                      <a:pt x="865" y="413"/>
                    </a:lnTo>
                    <a:lnTo>
                      <a:pt x="868" y="411"/>
                    </a:lnTo>
                    <a:lnTo>
                      <a:pt x="867" y="409"/>
                    </a:lnTo>
                    <a:lnTo>
                      <a:pt x="871" y="407"/>
                    </a:lnTo>
                    <a:lnTo>
                      <a:pt x="871" y="407"/>
                    </a:lnTo>
                    <a:lnTo>
                      <a:pt x="869" y="403"/>
                    </a:lnTo>
                    <a:lnTo>
                      <a:pt x="871" y="398"/>
                    </a:lnTo>
                    <a:lnTo>
                      <a:pt x="871" y="398"/>
                    </a:lnTo>
                    <a:lnTo>
                      <a:pt x="872" y="394"/>
                    </a:lnTo>
                    <a:lnTo>
                      <a:pt x="875" y="391"/>
                    </a:lnTo>
                    <a:lnTo>
                      <a:pt x="881" y="386"/>
                    </a:lnTo>
                    <a:lnTo>
                      <a:pt x="883" y="382"/>
                    </a:lnTo>
                    <a:lnTo>
                      <a:pt x="883" y="382"/>
                    </a:lnTo>
                    <a:lnTo>
                      <a:pt x="888" y="377"/>
                    </a:lnTo>
                    <a:lnTo>
                      <a:pt x="892" y="376"/>
                    </a:lnTo>
                    <a:lnTo>
                      <a:pt x="895" y="376"/>
                    </a:lnTo>
                    <a:lnTo>
                      <a:pt x="899" y="377"/>
                    </a:lnTo>
                    <a:lnTo>
                      <a:pt x="899" y="375"/>
                    </a:lnTo>
                    <a:lnTo>
                      <a:pt x="906" y="373"/>
                    </a:lnTo>
                    <a:lnTo>
                      <a:pt x="906" y="373"/>
                    </a:lnTo>
                    <a:lnTo>
                      <a:pt x="909" y="369"/>
                    </a:lnTo>
                    <a:lnTo>
                      <a:pt x="911" y="367"/>
                    </a:lnTo>
                    <a:lnTo>
                      <a:pt x="911" y="367"/>
                    </a:lnTo>
                    <a:lnTo>
                      <a:pt x="914" y="365"/>
                    </a:lnTo>
                    <a:lnTo>
                      <a:pt x="917" y="364"/>
                    </a:lnTo>
                    <a:lnTo>
                      <a:pt x="917" y="364"/>
                    </a:lnTo>
                    <a:lnTo>
                      <a:pt x="928" y="356"/>
                    </a:lnTo>
                    <a:lnTo>
                      <a:pt x="928" y="356"/>
                    </a:lnTo>
                    <a:lnTo>
                      <a:pt x="932" y="353"/>
                    </a:lnTo>
                    <a:lnTo>
                      <a:pt x="932" y="353"/>
                    </a:lnTo>
                    <a:lnTo>
                      <a:pt x="936" y="346"/>
                    </a:lnTo>
                    <a:lnTo>
                      <a:pt x="936" y="346"/>
                    </a:lnTo>
                    <a:lnTo>
                      <a:pt x="940" y="345"/>
                    </a:lnTo>
                    <a:lnTo>
                      <a:pt x="944" y="345"/>
                    </a:lnTo>
                    <a:lnTo>
                      <a:pt x="944" y="345"/>
                    </a:lnTo>
                    <a:lnTo>
                      <a:pt x="949" y="339"/>
                    </a:lnTo>
                    <a:lnTo>
                      <a:pt x="955" y="334"/>
                    </a:lnTo>
                    <a:lnTo>
                      <a:pt x="962" y="330"/>
                    </a:lnTo>
                    <a:lnTo>
                      <a:pt x="968" y="327"/>
                    </a:lnTo>
                    <a:lnTo>
                      <a:pt x="970" y="325"/>
                    </a:lnTo>
                    <a:lnTo>
                      <a:pt x="970" y="325"/>
                    </a:lnTo>
                    <a:lnTo>
                      <a:pt x="974" y="322"/>
                    </a:lnTo>
                    <a:lnTo>
                      <a:pt x="978" y="318"/>
                    </a:lnTo>
                    <a:lnTo>
                      <a:pt x="983" y="314"/>
                    </a:lnTo>
                    <a:lnTo>
                      <a:pt x="986" y="312"/>
                    </a:lnTo>
                    <a:lnTo>
                      <a:pt x="989" y="312"/>
                    </a:lnTo>
                    <a:lnTo>
                      <a:pt x="989" y="312"/>
                    </a:lnTo>
                    <a:lnTo>
                      <a:pt x="997" y="303"/>
                    </a:lnTo>
                    <a:lnTo>
                      <a:pt x="1001" y="297"/>
                    </a:lnTo>
                    <a:lnTo>
                      <a:pt x="1005" y="295"/>
                    </a:lnTo>
                    <a:lnTo>
                      <a:pt x="1005" y="295"/>
                    </a:lnTo>
                    <a:lnTo>
                      <a:pt x="1005" y="291"/>
                    </a:lnTo>
                    <a:lnTo>
                      <a:pt x="1006" y="288"/>
                    </a:lnTo>
                    <a:lnTo>
                      <a:pt x="1012" y="280"/>
                    </a:lnTo>
                    <a:lnTo>
                      <a:pt x="1017" y="272"/>
                    </a:lnTo>
                    <a:lnTo>
                      <a:pt x="1020" y="268"/>
                    </a:lnTo>
                    <a:lnTo>
                      <a:pt x="1021" y="264"/>
                    </a:lnTo>
                    <a:lnTo>
                      <a:pt x="1025" y="264"/>
                    </a:lnTo>
                    <a:lnTo>
                      <a:pt x="1025" y="264"/>
                    </a:lnTo>
                    <a:lnTo>
                      <a:pt x="1029" y="258"/>
                    </a:lnTo>
                    <a:lnTo>
                      <a:pt x="1032" y="254"/>
                    </a:lnTo>
                    <a:lnTo>
                      <a:pt x="1032" y="254"/>
                    </a:lnTo>
                    <a:lnTo>
                      <a:pt x="1035" y="251"/>
                    </a:lnTo>
                    <a:lnTo>
                      <a:pt x="1039" y="249"/>
                    </a:lnTo>
                    <a:lnTo>
                      <a:pt x="1048" y="245"/>
                    </a:lnTo>
                    <a:lnTo>
                      <a:pt x="1048" y="245"/>
                    </a:lnTo>
                    <a:lnTo>
                      <a:pt x="1052" y="242"/>
                    </a:lnTo>
                    <a:lnTo>
                      <a:pt x="1058" y="242"/>
                    </a:lnTo>
                    <a:lnTo>
                      <a:pt x="1056" y="239"/>
                    </a:lnTo>
                    <a:lnTo>
                      <a:pt x="1059" y="238"/>
                    </a:lnTo>
                    <a:lnTo>
                      <a:pt x="1059" y="238"/>
                    </a:lnTo>
                    <a:lnTo>
                      <a:pt x="1062" y="238"/>
                    </a:lnTo>
                    <a:lnTo>
                      <a:pt x="1065" y="238"/>
                    </a:lnTo>
                    <a:lnTo>
                      <a:pt x="1070" y="235"/>
                    </a:lnTo>
                    <a:lnTo>
                      <a:pt x="1071" y="232"/>
                    </a:lnTo>
                    <a:lnTo>
                      <a:pt x="1071" y="232"/>
                    </a:lnTo>
                    <a:lnTo>
                      <a:pt x="1078" y="231"/>
                    </a:lnTo>
                    <a:lnTo>
                      <a:pt x="1082" y="230"/>
                    </a:lnTo>
                    <a:lnTo>
                      <a:pt x="1086" y="231"/>
                    </a:lnTo>
                    <a:lnTo>
                      <a:pt x="1086" y="231"/>
                    </a:lnTo>
                    <a:lnTo>
                      <a:pt x="1089" y="228"/>
                    </a:lnTo>
                    <a:lnTo>
                      <a:pt x="1089" y="228"/>
                    </a:lnTo>
                    <a:lnTo>
                      <a:pt x="1097" y="226"/>
                    </a:lnTo>
                    <a:lnTo>
                      <a:pt x="1101" y="223"/>
                    </a:lnTo>
                    <a:lnTo>
                      <a:pt x="1111" y="212"/>
                    </a:lnTo>
                    <a:lnTo>
                      <a:pt x="1111" y="212"/>
                    </a:lnTo>
                    <a:lnTo>
                      <a:pt x="1112" y="208"/>
                    </a:lnTo>
                    <a:lnTo>
                      <a:pt x="1112" y="208"/>
                    </a:lnTo>
                    <a:lnTo>
                      <a:pt x="1119" y="201"/>
                    </a:lnTo>
                    <a:lnTo>
                      <a:pt x="1122" y="198"/>
                    </a:lnTo>
                    <a:lnTo>
                      <a:pt x="1124" y="194"/>
                    </a:lnTo>
                    <a:lnTo>
                      <a:pt x="1131" y="192"/>
                    </a:lnTo>
                    <a:lnTo>
                      <a:pt x="1131" y="192"/>
                    </a:lnTo>
                    <a:lnTo>
                      <a:pt x="1134" y="189"/>
                    </a:lnTo>
                    <a:lnTo>
                      <a:pt x="1137" y="186"/>
                    </a:lnTo>
                    <a:lnTo>
                      <a:pt x="1139" y="183"/>
                    </a:lnTo>
                    <a:lnTo>
                      <a:pt x="1138" y="179"/>
                    </a:lnTo>
                    <a:lnTo>
                      <a:pt x="1138" y="179"/>
                    </a:lnTo>
                    <a:lnTo>
                      <a:pt x="1141" y="175"/>
                    </a:lnTo>
                    <a:lnTo>
                      <a:pt x="1142" y="171"/>
                    </a:lnTo>
                    <a:lnTo>
                      <a:pt x="1141" y="170"/>
                    </a:lnTo>
                    <a:lnTo>
                      <a:pt x="1145" y="166"/>
                    </a:lnTo>
                    <a:lnTo>
                      <a:pt x="1145" y="159"/>
                    </a:lnTo>
                    <a:lnTo>
                      <a:pt x="1145" y="159"/>
                    </a:lnTo>
                    <a:lnTo>
                      <a:pt x="1146" y="156"/>
                    </a:lnTo>
                    <a:lnTo>
                      <a:pt x="1147" y="151"/>
                    </a:lnTo>
                    <a:lnTo>
                      <a:pt x="1151" y="151"/>
                    </a:lnTo>
                    <a:lnTo>
                      <a:pt x="1151" y="148"/>
                    </a:lnTo>
                    <a:lnTo>
                      <a:pt x="1151" y="148"/>
                    </a:lnTo>
                    <a:lnTo>
                      <a:pt x="1149" y="144"/>
                    </a:lnTo>
                    <a:lnTo>
                      <a:pt x="1145" y="141"/>
                    </a:lnTo>
                    <a:lnTo>
                      <a:pt x="1145" y="141"/>
                    </a:lnTo>
                    <a:lnTo>
                      <a:pt x="1150" y="141"/>
                    </a:lnTo>
                    <a:lnTo>
                      <a:pt x="1156" y="141"/>
                    </a:lnTo>
                    <a:lnTo>
                      <a:pt x="1154" y="139"/>
                    </a:lnTo>
                    <a:lnTo>
                      <a:pt x="1158" y="137"/>
                    </a:lnTo>
                    <a:lnTo>
                      <a:pt x="1157" y="129"/>
                    </a:lnTo>
                    <a:lnTo>
                      <a:pt x="1161" y="124"/>
                    </a:lnTo>
                    <a:lnTo>
                      <a:pt x="1160" y="120"/>
                    </a:lnTo>
                    <a:lnTo>
                      <a:pt x="1158" y="118"/>
                    </a:lnTo>
                    <a:lnTo>
                      <a:pt x="1158" y="118"/>
                    </a:lnTo>
                    <a:lnTo>
                      <a:pt x="1156" y="118"/>
                    </a:lnTo>
                    <a:lnTo>
                      <a:pt x="1153" y="120"/>
                    </a:lnTo>
                    <a:lnTo>
                      <a:pt x="1149" y="121"/>
                    </a:lnTo>
                    <a:lnTo>
                      <a:pt x="1149" y="121"/>
                    </a:lnTo>
                    <a:lnTo>
                      <a:pt x="1145" y="121"/>
                    </a:lnTo>
                    <a:lnTo>
                      <a:pt x="1139" y="121"/>
                    </a:lnTo>
                    <a:lnTo>
                      <a:pt x="1135" y="120"/>
                    </a:lnTo>
                    <a:lnTo>
                      <a:pt x="1132" y="117"/>
                    </a:lnTo>
                    <a:lnTo>
                      <a:pt x="1128" y="105"/>
                    </a:lnTo>
                    <a:lnTo>
                      <a:pt x="1130" y="103"/>
                    </a:lnTo>
                    <a:lnTo>
                      <a:pt x="1130" y="103"/>
                    </a:lnTo>
                    <a:lnTo>
                      <a:pt x="1130" y="95"/>
                    </a:lnTo>
                    <a:lnTo>
                      <a:pt x="1131" y="91"/>
                    </a:lnTo>
                    <a:lnTo>
                      <a:pt x="1132" y="87"/>
                    </a:lnTo>
                    <a:lnTo>
                      <a:pt x="1137" y="86"/>
                    </a:lnTo>
                    <a:lnTo>
                      <a:pt x="1137" y="86"/>
                    </a:lnTo>
                    <a:lnTo>
                      <a:pt x="1139" y="83"/>
                    </a:lnTo>
                    <a:lnTo>
                      <a:pt x="1142" y="79"/>
                    </a:lnTo>
                    <a:lnTo>
                      <a:pt x="1146" y="75"/>
                    </a:lnTo>
                    <a:lnTo>
                      <a:pt x="1150" y="68"/>
                    </a:lnTo>
                    <a:lnTo>
                      <a:pt x="1153" y="67"/>
                    </a:lnTo>
                    <a:lnTo>
                      <a:pt x="1153" y="61"/>
                    </a:lnTo>
                    <a:lnTo>
                      <a:pt x="1156" y="57"/>
                    </a:lnTo>
                    <a:lnTo>
                      <a:pt x="1156" y="56"/>
                    </a:lnTo>
                    <a:lnTo>
                      <a:pt x="1151" y="52"/>
                    </a:lnTo>
                    <a:lnTo>
                      <a:pt x="1151" y="49"/>
                    </a:lnTo>
                    <a:lnTo>
                      <a:pt x="1161" y="46"/>
                    </a:lnTo>
                    <a:lnTo>
                      <a:pt x="1164" y="38"/>
                    </a:lnTo>
                    <a:lnTo>
                      <a:pt x="1162" y="36"/>
                    </a:lnTo>
                    <a:lnTo>
                      <a:pt x="1162" y="36"/>
                    </a:lnTo>
                    <a:lnTo>
                      <a:pt x="1164" y="28"/>
                    </a:lnTo>
                    <a:lnTo>
                      <a:pt x="1165" y="23"/>
                    </a:lnTo>
                    <a:lnTo>
                      <a:pt x="1168" y="21"/>
                    </a:lnTo>
                    <a:lnTo>
                      <a:pt x="1169" y="18"/>
                    </a:lnTo>
                    <a:lnTo>
                      <a:pt x="1165" y="15"/>
                    </a:lnTo>
                    <a:lnTo>
                      <a:pt x="1162" y="18"/>
                    </a:lnTo>
                    <a:lnTo>
                      <a:pt x="1158" y="15"/>
                    </a:lnTo>
                    <a:lnTo>
                      <a:pt x="1153" y="18"/>
                    </a:lnTo>
                    <a:lnTo>
                      <a:pt x="1153" y="18"/>
                    </a:lnTo>
                    <a:lnTo>
                      <a:pt x="1145" y="17"/>
                    </a:lnTo>
                    <a:lnTo>
                      <a:pt x="1141" y="15"/>
                    </a:lnTo>
                    <a:lnTo>
                      <a:pt x="1138" y="17"/>
                    </a:lnTo>
                    <a:lnTo>
                      <a:pt x="1135" y="18"/>
                    </a:lnTo>
                    <a:lnTo>
                      <a:pt x="1135" y="18"/>
                    </a:lnTo>
                    <a:lnTo>
                      <a:pt x="1130" y="18"/>
                    </a:lnTo>
                    <a:lnTo>
                      <a:pt x="1130" y="18"/>
                    </a:lnTo>
                    <a:lnTo>
                      <a:pt x="1124" y="21"/>
                    </a:lnTo>
                    <a:lnTo>
                      <a:pt x="1122" y="22"/>
                    </a:lnTo>
                    <a:lnTo>
                      <a:pt x="1119" y="22"/>
                    </a:lnTo>
                    <a:lnTo>
                      <a:pt x="1119" y="22"/>
                    </a:lnTo>
                    <a:lnTo>
                      <a:pt x="1116" y="17"/>
                    </a:lnTo>
                    <a:lnTo>
                      <a:pt x="1115" y="13"/>
                    </a:lnTo>
                    <a:lnTo>
                      <a:pt x="1112" y="13"/>
                    </a:lnTo>
                    <a:lnTo>
                      <a:pt x="1112" y="10"/>
                    </a:lnTo>
                    <a:lnTo>
                      <a:pt x="1107" y="7"/>
                    </a:lnTo>
                    <a:lnTo>
                      <a:pt x="1107" y="9"/>
                    </a:lnTo>
                    <a:lnTo>
                      <a:pt x="1104" y="11"/>
                    </a:lnTo>
                    <a:lnTo>
                      <a:pt x="1100" y="10"/>
                    </a:lnTo>
                    <a:lnTo>
                      <a:pt x="1100" y="10"/>
                    </a:lnTo>
                    <a:lnTo>
                      <a:pt x="1097" y="11"/>
                    </a:lnTo>
                    <a:lnTo>
                      <a:pt x="1096" y="14"/>
                    </a:lnTo>
                    <a:lnTo>
                      <a:pt x="1090" y="14"/>
                    </a:lnTo>
                    <a:lnTo>
                      <a:pt x="1089" y="11"/>
                    </a:lnTo>
                    <a:lnTo>
                      <a:pt x="1088" y="11"/>
                    </a:lnTo>
                    <a:lnTo>
                      <a:pt x="1082" y="13"/>
                    </a:lnTo>
                    <a:lnTo>
                      <a:pt x="1082" y="13"/>
                    </a:lnTo>
                    <a:lnTo>
                      <a:pt x="1078" y="13"/>
                    </a:lnTo>
                    <a:lnTo>
                      <a:pt x="1075" y="13"/>
                    </a:lnTo>
                    <a:lnTo>
                      <a:pt x="1070" y="17"/>
                    </a:lnTo>
                    <a:lnTo>
                      <a:pt x="1066" y="17"/>
                    </a:lnTo>
                    <a:lnTo>
                      <a:pt x="1065" y="15"/>
                    </a:lnTo>
                    <a:lnTo>
                      <a:pt x="1061" y="17"/>
                    </a:lnTo>
                    <a:lnTo>
                      <a:pt x="1059" y="15"/>
                    </a:lnTo>
                    <a:lnTo>
                      <a:pt x="1051" y="15"/>
                    </a:lnTo>
                    <a:lnTo>
                      <a:pt x="1051" y="11"/>
                    </a:lnTo>
                    <a:lnTo>
                      <a:pt x="1048" y="9"/>
                    </a:lnTo>
                    <a:lnTo>
                      <a:pt x="1047" y="4"/>
                    </a:lnTo>
                    <a:lnTo>
                      <a:pt x="1042" y="0"/>
                    </a:lnTo>
                    <a:lnTo>
                      <a:pt x="1035" y="3"/>
                    </a:lnTo>
                    <a:lnTo>
                      <a:pt x="1035" y="3"/>
                    </a:lnTo>
                    <a:lnTo>
                      <a:pt x="1032" y="4"/>
                    </a:lnTo>
                    <a:lnTo>
                      <a:pt x="1029" y="7"/>
                    </a:lnTo>
                    <a:lnTo>
                      <a:pt x="1028" y="14"/>
                    </a:lnTo>
                    <a:lnTo>
                      <a:pt x="1028" y="14"/>
                    </a:lnTo>
                    <a:lnTo>
                      <a:pt x="1027" y="17"/>
                    </a:lnTo>
                    <a:lnTo>
                      <a:pt x="1027" y="19"/>
                    </a:lnTo>
                    <a:lnTo>
                      <a:pt x="1027" y="19"/>
                    </a:lnTo>
                    <a:lnTo>
                      <a:pt x="1033" y="25"/>
                    </a:lnTo>
                    <a:lnTo>
                      <a:pt x="1037" y="26"/>
                    </a:lnTo>
                    <a:lnTo>
                      <a:pt x="1040" y="28"/>
                    </a:lnTo>
                    <a:lnTo>
                      <a:pt x="1040" y="28"/>
                    </a:lnTo>
                    <a:lnTo>
                      <a:pt x="1042" y="29"/>
                    </a:lnTo>
                    <a:lnTo>
                      <a:pt x="1044" y="32"/>
                    </a:lnTo>
                    <a:lnTo>
                      <a:pt x="1050" y="33"/>
                    </a:lnTo>
                    <a:lnTo>
                      <a:pt x="1051" y="36"/>
                    </a:lnTo>
                    <a:lnTo>
                      <a:pt x="1051" y="36"/>
                    </a:lnTo>
                    <a:lnTo>
                      <a:pt x="1047" y="42"/>
                    </a:lnTo>
                    <a:lnTo>
                      <a:pt x="1044" y="46"/>
                    </a:lnTo>
                    <a:lnTo>
                      <a:pt x="1042" y="48"/>
                    </a:lnTo>
                    <a:lnTo>
                      <a:pt x="1040" y="48"/>
                    </a:lnTo>
                    <a:lnTo>
                      <a:pt x="1039" y="45"/>
                    </a:lnTo>
                    <a:lnTo>
                      <a:pt x="1031" y="42"/>
                    </a:lnTo>
                    <a:lnTo>
                      <a:pt x="1031" y="42"/>
                    </a:lnTo>
                    <a:lnTo>
                      <a:pt x="1028" y="44"/>
                    </a:lnTo>
                    <a:lnTo>
                      <a:pt x="1025" y="44"/>
                    </a:lnTo>
                    <a:lnTo>
                      <a:pt x="1023" y="41"/>
                    </a:lnTo>
                    <a:lnTo>
                      <a:pt x="1020" y="42"/>
                    </a:lnTo>
                    <a:lnTo>
                      <a:pt x="1020" y="41"/>
                    </a:lnTo>
                    <a:lnTo>
                      <a:pt x="1020" y="38"/>
                    </a:lnTo>
                    <a:lnTo>
                      <a:pt x="1018" y="38"/>
                    </a:lnTo>
                    <a:lnTo>
                      <a:pt x="1014" y="38"/>
                    </a:lnTo>
                    <a:lnTo>
                      <a:pt x="1009" y="37"/>
                    </a:lnTo>
                    <a:lnTo>
                      <a:pt x="1009" y="37"/>
                    </a:lnTo>
                    <a:lnTo>
                      <a:pt x="1004" y="37"/>
                    </a:lnTo>
                    <a:lnTo>
                      <a:pt x="999" y="38"/>
                    </a:lnTo>
                    <a:lnTo>
                      <a:pt x="993" y="44"/>
                    </a:lnTo>
                    <a:lnTo>
                      <a:pt x="990" y="42"/>
                    </a:lnTo>
                    <a:lnTo>
                      <a:pt x="989" y="45"/>
                    </a:lnTo>
                    <a:lnTo>
                      <a:pt x="986" y="45"/>
                    </a:lnTo>
                    <a:lnTo>
                      <a:pt x="986" y="45"/>
                    </a:lnTo>
                    <a:lnTo>
                      <a:pt x="982" y="44"/>
                    </a:lnTo>
                    <a:lnTo>
                      <a:pt x="976" y="41"/>
                    </a:lnTo>
                    <a:lnTo>
                      <a:pt x="976" y="38"/>
                    </a:lnTo>
                    <a:lnTo>
                      <a:pt x="979" y="37"/>
                    </a:lnTo>
                    <a:lnTo>
                      <a:pt x="979" y="37"/>
                    </a:lnTo>
                    <a:lnTo>
                      <a:pt x="982" y="34"/>
                    </a:lnTo>
                    <a:lnTo>
                      <a:pt x="982" y="30"/>
                    </a:lnTo>
                    <a:lnTo>
                      <a:pt x="982" y="30"/>
                    </a:lnTo>
                    <a:lnTo>
                      <a:pt x="974" y="30"/>
                    </a:lnTo>
                    <a:lnTo>
                      <a:pt x="974" y="30"/>
                    </a:lnTo>
                    <a:lnTo>
                      <a:pt x="967" y="33"/>
                    </a:lnTo>
                    <a:lnTo>
                      <a:pt x="967" y="33"/>
                    </a:lnTo>
                    <a:lnTo>
                      <a:pt x="947" y="36"/>
                    </a:lnTo>
                    <a:lnTo>
                      <a:pt x="947" y="36"/>
                    </a:lnTo>
                    <a:lnTo>
                      <a:pt x="943" y="34"/>
                    </a:lnTo>
                    <a:lnTo>
                      <a:pt x="938" y="32"/>
                    </a:lnTo>
                    <a:lnTo>
                      <a:pt x="937" y="32"/>
                    </a:lnTo>
                    <a:lnTo>
                      <a:pt x="933" y="34"/>
                    </a:lnTo>
                    <a:lnTo>
                      <a:pt x="932" y="41"/>
                    </a:lnTo>
                    <a:lnTo>
                      <a:pt x="929" y="40"/>
                    </a:lnTo>
                    <a:lnTo>
                      <a:pt x="929" y="40"/>
                    </a:lnTo>
                    <a:lnTo>
                      <a:pt x="922" y="42"/>
                    </a:lnTo>
                    <a:lnTo>
                      <a:pt x="915" y="46"/>
                    </a:lnTo>
                    <a:lnTo>
                      <a:pt x="903" y="59"/>
                    </a:lnTo>
                    <a:lnTo>
                      <a:pt x="903" y="59"/>
                    </a:lnTo>
                    <a:lnTo>
                      <a:pt x="898" y="59"/>
                    </a:lnTo>
                    <a:lnTo>
                      <a:pt x="894" y="61"/>
                    </a:lnTo>
                    <a:lnTo>
                      <a:pt x="895" y="67"/>
                    </a:lnTo>
                    <a:lnTo>
                      <a:pt x="895" y="67"/>
                    </a:lnTo>
                    <a:lnTo>
                      <a:pt x="891" y="67"/>
                    </a:lnTo>
                    <a:lnTo>
                      <a:pt x="888" y="67"/>
                    </a:lnTo>
                    <a:lnTo>
                      <a:pt x="888" y="63"/>
                    </a:lnTo>
                    <a:lnTo>
                      <a:pt x="884" y="61"/>
                    </a:lnTo>
                    <a:lnTo>
                      <a:pt x="884" y="61"/>
                    </a:lnTo>
                    <a:lnTo>
                      <a:pt x="880" y="63"/>
                    </a:lnTo>
                    <a:lnTo>
                      <a:pt x="876" y="64"/>
                    </a:lnTo>
                    <a:lnTo>
                      <a:pt x="876" y="64"/>
                    </a:lnTo>
                    <a:lnTo>
                      <a:pt x="873" y="64"/>
                    </a:lnTo>
                    <a:lnTo>
                      <a:pt x="869" y="64"/>
                    </a:lnTo>
                    <a:lnTo>
                      <a:pt x="868" y="65"/>
                    </a:lnTo>
                    <a:lnTo>
                      <a:pt x="868" y="65"/>
                    </a:lnTo>
                    <a:lnTo>
                      <a:pt x="860" y="67"/>
                    </a:lnTo>
                    <a:lnTo>
                      <a:pt x="850" y="64"/>
                    </a:lnTo>
                    <a:lnTo>
                      <a:pt x="846" y="67"/>
                    </a:lnTo>
                    <a:lnTo>
                      <a:pt x="845" y="68"/>
                    </a:lnTo>
                    <a:lnTo>
                      <a:pt x="846" y="70"/>
                    </a:lnTo>
                    <a:lnTo>
                      <a:pt x="845" y="71"/>
                    </a:lnTo>
                    <a:lnTo>
                      <a:pt x="843" y="70"/>
                    </a:lnTo>
                    <a:lnTo>
                      <a:pt x="841" y="68"/>
                    </a:lnTo>
                    <a:lnTo>
                      <a:pt x="839" y="63"/>
                    </a:lnTo>
                    <a:lnTo>
                      <a:pt x="837" y="63"/>
                    </a:lnTo>
                    <a:lnTo>
                      <a:pt x="837" y="61"/>
                    </a:lnTo>
                    <a:lnTo>
                      <a:pt x="835" y="60"/>
                    </a:lnTo>
                    <a:lnTo>
                      <a:pt x="834" y="64"/>
                    </a:lnTo>
                    <a:lnTo>
                      <a:pt x="831" y="65"/>
                    </a:lnTo>
                    <a:lnTo>
                      <a:pt x="830" y="64"/>
                    </a:lnTo>
                    <a:lnTo>
                      <a:pt x="830" y="61"/>
                    </a:lnTo>
                    <a:lnTo>
                      <a:pt x="829" y="60"/>
                    </a:lnTo>
                    <a:lnTo>
                      <a:pt x="824" y="63"/>
                    </a:lnTo>
                    <a:lnTo>
                      <a:pt x="824" y="63"/>
                    </a:lnTo>
                    <a:lnTo>
                      <a:pt x="818" y="63"/>
                    </a:lnTo>
                    <a:lnTo>
                      <a:pt x="815" y="64"/>
                    </a:lnTo>
                    <a:lnTo>
                      <a:pt x="812" y="65"/>
                    </a:lnTo>
                    <a:lnTo>
                      <a:pt x="810" y="65"/>
                    </a:lnTo>
                    <a:lnTo>
                      <a:pt x="810" y="65"/>
                    </a:lnTo>
                    <a:lnTo>
                      <a:pt x="810" y="60"/>
                    </a:lnTo>
                    <a:lnTo>
                      <a:pt x="808" y="55"/>
                    </a:lnTo>
                    <a:lnTo>
                      <a:pt x="808" y="55"/>
                    </a:lnTo>
                    <a:lnTo>
                      <a:pt x="808" y="53"/>
                    </a:lnTo>
                    <a:lnTo>
                      <a:pt x="808" y="49"/>
                    </a:lnTo>
                    <a:lnTo>
                      <a:pt x="807" y="44"/>
                    </a:lnTo>
                    <a:lnTo>
                      <a:pt x="805" y="44"/>
                    </a:lnTo>
                    <a:lnTo>
                      <a:pt x="805" y="44"/>
                    </a:lnTo>
                    <a:lnTo>
                      <a:pt x="804" y="46"/>
                    </a:lnTo>
                    <a:lnTo>
                      <a:pt x="801" y="49"/>
                    </a:lnTo>
                    <a:lnTo>
                      <a:pt x="800" y="49"/>
                    </a:lnTo>
                    <a:lnTo>
                      <a:pt x="799" y="51"/>
                    </a:lnTo>
                    <a:lnTo>
                      <a:pt x="796" y="51"/>
                    </a:lnTo>
                    <a:lnTo>
                      <a:pt x="796" y="55"/>
                    </a:lnTo>
                    <a:lnTo>
                      <a:pt x="795" y="55"/>
                    </a:lnTo>
                    <a:lnTo>
                      <a:pt x="795" y="61"/>
                    </a:lnTo>
                    <a:lnTo>
                      <a:pt x="786" y="65"/>
                    </a:lnTo>
                    <a:lnTo>
                      <a:pt x="786" y="71"/>
                    </a:lnTo>
                    <a:lnTo>
                      <a:pt x="785" y="74"/>
                    </a:lnTo>
                    <a:lnTo>
                      <a:pt x="782" y="72"/>
                    </a:lnTo>
                    <a:lnTo>
                      <a:pt x="781" y="68"/>
                    </a:lnTo>
                    <a:lnTo>
                      <a:pt x="780" y="68"/>
                    </a:lnTo>
                    <a:lnTo>
                      <a:pt x="778" y="70"/>
                    </a:lnTo>
                    <a:lnTo>
                      <a:pt x="777" y="71"/>
                    </a:lnTo>
                    <a:lnTo>
                      <a:pt x="777" y="71"/>
                    </a:lnTo>
                    <a:lnTo>
                      <a:pt x="776" y="68"/>
                    </a:lnTo>
                    <a:lnTo>
                      <a:pt x="774" y="65"/>
                    </a:lnTo>
                    <a:lnTo>
                      <a:pt x="773" y="68"/>
                    </a:lnTo>
                    <a:lnTo>
                      <a:pt x="772" y="68"/>
                    </a:lnTo>
                    <a:lnTo>
                      <a:pt x="770" y="63"/>
                    </a:lnTo>
                    <a:lnTo>
                      <a:pt x="769" y="64"/>
                    </a:lnTo>
                    <a:lnTo>
                      <a:pt x="766" y="63"/>
                    </a:lnTo>
                    <a:lnTo>
                      <a:pt x="765" y="67"/>
                    </a:lnTo>
                    <a:lnTo>
                      <a:pt x="763" y="67"/>
                    </a:lnTo>
                    <a:lnTo>
                      <a:pt x="759" y="64"/>
                    </a:lnTo>
                    <a:lnTo>
                      <a:pt x="758" y="67"/>
                    </a:lnTo>
                    <a:lnTo>
                      <a:pt x="755" y="67"/>
                    </a:lnTo>
                    <a:lnTo>
                      <a:pt x="757" y="71"/>
                    </a:lnTo>
                    <a:lnTo>
                      <a:pt x="755" y="72"/>
                    </a:lnTo>
                    <a:lnTo>
                      <a:pt x="755" y="76"/>
                    </a:lnTo>
                    <a:lnTo>
                      <a:pt x="754" y="76"/>
                    </a:lnTo>
                    <a:lnTo>
                      <a:pt x="751" y="75"/>
                    </a:lnTo>
                    <a:lnTo>
                      <a:pt x="751" y="78"/>
                    </a:lnTo>
                    <a:lnTo>
                      <a:pt x="748" y="78"/>
                    </a:lnTo>
                    <a:lnTo>
                      <a:pt x="748" y="79"/>
                    </a:lnTo>
                    <a:lnTo>
                      <a:pt x="747" y="79"/>
                    </a:lnTo>
                    <a:lnTo>
                      <a:pt x="746" y="78"/>
                    </a:lnTo>
                    <a:lnTo>
                      <a:pt x="744" y="76"/>
                    </a:lnTo>
                    <a:lnTo>
                      <a:pt x="743" y="78"/>
                    </a:lnTo>
                    <a:lnTo>
                      <a:pt x="740" y="75"/>
                    </a:lnTo>
                    <a:lnTo>
                      <a:pt x="739" y="75"/>
                    </a:lnTo>
                    <a:lnTo>
                      <a:pt x="739" y="74"/>
                    </a:lnTo>
                    <a:lnTo>
                      <a:pt x="736" y="74"/>
                    </a:lnTo>
                    <a:lnTo>
                      <a:pt x="736" y="74"/>
                    </a:lnTo>
                    <a:lnTo>
                      <a:pt x="734" y="75"/>
                    </a:lnTo>
                    <a:lnTo>
                      <a:pt x="735" y="79"/>
                    </a:lnTo>
                    <a:lnTo>
                      <a:pt x="732" y="79"/>
                    </a:lnTo>
                    <a:lnTo>
                      <a:pt x="731" y="80"/>
                    </a:lnTo>
                    <a:lnTo>
                      <a:pt x="735" y="86"/>
                    </a:lnTo>
                    <a:lnTo>
                      <a:pt x="724" y="82"/>
                    </a:lnTo>
                    <a:lnTo>
                      <a:pt x="723" y="83"/>
                    </a:lnTo>
                    <a:lnTo>
                      <a:pt x="723" y="83"/>
                    </a:lnTo>
                    <a:lnTo>
                      <a:pt x="725" y="87"/>
                    </a:lnTo>
                    <a:lnTo>
                      <a:pt x="728" y="90"/>
                    </a:lnTo>
                    <a:lnTo>
                      <a:pt x="728" y="91"/>
                    </a:lnTo>
                    <a:lnTo>
                      <a:pt x="732" y="97"/>
                    </a:lnTo>
                    <a:lnTo>
                      <a:pt x="732" y="98"/>
                    </a:lnTo>
                    <a:lnTo>
                      <a:pt x="728" y="97"/>
                    </a:lnTo>
                    <a:lnTo>
                      <a:pt x="728" y="93"/>
                    </a:lnTo>
                    <a:lnTo>
                      <a:pt x="724" y="90"/>
                    </a:lnTo>
                    <a:lnTo>
                      <a:pt x="724" y="89"/>
                    </a:lnTo>
                    <a:lnTo>
                      <a:pt x="724" y="89"/>
                    </a:lnTo>
                    <a:lnTo>
                      <a:pt x="720" y="89"/>
                    </a:lnTo>
                    <a:lnTo>
                      <a:pt x="716" y="89"/>
                    </a:lnTo>
                    <a:lnTo>
                      <a:pt x="716" y="86"/>
                    </a:lnTo>
                    <a:lnTo>
                      <a:pt x="716" y="86"/>
                    </a:lnTo>
                    <a:lnTo>
                      <a:pt x="715" y="83"/>
                    </a:lnTo>
                    <a:lnTo>
                      <a:pt x="711" y="82"/>
                    </a:lnTo>
                    <a:lnTo>
                      <a:pt x="708" y="80"/>
                    </a:lnTo>
                    <a:lnTo>
                      <a:pt x="704" y="80"/>
                    </a:lnTo>
                    <a:lnTo>
                      <a:pt x="704" y="79"/>
                    </a:lnTo>
                    <a:lnTo>
                      <a:pt x="701" y="79"/>
                    </a:lnTo>
                    <a:lnTo>
                      <a:pt x="700" y="78"/>
                    </a:lnTo>
                    <a:lnTo>
                      <a:pt x="696" y="80"/>
                    </a:lnTo>
                    <a:lnTo>
                      <a:pt x="696" y="82"/>
                    </a:lnTo>
                    <a:lnTo>
                      <a:pt x="692" y="79"/>
                    </a:lnTo>
                    <a:lnTo>
                      <a:pt x="690" y="79"/>
                    </a:lnTo>
                    <a:lnTo>
                      <a:pt x="690" y="80"/>
                    </a:lnTo>
                    <a:lnTo>
                      <a:pt x="687" y="80"/>
                    </a:lnTo>
                    <a:lnTo>
                      <a:pt x="682" y="83"/>
                    </a:lnTo>
                    <a:lnTo>
                      <a:pt x="671" y="98"/>
                    </a:lnTo>
                    <a:lnTo>
                      <a:pt x="667" y="99"/>
                    </a:lnTo>
                    <a:lnTo>
                      <a:pt x="667" y="99"/>
                    </a:lnTo>
                    <a:lnTo>
                      <a:pt x="663" y="103"/>
                    </a:lnTo>
                    <a:lnTo>
                      <a:pt x="659" y="109"/>
                    </a:lnTo>
                    <a:lnTo>
                      <a:pt x="654" y="110"/>
                    </a:lnTo>
                    <a:lnTo>
                      <a:pt x="654" y="110"/>
                    </a:lnTo>
                    <a:lnTo>
                      <a:pt x="656" y="112"/>
                    </a:lnTo>
                    <a:lnTo>
                      <a:pt x="658" y="114"/>
                    </a:lnTo>
                    <a:lnTo>
                      <a:pt x="656" y="118"/>
                    </a:lnTo>
                    <a:lnTo>
                      <a:pt x="655" y="120"/>
                    </a:lnTo>
                    <a:lnTo>
                      <a:pt x="651" y="120"/>
                    </a:lnTo>
                    <a:lnTo>
                      <a:pt x="651" y="120"/>
                    </a:lnTo>
                    <a:lnTo>
                      <a:pt x="649" y="125"/>
                    </a:lnTo>
                    <a:lnTo>
                      <a:pt x="647" y="131"/>
                    </a:lnTo>
                    <a:lnTo>
                      <a:pt x="639" y="141"/>
                    </a:lnTo>
                    <a:lnTo>
                      <a:pt x="637" y="136"/>
                    </a:lnTo>
                    <a:lnTo>
                      <a:pt x="641" y="133"/>
                    </a:lnTo>
                    <a:lnTo>
                      <a:pt x="641" y="133"/>
                    </a:lnTo>
                    <a:lnTo>
                      <a:pt x="641" y="128"/>
                    </a:lnTo>
                    <a:lnTo>
                      <a:pt x="643" y="122"/>
                    </a:lnTo>
                    <a:lnTo>
                      <a:pt x="647" y="114"/>
                    </a:lnTo>
                    <a:lnTo>
                      <a:pt x="647" y="114"/>
                    </a:lnTo>
                    <a:lnTo>
                      <a:pt x="647" y="108"/>
                    </a:lnTo>
                    <a:lnTo>
                      <a:pt x="647" y="108"/>
                    </a:lnTo>
                    <a:lnTo>
                      <a:pt x="649" y="103"/>
                    </a:lnTo>
                    <a:lnTo>
                      <a:pt x="654" y="99"/>
                    </a:lnTo>
                    <a:lnTo>
                      <a:pt x="656" y="99"/>
                    </a:lnTo>
                    <a:lnTo>
                      <a:pt x="658" y="95"/>
                    </a:lnTo>
                    <a:lnTo>
                      <a:pt x="658" y="95"/>
                    </a:lnTo>
                    <a:lnTo>
                      <a:pt x="662" y="94"/>
                    </a:lnTo>
                    <a:lnTo>
                      <a:pt x="663" y="91"/>
                    </a:lnTo>
                    <a:lnTo>
                      <a:pt x="663" y="90"/>
                    </a:lnTo>
                    <a:lnTo>
                      <a:pt x="658" y="90"/>
                    </a:lnTo>
                    <a:lnTo>
                      <a:pt x="658" y="90"/>
                    </a:lnTo>
                    <a:lnTo>
                      <a:pt x="656" y="87"/>
                    </a:lnTo>
                    <a:lnTo>
                      <a:pt x="655" y="84"/>
                    </a:lnTo>
                    <a:lnTo>
                      <a:pt x="659" y="83"/>
                    </a:lnTo>
                    <a:lnTo>
                      <a:pt x="656" y="80"/>
                    </a:lnTo>
                    <a:lnTo>
                      <a:pt x="656" y="74"/>
                    </a:lnTo>
                    <a:lnTo>
                      <a:pt x="652" y="71"/>
                    </a:lnTo>
                    <a:lnTo>
                      <a:pt x="651" y="74"/>
                    </a:lnTo>
                    <a:lnTo>
                      <a:pt x="647" y="75"/>
                    </a:lnTo>
                    <a:lnTo>
                      <a:pt x="647" y="72"/>
                    </a:lnTo>
                    <a:lnTo>
                      <a:pt x="645" y="68"/>
                    </a:lnTo>
                    <a:lnTo>
                      <a:pt x="632" y="63"/>
                    </a:lnTo>
                    <a:lnTo>
                      <a:pt x="629" y="60"/>
                    </a:lnTo>
                    <a:lnTo>
                      <a:pt x="622" y="57"/>
                    </a:lnTo>
                    <a:lnTo>
                      <a:pt x="620" y="59"/>
                    </a:lnTo>
                    <a:lnTo>
                      <a:pt x="618" y="57"/>
                    </a:lnTo>
                    <a:lnTo>
                      <a:pt x="618" y="57"/>
                    </a:lnTo>
                    <a:lnTo>
                      <a:pt x="613" y="56"/>
                    </a:lnTo>
                    <a:lnTo>
                      <a:pt x="609" y="59"/>
                    </a:lnTo>
                    <a:lnTo>
                      <a:pt x="606" y="57"/>
                    </a:lnTo>
                    <a:lnTo>
                      <a:pt x="603" y="59"/>
                    </a:lnTo>
                    <a:lnTo>
                      <a:pt x="601" y="56"/>
                    </a:lnTo>
                    <a:lnTo>
                      <a:pt x="598" y="57"/>
                    </a:lnTo>
                    <a:lnTo>
                      <a:pt x="598" y="57"/>
                    </a:lnTo>
                    <a:lnTo>
                      <a:pt x="597" y="59"/>
                    </a:lnTo>
                    <a:lnTo>
                      <a:pt x="594" y="61"/>
                    </a:lnTo>
                    <a:lnTo>
                      <a:pt x="594" y="63"/>
                    </a:lnTo>
                    <a:lnTo>
                      <a:pt x="595" y="65"/>
                    </a:lnTo>
                    <a:lnTo>
                      <a:pt x="591" y="71"/>
                    </a:lnTo>
                    <a:lnTo>
                      <a:pt x="591" y="71"/>
                    </a:lnTo>
                    <a:lnTo>
                      <a:pt x="592" y="74"/>
                    </a:lnTo>
                    <a:lnTo>
                      <a:pt x="595" y="76"/>
                    </a:lnTo>
                    <a:lnTo>
                      <a:pt x="595" y="83"/>
                    </a:lnTo>
                    <a:lnTo>
                      <a:pt x="595" y="83"/>
                    </a:lnTo>
                    <a:lnTo>
                      <a:pt x="592" y="86"/>
                    </a:lnTo>
                    <a:lnTo>
                      <a:pt x="592" y="89"/>
                    </a:lnTo>
                    <a:lnTo>
                      <a:pt x="587" y="93"/>
                    </a:lnTo>
                    <a:lnTo>
                      <a:pt x="587" y="91"/>
                    </a:lnTo>
                    <a:lnTo>
                      <a:pt x="586" y="89"/>
                    </a:lnTo>
                    <a:lnTo>
                      <a:pt x="580" y="93"/>
                    </a:lnTo>
                    <a:lnTo>
                      <a:pt x="579" y="93"/>
                    </a:lnTo>
                    <a:lnTo>
                      <a:pt x="576" y="94"/>
                    </a:lnTo>
                    <a:lnTo>
                      <a:pt x="576" y="94"/>
                    </a:lnTo>
                    <a:lnTo>
                      <a:pt x="573" y="98"/>
                    </a:lnTo>
                    <a:lnTo>
                      <a:pt x="571" y="101"/>
                    </a:lnTo>
                    <a:lnTo>
                      <a:pt x="571" y="105"/>
                    </a:lnTo>
                    <a:lnTo>
                      <a:pt x="568" y="105"/>
                    </a:lnTo>
                    <a:lnTo>
                      <a:pt x="568" y="108"/>
                    </a:lnTo>
                    <a:lnTo>
                      <a:pt x="571" y="109"/>
                    </a:lnTo>
                    <a:lnTo>
                      <a:pt x="569" y="116"/>
                    </a:lnTo>
                    <a:lnTo>
                      <a:pt x="569" y="117"/>
                    </a:lnTo>
                    <a:lnTo>
                      <a:pt x="567" y="116"/>
                    </a:lnTo>
                    <a:lnTo>
                      <a:pt x="561" y="120"/>
                    </a:lnTo>
                    <a:lnTo>
                      <a:pt x="559" y="120"/>
                    </a:lnTo>
                    <a:lnTo>
                      <a:pt x="557" y="124"/>
                    </a:lnTo>
                    <a:lnTo>
                      <a:pt x="557" y="124"/>
                    </a:lnTo>
                    <a:lnTo>
                      <a:pt x="553" y="127"/>
                    </a:lnTo>
                    <a:lnTo>
                      <a:pt x="548" y="128"/>
                    </a:lnTo>
                    <a:lnTo>
                      <a:pt x="548" y="128"/>
                    </a:lnTo>
                    <a:lnTo>
                      <a:pt x="546" y="133"/>
                    </a:lnTo>
                    <a:lnTo>
                      <a:pt x="545" y="136"/>
                    </a:lnTo>
                    <a:lnTo>
                      <a:pt x="544" y="137"/>
                    </a:lnTo>
                    <a:lnTo>
                      <a:pt x="541" y="137"/>
                    </a:lnTo>
                    <a:lnTo>
                      <a:pt x="540" y="139"/>
                    </a:lnTo>
                    <a:lnTo>
                      <a:pt x="537" y="136"/>
                    </a:lnTo>
                    <a:lnTo>
                      <a:pt x="538" y="135"/>
                    </a:lnTo>
                    <a:lnTo>
                      <a:pt x="538" y="132"/>
                    </a:lnTo>
                    <a:lnTo>
                      <a:pt x="541" y="132"/>
                    </a:lnTo>
                    <a:lnTo>
                      <a:pt x="541" y="128"/>
                    </a:lnTo>
                    <a:lnTo>
                      <a:pt x="541" y="128"/>
                    </a:lnTo>
                    <a:lnTo>
                      <a:pt x="549" y="117"/>
                    </a:lnTo>
                    <a:lnTo>
                      <a:pt x="554" y="105"/>
                    </a:lnTo>
                    <a:lnTo>
                      <a:pt x="560" y="102"/>
                    </a:lnTo>
                    <a:lnTo>
                      <a:pt x="559" y="98"/>
                    </a:lnTo>
                    <a:lnTo>
                      <a:pt x="560" y="98"/>
                    </a:lnTo>
                    <a:lnTo>
                      <a:pt x="561" y="99"/>
                    </a:lnTo>
                    <a:lnTo>
                      <a:pt x="563" y="98"/>
                    </a:lnTo>
                    <a:lnTo>
                      <a:pt x="563" y="95"/>
                    </a:lnTo>
                    <a:lnTo>
                      <a:pt x="567" y="90"/>
                    </a:lnTo>
                    <a:lnTo>
                      <a:pt x="567" y="86"/>
                    </a:lnTo>
                    <a:lnTo>
                      <a:pt x="568" y="86"/>
                    </a:lnTo>
                    <a:lnTo>
                      <a:pt x="569" y="86"/>
                    </a:lnTo>
                    <a:lnTo>
                      <a:pt x="569" y="89"/>
                    </a:lnTo>
                    <a:lnTo>
                      <a:pt x="571" y="89"/>
                    </a:lnTo>
                    <a:lnTo>
                      <a:pt x="575" y="83"/>
                    </a:lnTo>
                    <a:lnTo>
                      <a:pt x="573" y="78"/>
                    </a:lnTo>
                    <a:lnTo>
                      <a:pt x="571" y="76"/>
                    </a:lnTo>
                    <a:lnTo>
                      <a:pt x="573" y="74"/>
                    </a:lnTo>
                    <a:lnTo>
                      <a:pt x="565" y="75"/>
                    </a:lnTo>
                    <a:lnTo>
                      <a:pt x="565" y="75"/>
                    </a:lnTo>
                    <a:lnTo>
                      <a:pt x="564" y="72"/>
                    </a:lnTo>
                    <a:lnTo>
                      <a:pt x="561" y="71"/>
                    </a:lnTo>
                    <a:lnTo>
                      <a:pt x="556" y="71"/>
                    </a:lnTo>
                    <a:lnTo>
                      <a:pt x="553" y="68"/>
                    </a:lnTo>
                    <a:lnTo>
                      <a:pt x="554" y="64"/>
                    </a:lnTo>
                    <a:lnTo>
                      <a:pt x="549" y="61"/>
                    </a:lnTo>
                    <a:lnTo>
                      <a:pt x="545" y="64"/>
                    </a:lnTo>
                    <a:lnTo>
                      <a:pt x="544" y="63"/>
                    </a:lnTo>
                    <a:lnTo>
                      <a:pt x="541" y="57"/>
                    </a:lnTo>
                    <a:lnTo>
                      <a:pt x="542" y="55"/>
                    </a:lnTo>
                    <a:lnTo>
                      <a:pt x="541" y="53"/>
                    </a:lnTo>
                    <a:lnTo>
                      <a:pt x="540" y="55"/>
                    </a:lnTo>
                    <a:lnTo>
                      <a:pt x="540" y="55"/>
                    </a:lnTo>
                    <a:lnTo>
                      <a:pt x="535" y="52"/>
                    </a:lnTo>
                    <a:lnTo>
                      <a:pt x="533" y="49"/>
                    </a:lnTo>
                    <a:lnTo>
                      <a:pt x="531" y="41"/>
                    </a:lnTo>
                    <a:lnTo>
                      <a:pt x="531" y="41"/>
                    </a:lnTo>
                    <a:lnTo>
                      <a:pt x="526" y="44"/>
                    </a:lnTo>
                    <a:lnTo>
                      <a:pt x="525" y="42"/>
                    </a:lnTo>
                    <a:lnTo>
                      <a:pt x="523" y="44"/>
                    </a:lnTo>
                    <a:lnTo>
                      <a:pt x="525" y="45"/>
                    </a:lnTo>
                    <a:lnTo>
                      <a:pt x="525" y="45"/>
                    </a:lnTo>
                    <a:lnTo>
                      <a:pt x="526" y="46"/>
                    </a:lnTo>
                    <a:lnTo>
                      <a:pt x="529" y="48"/>
                    </a:lnTo>
                    <a:lnTo>
                      <a:pt x="531" y="53"/>
                    </a:lnTo>
                    <a:lnTo>
                      <a:pt x="533" y="57"/>
                    </a:lnTo>
                    <a:lnTo>
                      <a:pt x="521" y="57"/>
                    </a:lnTo>
                    <a:lnTo>
                      <a:pt x="521" y="57"/>
                    </a:lnTo>
                    <a:lnTo>
                      <a:pt x="521" y="63"/>
                    </a:lnTo>
                    <a:lnTo>
                      <a:pt x="518" y="67"/>
                    </a:lnTo>
                    <a:lnTo>
                      <a:pt x="518" y="67"/>
                    </a:lnTo>
                    <a:lnTo>
                      <a:pt x="523" y="71"/>
                    </a:lnTo>
                    <a:lnTo>
                      <a:pt x="525" y="72"/>
                    </a:lnTo>
                    <a:lnTo>
                      <a:pt x="527" y="74"/>
                    </a:lnTo>
                    <a:lnTo>
                      <a:pt x="529" y="76"/>
                    </a:lnTo>
                    <a:lnTo>
                      <a:pt x="529" y="76"/>
                    </a:lnTo>
                    <a:lnTo>
                      <a:pt x="527" y="79"/>
                    </a:lnTo>
                    <a:lnTo>
                      <a:pt x="526" y="82"/>
                    </a:lnTo>
                    <a:lnTo>
                      <a:pt x="522" y="87"/>
                    </a:lnTo>
                    <a:lnTo>
                      <a:pt x="521" y="89"/>
                    </a:lnTo>
                    <a:lnTo>
                      <a:pt x="519" y="90"/>
                    </a:lnTo>
                    <a:lnTo>
                      <a:pt x="518" y="94"/>
                    </a:lnTo>
                    <a:lnTo>
                      <a:pt x="516" y="94"/>
                    </a:lnTo>
                    <a:lnTo>
                      <a:pt x="515" y="89"/>
                    </a:lnTo>
                    <a:lnTo>
                      <a:pt x="511" y="91"/>
                    </a:lnTo>
                    <a:lnTo>
                      <a:pt x="510" y="91"/>
                    </a:lnTo>
                    <a:lnTo>
                      <a:pt x="510" y="91"/>
                    </a:lnTo>
                    <a:lnTo>
                      <a:pt x="512" y="90"/>
                    </a:lnTo>
                    <a:lnTo>
                      <a:pt x="515" y="86"/>
                    </a:lnTo>
                    <a:lnTo>
                      <a:pt x="518" y="83"/>
                    </a:lnTo>
                    <a:lnTo>
                      <a:pt x="522" y="80"/>
                    </a:lnTo>
                    <a:lnTo>
                      <a:pt x="522" y="75"/>
                    </a:lnTo>
                    <a:lnTo>
                      <a:pt x="522" y="75"/>
                    </a:lnTo>
                    <a:lnTo>
                      <a:pt x="518" y="72"/>
                    </a:lnTo>
                    <a:lnTo>
                      <a:pt x="515" y="70"/>
                    </a:lnTo>
                    <a:lnTo>
                      <a:pt x="514" y="67"/>
                    </a:lnTo>
                    <a:lnTo>
                      <a:pt x="515" y="61"/>
                    </a:lnTo>
                    <a:lnTo>
                      <a:pt x="512" y="60"/>
                    </a:lnTo>
                    <a:lnTo>
                      <a:pt x="514" y="57"/>
                    </a:lnTo>
                    <a:lnTo>
                      <a:pt x="514" y="57"/>
                    </a:lnTo>
                    <a:lnTo>
                      <a:pt x="514" y="55"/>
                    </a:lnTo>
                    <a:lnTo>
                      <a:pt x="514" y="52"/>
                    </a:lnTo>
                    <a:lnTo>
                      <a:pt x="514" y="52"/>
                    </a:lnTo>
                    <a:lnTo>
                      <a:pt x="511" y="49"/>
                    </a:lnTo>
                    <a:lnTo>
                      <a:pt x="510" y="45"/>
                    </a:lnTo>
                    <a:lnTo>
                      <a:pt x="506" y="42"/>
                    </a:lnTo>
                    <a:lnTo>
                      <a:pt x="504" y="44"/>
                    </a:lnTo>
                    <a:lnTo>
                      <a:pt x="504" y="44"/>
                    </a:lnTo>
                    <a:lnTo>
                      <a:pt x="500" y="41"/>
                    </a:lnTo>
                    <a:lnTo>
                      <a:pt x="497" y="40"/>
                    </a:lnTo>
                    <a:lnTo>
                      <a:pt x="495" y="38"/>
                    </a:lnTo>
                    <a:lnTo>
                      <a:pt x="491" y="33"/>
                    </a:lnTo>
                    <a:lnTo>
                      <a:pt x="489" y="37"/>
                    </a:lnTo>
                    <a:lnTo>
                      <a:pt x="488" y="37"/>
                    </a:lnTo>
                    <a:lnTo>
                      <a:pt x="483" y="34"/>
                    </a:lnTo>
                    <a:lnTo>
                      <a:pt x="480" y="36"/>
                    </a:lnTo>
                    <a:lnTo>
                      <a:pt x="472" y="33"/>
                    </a:lnTo>
                    <a:lnTo>
                      <a:pt x="470" y="36"/>
                    </a:lnTo>
                    <a:lnTo>
                      <a:pt x="470" y="37"/>
                    </a:lnTo>
                    <a:lnTo>
                      <a:pt x="470" y="37"/>
                    </a:lnTo>
                    <a:lnTo>
                      <a:pt x="466" y="37"/>
                    </a:lnTo>
                    <a:lnTo>
                      <a:pt x="464" y="37"/>
                    </a:lnTo>
                    <a:lnTo>
                      <a:pt x="464" y="34"/>
                    </a:lnTo>
                    <a:lnTo>
                      <a:pt x="458" y="34"/>
                    </a:lnTo>
                    <a:lnTo>
                      <a:pt x="451" y="29"/>
                    </a:lnTo>
                    <a:lnTo>
                      <a:pt x="451" y="25"/>
                    </a:lnTo>
                    <a:lnTo>
                      <a:pt x="446" y="28"/>
                    </a:lnTo>
                    <a:lnTo>
                      <a:pt x="446" y="30"/>
                    </a:lnTo>
                    <a:lnTo>
                      <a:pt x="443" y="34"/>
                    </a:lnTo>
                    <a:lnTo>
                      <a:pt x="446" y="40"/>
                    </a:lnTo>
                    <a:lnTo>
                      <a:pt x="443" y="42"/>
                    </a:lnTo>
                    <a:lnTo>
                      <a:pt x="445" y="44"/>
                    </a:lnTo>
                    <a:lnTo>
                      <a:pt x="445" y="49"/>
                    </a:lnTo>
                    <a:lnTo>
                      <a:pt x="442" y="51"/>
                    </a:lnTo>
                    <a:lnTo>
                      <a:pt x="442" y="51"/>
                    </a:lnTo>
                    <a:lnTo>
                      <a:pt x="442" y="55"/>
                    </a:lnTo>
                    <a:lnTo>
                      <a:pt x="443" y="57"/>
                    </a:lnTo>
                    <a:lnTo>
                      <a:pt x="438" y="63"/>
                    </a:lnTo>
                    <a:lnTo>
                      <a:pt x="439" y="67"/>
                    </a:lnTo>
                    <a:lnTo>
                      <a:pt x="435" y="70"/>
                    </a:lnTo>
                    <a:lnTo>
                      <a:pt x="435" y="72"/>
                    </a:lnTo>
                    <a:lnTo>
                      <a:pt x="435" y="72"/>
                    </a:lnTo>
                    <a:lnTo>
                      <a:pt x="432" y="76"/>
                    </a:lnTo>
                    <a:lnTo>
                      <a:pt x="430" y="79"/>
                    </a:lnTo>
                    <a:lnTo>
                      <a:pt x="423" y="83"/>
                    </a:lnTo>
                    <a:lnTo>
                      <a:pt x="419" y="82"/>
                    </a:lnTo>
                    <a:lnTo>
                      <a:pt x="416" y="83"/>
                    </a:lnTo>
                    <a:lnTo>
                      <a:pt x="416" y="86"/>
                    </a:lnTo>
                    <a:lnTo>
                      <a:pt x="412" y="89"/>
                    </a:lnTo>
                    <a:lnTo>
                      <a:pt x="411" y="91"/>
                    </a:lnTo>
                    <a:lnTo>
                      <a:pt x="408" y="93"/>
                    </a:lnTo>
                    <a:lnTo>
                      <a:pt x="408" y="93"/>
                    </a:lnTo>
                    <a:lnTo>
                      <a:pt x="407" y="102"/>
                    </a:lnTo>
                    <a:lnTo>
                      <a:pt x="405" y="109"/>
                    </a:lnTo>
                    <a:lnTo>
                      <a:pt x="404" y="112"/>
                    </a:lnTo>
                    <a:lnTo>
                      <a:pt x="405" y="113"/>
                    </a:lnTo>
                    <a:lnTo>
                      <a:pt x="405" y="114"/>
                    </a:lnTo>
                    <a:lnTo>
                      <a:pt x="408" y="116"/>
                    </a:lnTo>
                    <a:lnTo>
                      <a:pt x="408" y="117"/>
                    </a:lnTo>
                    <a:lnTo>
                      <a:pt x="407" y="118"/>
                    </a:lnTo>
                    <a:lnTo>
                      <a:pt x="407" y="118"/>
                    </a:lnTo>
                    <a:lnTo>
                      <a:pt x="411" y="117"/>
                    </a:lnTo>
                    <a:lnTo>
                      <a:pt x="412" y="118"/>
                    </a:lnTo>
                    <a:lnTo>
                      <a:pt x="417" y="120"/>
                    </a:lnTo>
                    <a:lnTo>
                      <a:pt x="417" y="124"/>
                    </a:lnTo>
                    <a:lnTo>
                      <a:pt x="417" y="124"/>
                    </a:lnTo>
                    <a:lnTo>
                      <a:pt x="423" y="127"/>
                    </a:lnTo>
                    <a:lnTo>
                      <a:pt x="430" y="129"/>
                    </a:lnTo>
                    <a:lnTo>
                      <a:pt x="428" y="131"/>
                    </a:lnTo>
                    <a:lnTo>
                      <a:pt x="426" y="129"/>
                    </a:lnTo>
                    <a:lnTo>
                      <a:pt x="422" y="132"/>
                    </a:lnTo>
                    <a:lnTo>
                      <a:pt x="430" y="135"/>
                    </a:lnTo>
                    <a:lnTo>
                      <a:pt x="431" y="132"/>
                    </a:lnTo>
                    <a:lnTo>
                      <a:pt x="431" y="132"/>
                    </a:lnTo>
                    <a:lnTo>
                      <a:pt x="438" y="135"/>
                    </a:lnTo>
                    <a:lnTo>
                      <a:pt x="445" y="136"/>
                    </a:lnTo>
                    <a:lnTo>
                      <a:pt x="445" y="137"/>
                    </a:lnTo>
                    <a:lnTo>
                      <a:pt x="442" y="137"/>
                    </a:lnTo>
                    <a:lnTo>
                      <a:pt x="442" y="140"/>
                    </a:lnTo>
                    <a:lnTo>
                      <a:pt x="451" y="143"/>
                    </a:lnTo>
                    <a:lnTo>
                      <a:pt x="449" y="144"/>
                    </a:lnTo>
                    <a:lnTo>
                      <a:pt x="449" y="146"/>
                    </a:lnTo>
                    <a:lnTo>
                      <a:pt x="453" y="148"/>
                    </a:lnTo>
                    <a:lnTo>
                      <a:pt x="453" y="151"/>
                    </a:lnTo>
                    <a:lnTo>
                      <a:pt x="451" y="154"/>
                    </a:lnTo>
                    <a:lnTo>
                      <a:pt x="450" y="152"/>
                    </a:lnTo>
                    <a:lnTo>
                      <a:pt x="450" y="152"/>
                    </a:lnTo>
                    <a:lnTo>
                      <a:pt x="449" y="148"/>
                    </a:lnTo>
                    <a:lnTo>
                      <a:pt x="445" y="144"/>
                    </a:lnTo>
                    <a:lnTo>
                      <a:pt x="438" y="137"/>
                    </a:lnTo>
                    <a:lnTo>
                      <a:pt x="432" y="136"/>
                    </a:lnTo>
                    <a:lnTo>
                      <a:pt x="428" y="137"/>
                    </a:lnTo>
                    <a:lnTo>
                      <a:pt x="428" y="137"/>
                    </a:lnTo>
                    <a:lnTo>
                      <a:pt x="426" y="136"/>
                    </a:lnTo>
                    <a:lnTo>
                      <a:pt x="422" y="136"/>
                    </a:lnTo>
                    <a:lnTo>
                      <a:pt x="422" y="137"/>
                    </a:lnTo>
                    <a:lnTo>
                      <a:pt x="426" y="139"/>
                    </a:lnTo>
                    <a:lnTo>
                      <a:pt x="426" y="139"/>
                    </a:lnTo>
                    <a:lnTo>
                      <a:pt x="423" y="139"/>
                    </a:lnTo>
                    <a:lnTo>
                      <a:pt x="420" y="139"/>
                    </a:lnTo>
                    <a:lnTo>
                      <a:pt x="415" y="141"/>
                    </a:lnTo>
                    <a:lnTo>
                      <a:pt x="415" y="143"/>
                    </a:lnTo>
                    <a:lnTo>
                      <a:pt x="419" y="143"/>
                    </a:lnTo>
                    <a:lnTo>
                      <a:pt x="417" y="144"/>
                    </a:lnTo>
                    <a:lnTo>
                      <a:pt x="417" y="144"/>
                    </a:lnTo>
                    <a:lnTo>
                      <a:pt x="415" y="144"/>
                    </a:lnTo>
                    <a:lnTo>
                      <a:pt x="411" y="146"/>
                    </a:lnTo>
                    <a:lnTo>
                      <a:pt x="411" y="146"/>
                    </a:lnTo>
                    <a:lnTo>
                      <a:pt x="409" y="148"/>
                    </a:lnTo>
                    <a:lnTo>
                      <a:pt x="408" y="150"/>
                    </a:lnTo>
                    <a:lnTo>
                      <a:pt x="408" y="152"/>
                    </a:lnTo>
                    <a:lnTo>
                      <a:pt x="416" y="152"/>
                    </a:lnTo>
                    <a:lnTo>
                      <a:pt x="422" y="158"/>
                    </a:lnTo>
                    <a:lnTo>
                      <a:pt x="422" y="158"/>
                    </a:lnTo>
                    <a:lnTo>
                      <a:pt x="419" y="158"/>
                    </a:lnTo>
                    <a:lnTo>
                      <a:pt x="416" y="156"/>
                    </a:lnTo>
                    <a:lnTo>
                      <a:pt x="409" y="158"/>
                    </a:lnTo>
                    <a:lnTo>
                      <a:pt x="411" y="160"/>
                    </a:lnTo>
                    <a:lnTo>
                      <a:pt x="411" y="160"/>
                    </a:lnTo>
                    <a:lnTo>
                      <a:pt x="417" y="163"/>
                    </a:lnTo>
                    <a:lnTo>
                      <a:pt x="420" y="163"/>
                    </a:lnTo>
                    <a:lnTo>
                      <a:pt x="424" y="162"/>
                    </a:lnTo>
                    <a:lnTo>
                      <a:pt x="426" y="159"/>
                    </a:lnTo>
                    <a:lnTo>
                      <a:pt x="426" y="159"/>
                    </a:lnTo>
                    <a:lnTo>
                      <a:pt x="428" y="158"/>
                    </a:lnTo>
                    <a:lnTo>
                      <a:pt x="431" y="159"/>
                    </a:lnTo>
                    <a:lnTo>
                      <a:pt x="432" y="160"/>
                    </a:lnTo>
                    <a:lnTo>
                      <a:pt x="436" y="160"/>
                    </a:lnTo>
                    <a:lnTo>
                      <a:pt x="436" y="162"/>
                    </a:lnTo>
                    <a:lnTo>
                      <a:pt x="436" y="162"/>
                    </a:lnTo>
                    <a:lnTo>
                      <a:pt x="431" y="160"/>
                    </a:lnTo>
                    <a:lnTo>
                      <a:pt x="427" y="162"/>
                    </a:lnTo>
                    <a:lnTo>
                      <a:pt x="424" y="165"/>
                    </a:lnTo>
                    <a:lnTo>
                      <a:pt x="424" y="166"/>
                    </a:lnTo>
                    <a:lnTo>
                      <a:pt x="428" y="165"/>
                    </a:lnTo>
                    <a:lnTo>
                      <a:pt x="428" y="166"/>
                    </a:lnTo>
                    <a:lnTo>
                      <a:pt x="427" y="167"/>
                    </a:lnTo>
                    <a:lnTo>
                      <a:pt x="427" y="169"/>
                    </a:lnTo>
                    <a:lnTo>
                      <a:pt x="435" y="171"/>
                    </a:lnTo>
                    <a:lnTo>
                      <a:pt x="436" y="173"/>
                    </a:lnTo>
                    <a:lnTo>
                      <a:pt x="434" y="174"/>
                    </a:lnTo>
                    <a:lnTo>
                      <a:pt x="434" y="174"/>
                    </a:lnTo>
                    <a:lnTo>
                      <a:pt x="435" y="177"/>
                    </a:lnTo>
                    <a:lnTo>
                      <a:pt x="436" y="178"/>
                    </a:lnTo>
                    <a:lnTo>
                      <a:pt x="441" y="181"/>
                    </a:lnTo>
                    <a:lnTo>
                      <a:pt x="439" y="181"/>
                    </a:lnTo>
                    <a:lnTo>
                      <a:pt x="435" y="181"/>
                    </a:lnTo>
                    <a:lnTo>
                      <a:pt x="435" y="183"/>
                    </a:lnTo>
                    <a:lnTo>
                      <a:pt x="434" y="183"/>
                    </a:lnTo>
                    <a:lnTo>
                      <a:pt x="432" y="183"/>
                    </a:lnTo>
                    <a:lnTo>
                      <a:pt x="432" y="181"/>
                    </a:lnTo>
                    <a:lnTo>
                      <a:pt x="435" y="179"/>
                    </a:lnTo>
                    <a:lnTo>
                      <a:pt x="435" y="179"/>
                    </a:lnTo>
                    <a:lnTo>
                      <a:pt x="435" y="179"/>
                    </a:lnTo>
                    <a:lnTo>
                      <a:pt x="432" y="178"/>
                    </a:lnTo>
                    <a:lnTo>
                      <a:pt x="428" y="178"/>
                    </a:lnTo>
                    <a:lnTo>
                      <a:pt x="427" y="177"/>
                    </a:lnTo>
                    <a:lnTo>
                      <a:pt x="426" y="178"/>
                    </a:lnTo>
                    <a:lnTo>
                      <a:pt x="424" y="178"/>
                    </a:lnTo>
                    <a:lnTo>
                      <a:pt x="426" y="177"/>
                    </a:lnTo>
                    <a:lnTo>
                      <a:pt x="426" y="173"/>
                    </a:lnTo>
                    <a:lnTo>
                      <a:pt x="423" y="174"/>
                    </a:lnTo>
                    <a:lnTo>
                      <a:pt x="420" y="171"/>
                    </a:lnTo>
                    <a:lnTo>
                      <a:pt x="417" y="173"/>
                    </a:lnTo>
                    <a:lnTo>
                      <a:pt x="416" y="170"/>
                    </a:lnTo>
                    <a:lnTo>
                      <a:pt x="411" y="169"/>
                    </a:lnTo>
                    <a:lnTo>
                      <a:pt x="408" y="169"/>
                    </a:lnTo>
                    <a:lnTo>
                      <a:pt x="408" y="169"/>
                    </a:lnTo>
                    <a:lnTo>
                      <a:pt x="405" y="165"/>
                    </a:lnTo>
                    <a:lnTo>
                      <a:pt x="401" y="160"/>
                    </a:lnTo>
                    <a:lnTo>
                      <a:pt x="397" y="160"/>
                    </a:lnTo>
                    <a:lnTo>
                      <a:pt x="397" y="163"/>
                    </a:lnTo>
                    <a:lnTo>
                      <a:pt x="394" y="165"/>
                    </a:lnTo>
                    <a:lnTo>
                      <a:pt x="394" y="169"/>
                    </a:lnTo>
                    <a:lnTo>
                      <a:pt x="396" y="170"/>
                    </a:lnTo>
                    <a:lnTo>
                      <a:pt x="394" y="173"/>
                    </a:lnTo>
                    <a:lnTo>
                      <a:pt x="397" y="174"/>
                    </a:lnTo>
                    <a:lnTo>
                      <a:pt x="397" y="177"/>
                    </a:lnTo>
                    <a:lnTo>
                      <a:pt x="394" y="178"/>
                    </a:lnTo>
                    <a:lnTo>
                      <a:pt x="394" y="178"/>
                    </a:lnTo>
                    <a:lnTo>
                      <a:pt x="392" y="182"/>
                    </a:lnTo>
                    <a:lnTo>
                      <a:pt x="389" y="185"/>
                    </a:lnTo>
                    <a:lnTo>
                      <a:pt x="389" y="188"/>
                    </a:lnTo>
                    <a:lnTo>
                      <a:pt x="386" y="190"/>
                    </a:lnTo>
                    <a:lnTo>
                      <a:pt x="386" y="190"/>
                    </a:lnTo>
                    <a:lnTo>
                      <a:pt x="390" y="193"/>
                    </a:lnTo>
                    <a:lnTo>
                      <a:pt x="394" y="196"/>
                    </a:lnTo>
                    <a:lnTo>
                      <a:pt x="390" y="197"/>
                    </a:lnTo>
                    <a:lnTo>
                      <a:pt x="385" y="196"/>
                    </a:lnTo>
                    <a:lnTo>
                      <a:pt x="384" y="196"/>
                    </a:lnTo>
                    <a:lnTo>
                      <a:pt x="385" y="197"/>
                    </a:lnTo>
                    <a:lnTo>
                      <a:pt x="385" y="200"/>
                    </a:lnTo>
                    <a:lnTo>
                      <a:pt x="389" y="202"/>
                    </a:lnTo>
                    <a:lnTo>
                      <a:pt x="386" y="204"/>
                    </a:lnTo>
                    <a:lnTo>
                      <a:pt x="388" y="205"/>
                    </a:lnTo>
                    <a:lnTo>
                      <a:pt x="390" y="205"/>
                    </a:lnTo>
                    <a:lnTo>
                      <a:pt x="392" y="207"/>
                    </a:lnTo>
                    <a:lnTo>
                      <a:pt x="389" y="209"/>
                    </a:lnTo>
                    <a:lnTo>
                      <a:pt x="389" y="215"/>
                    </a:lnTo>
                    <a:lnTo>
                      <a:pt x="393" y="217"/>
                    </a:lnTo>
                    <a:lnTo>
                      <a:pt x="394" y="216"/>
                    </a:lnTo>
                    <a:lnTo>
                      <a:pt x="394" y="215"/>
                    </a:lnTo>
                    <a:lnTo>
                      <a:pt x="400" y="212"/>
                    </a:lnTo>
                    <a:lnTo>
                      <a:pt x="400" y="215"/>
                    </a:lnTo>
                    <a:lnTo>
                      <a:pt x="401" y="216"/>
                    </a:lnTo>
                    <a:lnTo>
                      <a:pt x="397" y="219"/>
                    </a:lnTo>
                    <a:lnTo>
                      <a:pt x="396" y="221"/>
                    </a:lnTo>
                    <a:lnTo>
                      <a:pt x="401" y="224"/>
                    </a:lnTo>
                    <a:lnTo>
                      <a:pt x="401" y="228"/>
                    </a:lnTo>
                    <a:lnTo>
                      <a:pt x="398" y="226"/>
                    </a:lnTo>
                    <a:lnTo>
                      <a:pt x="396" y="228"/>
                    </a:lnTo>
                    <a:lnTo>
                      <a:pt x="396" y="230"/>
                    </a:lnTo>
                    <a:lnTo>
                      <a:pt x="400" y="230"/>
                    </a:lnTo>
                    <a:lnTo>
                      <a:pt x="400" y="231"/>
                    </a:lnTo>
                    <a:lnTo>
                      <a:pt x="398" y="232"/>
                    </a:lnTo>
                    <a:lnTo>
                      <a:pt x="398" y="234"/>
                    </a:lnTo>
                    <a:lnTo>
                      <a:pt x="400" y="235"/>
                    </a:lnTo>
                    <a:lnTo>
                      <a:pt x="401" y="234"/>
                    </a:lnTo>
                    <a:lnTo>
                      <a:pt x="405" y="236"/>
                    </a:lnTo>
                    <a:lnTo>
                      <a:pt x="405" y="239"/>
                    </a:lnTo>
                    <a:lnTo>
                      <a:pt x="404" y="240"/>
                    </a:lnTo>
                    <a:lnTo>
                      <a:pt x="403" y="239"/>
                    </a:lnTo>
                    <a:lnTo>
                      <a:pt x="403" y="236"/>
                    </a:lnTo>
                    <a:lnTo>
                      <a:pt x="401" y="235"/>
                    </a:lnTo>
                    <a:lnTo>
                      <a:pt x="400" y="236"/>
                    </a:lnTo>
                    <a:lnTo>
                      <a:pt x="400" y="239"/>
                    </a:lnTo>
                    <a:lnTo>
                      <a:pt x="398" y="239"/>
                    </a:lnTo>
                    <a:lnTo>
                      <a:pt x="400" y="242"/>
                    </a:lnTo>
                    <a:lnTo>
                      <a:pt x="403" y="243"/>
                    </a:lnTo>
                    <a:lnTo>
                      <a:pt x="405" y="240"/>
                    </a:lnTo>
                    <a:lnTo>
                      <a:pt x="405" y="240"/>
                    </a:lnTo>
                    <a:lnTo>
                      <a:pt x="408" y="243"/>
                    </a:lnTo>
                    <a:lnTo>
                      <a:pt x="412" y="245"/>
                    </a:lnTo>
                    <a:lnTo>
                      <a:pt x="419" y="251"/>
                    </a:lnTo>
                    <a:lnTo>
                      <a:pt x="419" y="251"/>
                    </a:lnTo>
                    <a:lnTo>
                      <a:pt x="424" y="253"/>
                    </a:lnTo>
                    <a:lnTo>
                      <a:pt x="428" y="255"/>
                    </a:lnTo>
                    <a:lnTo>
                      <a:pt x="428" y="255"/>
                    </a:lnTo>
                    <a:lnTo>
                      <a:pt x="434" y="254"/>
                    </a:lnTo>
                    <a:lnTo>
                      <a:pt x="436" y="253"/>
                    </a:lnTo>
                    <a:lnTo>
                      <a:pt x="439" y="253"/>
                    </a:lnTo>
                    <a:lnTo>
                      <a:pt x="441" y="253"/>
                    </a:lnTo>
                    <a:lnTo>
                      <a:pt x="443" y="251"/>
                    </a:lnTo>
                    <a:lnTo>
                      <a:pt x="443" y="251"/>
                    </a:lnTo>
                    <a:lnTo>
                      <a:pt x="451" y="254"/>
                    </a:lnTo>
                    <a:lnTo>
                      <a:pt x="454" y="254"/>
                    </a:lnTo>
                    <a:lnTo>
                      <a:pt x="454" y="254"/>
                    </a:lnTo>
                    <a:lnTo>
                      <a:pt x="458" y="255"/>
                    </a:lnTo>
                    <a:lnTo>
                      <a:pt x="462" y="255"/>
                    </a:lnTo>
                    <a:lnTo>
                      <a:pt x="469" y="253"/>
                    </a:lnTo>
                    <a:lnTo>
                      <a:pt x="469" y="253"/>
                    </a:lnTo>
                    <a:lnTo>
                      <a:pt x="477" y="255"/>
                    </a:lnTo>
                    <a:lnTo>
                      <a:pt x="477" y="257"/>
                    </a:lnTo>
                    <a:lnTo>
                      <a:pt x="476" y="257"/>
                    </a:lnTo>
                    <a:lnTo>
                      <a:pt x="472" y="255"/>
                    </a:lnTo>
                    <a:lnTo>
                      <a:pt x="472" y="255"/>
                    </a:lnTo>
                    <a:lnTo>
                      <a:pt x="469" y="258"/>
                    </a:lnTo>
                    <a:lnTo>
                      <a:pt x="465" y="258"/>
                    </a:lnTo>
                    <a:lnTo>
                      <a:pt x="460" y="258"/>
                    </a:lnTo>
                    <a:lnTo>
                      <a:pt x="457" y="257"/>
                    </a:lnTo>
                    <a:lnTo>
                      <a:pt x="451" y="259"/>
                    </a:lnTo>
                    <a:lnTo>
                      <a:pt x="451" y="262"/>
                    </a:lnTo>
                    <a:lnTo>
                      <a:pt x="451" y="262"/>
                    </a:lnTo>
                    <a:lnTo>
                      <a:pt x="454" y="264"/>
                    </a:lnTo>
                    <a:lnTo>
                      <a:pt x="458" y="266"/>
                    </a:lnTo>
                    <a:lnTo>
                      <a:pt x="464" y="269"/>
                    </a:lnTo>
                    <a:lnTo>
                      <a:pt x="468" y="273"/>
                    </a:lnTo>
                    <a:lnTo>
                      <a:pt x="468" y="276"/>
                    </a:lnTo>
                    <a:lnTo>
                      <a:pt x="472" y="278"/>
                    </a:lnTo>
                    <a:lnTo>
                      <a:pt x="470" y="281"/>
                    </a:lnTo>
                    <a:lnTo>
                      <a:pt x="470" y="281"/>
                    </a:lnTo>
                    <a:lnTo>
                      <a:pt x="470" y="281"/>
                    </a:lnTo>
                    <a:lnTo>
                      <a:pt x="468" y="278"/>
                    </a:lnTo>
                    <a:lnTo>
                      <a:pt x="465" y="276"/>
                    </a:lnTo>
                    <a:lnTo>
                      <a:pt x="458" y="274"/>
                    </a:lnTo>
                    <a:lnTo>
                      <a:pt x="458" y="274"/>
                    </a:lnTo>
                    <a:lnTo>
                      <a:pt x="453" y="269"/>
                    </a:lnTo>
                    <a:lnTo>
                      <a:pt x="447" y="264"/>
                    </a:lnTo>
                    <a:lnTo>
                      <a:pt x="447" y="264"/>
                    </a:lnTo>
                    <a:lnTo>
                      <a:pt x="447" y="259"/>
                    </a:lnTo>
                    <a:lnTo>
                      <a:pt x="446" y="257"/>
                    </a:lnTo>
                    <a:lnTo>
                      <a:pt x="443" y="255"/>
                    </a:lnTo>
                    <a:lnTo>
                      <a:pt x="442" y="254"/>
                    </a:lnTo>
                    <a:lnTo>
                      <a:pt x="439" y="257"/>
                    </a:lnTo>
                    <a:lnTo>
                      <a:pt x="438" y="259"/>
                    </a:lnTo>
                    <a:lnTo>
                      <a:pt x="436" y="261"/>
                    </a:lnTo>
                    <a:lnTo>
                      <a:pt x="431" y="259"/>
                    </a:lnTo>
                    <a:lnTo>
                      <a:pt x="430" y="259"/>
                    </a:lnTo>
                    <a:lnTo>
                      <a:pt x="430" y="261"/>
                    </a:lnTo>
                    <a:lnTo>
                      <a:pt x="428" y="262"/>
                    </a:lnTo>
                    <a:lnTo>
                      <a:pt x="428" y="262"/>
                    </a:lnTo>
                    <a:lnTo>
                      <a:pt x="419" y="257"/>
                    </a:lnTo>
                    <a:lnTo>
                      <a:pt x="411" y="250"/>
                    </a:lnTo>
                    <a:lnTo>
                      <a:pt x="412" y="249"/>
                    </a:lnTo>
                    <a:lnTo>
                      <a:pt x="412" y="249"/>
                    </a:lnTo>
                    <a:lnTo>
                      <a:pt x="409" y="247"/>
                    </a:lnTo>
                    <a:lnTo>
                      <a:pt x="405" y="249"/>
                    </a:lnTo>
                    <a:lnTo>
                      <a:pt x="407" y="250"/>
                    </a:lnTo>
                    <a:lnTo>
                      <a:pt x="405" y="250"/>
                    </a:lnTo>
                    <a:lnTo>
                      <a:pt x="403" y="251"/>
                    </a:lnTo>
                    <a:lnTo>
                      <a:pt x="403" y="254"/>
                    </a:lnTo>
                    <a:lnTo>
                      <a:pt x="405" y="254"/>
                    </a:lnTo>
                    <a:lnTo>
                      <a:pt x="405" y="255"/>
                    </a:lnTo>
                    <a:lnTo>
                      <a:pt x="407" y="261"/>
                    </a:lnTo>
                    <a:lnTo>
                      <a:pt x="405" y="262"/>
                    </a:lnTo>
                    <a:lnTo>
                      <a:pt x="403" y="259"/>
                    </a:lnTo>
                    <a:lnTo>
                      <a:pt x="404" y="255"/>
                    </a:lnTo>
                    <a:lnTo>
                      <a:pt x="400" y="253"/>
                    </a:lnTo>
                    <a:lnTo>
                      <a:pt x="400" y="253"/>
                    </a:lnTo>
                    <a:lnTo>
                      <a:pt x="397" y="255"/>
                    </a:lnTo>
                    <a:lnTo>
                      <a:pt x="394" y="258"/>
                    </a:lnTo>
                    <a:lnTo>
                      <a:pt x="392" y="254"/>
                    </a:lnTo>
                    <a:lnTo>
                      <a:pt x="390" y="254"/>
                    </a:lnTo>
                    <a:lnTo>
                      <a:pt x="390" y="254"/>
                    </a:lnTo>
                    <a:lnTo>
                      <a:pt x="388" y="259"/>
                    </a:lnTo>
                    <a:lnTo>
                      <a:pt x="388" y="265"/>
                    </a:lnTo>
                    <a:lnTo>
                      <a:pt x="389" y="268"/>
                    </a:lnTo>
                    <a:lnTo>
                      <a:pt x="389" y="269"/>
                    </a:lnTo>
                    <a:lnTo>
                      <a:pt x="386" y="266"/>
                    </a:lnTo>
                    <a:lnTo>
                      <a:pt x="385" y="261"/>
                    </a:lnTo>
                    <a:lnTo>
                      <a:pt x="384" y="258"/>
                    </a:lnTo>
                    <a:lnTo>
                      <a:pt x="375" y="262"/>
                    </a:lnTo>
                    <a:lnTo>
                      <a:pt x="373" y="259"/>
                    </a:lnTo>
                    <a:lnTo>
                      <a:pt x="371" y="255"/>
                    </a:lnTo>
                    <a:lnTo>
                      <a:pt x="371" y="255"/>
                    </a:lnTo>
                    <a:lnTo>
                      <a:pt x="367" y="258"/>
                    </a:lnTo>
                    <a:lnTo>
                      <a:pt x="365" y="262"/>
                    </a:lnTo>
                    <a:lnTo>
                      <a:pt x="365" y="261"/>
                    </a:lnTo>
                    <a:lnTo>
                      <a:pt x="366" y="258"/>
                    </a:lnTo>
                    <a:lnTo>
                      <a:pt x="366" y="258"/>
                    </a:lnTo>
                    <a:lnTo>
                      <a:pt x="363" y="258"/>
                    </a:lnTo>
                    <a:lnTo>
                      <a:pt x="362" y="261"/>
                    </a:lnTo>
                    <a:lnTo>
                      <a:pt x="359" y="259"/>
                    </a:lnTo>
                    <a:lnTo>
                      <a:pt x="358" y="262"/>
                    </a:lnTo>
                    <a:lnTo>
                      <a:pt x="355" y="262"/>
                    </a:lnTo>
                    <a:lnTo>
                      <a:pt x="354" y="265"/>
                    </a:lnTo>
                    <a:lnTo>
                      <a:pt x="350" y="265"/>
                    </a:lnTo>
                    <a:lnTo>
                      <a:pt x="350" y="268"/>
                    </a:lnTo>
                    <a:lnTo>
                      <a:pt x="350" y="268"/>
                    </a:lnTo>
                    <a:lnTo>
                      <a:pt x="346" y="269"/>
                    </a:lnTo>
                    <a:lnTo>
                      <a:pt x="343" y="270"/>
                    </a:lnTo>
                    <a:lnTo>
                      <a:pt x="343" y="273"/>
                    </a:lnTo>
                    <a:lnTo>
                      <a:pt x="337" y="277"/>
                    </a:lnTo>
                    <a:lnTo>
                      <a:pt x="333" y="268"/>
                    </a:lnTo>
                    <a:lnTo>
                      <a:pt x="325" y="265"/>
                    </a:lnTo>
                    <a:lnTo>
                      <a:pt x="325" y="262"/>
                    </a:lnTo>
                    <a:lnTo>
                      <a:pt x="327" y="261"/>
                    </a:lnTo>
                    <a:lnTo>
                      <a:pt x="327" y="259"/>
                    </a:lnTo>
                    <a:lnTo>
                      <a:pt x="316" y="259"/>
                    </a:lnTo>
                    <a:lnTo>
                      <a:pt x="316" y="257"/>
                    </a:lnTo>
                    <a:lnTo>
                      <a:pt x="313" y="255"/>
                    </a:lnTo>
                    <a:lnTo>
                      <a:pt x="314" y="251"/>
                    </a:lnTo>
                    <a:lnTo>
                      <a:pt x="313" y="250"/>
                    </a:lnTo>
                    <a:lnTo>
                      <a:pt x="312" y="253"/>
                    </a:lnTo>
                    <a:lnTo>
                      <a:pt x="310" y="254"/>
                    </a:lnTo>
                    <a:lnTo>
                      <a:pt x="309" y="257"/>
                    </a:lnTo>
                    <a:lnTo>
                      <a:pt x="306" y="258"/>
                    </a:lnTo>
                    <a:lnTo>
                      <a:pt x="306" y="258"/>
                    </a:lnTo>
                    <a:lnTo>
                      <a:pt x="306" y="262"/>
                    </a:lnTo>
                    <a:lnTo>
                      <a:pt x="305" y="266"/>
                    </a:lnTo>
                    <a:lnTo>
                      <a:pt x="302" y="268"/>
                    </a:lnTo>
                    <a:lnTo>
                      <a:pt x="302" y="269"/>
                    </a:lnTo>
                    <a:lnTo>
                      <a:pt x="302" y="269"/>
                    </a:lnTo>
                    <a:lnTo>
                      <a:pt x="308" y="272"/>
                    </a:lnTo>
                    <a:lnTo>
                      <a:pt x="312" y="276"/>
                    </a:lnTo>
                    <a:lnTo>
                      <a:pt x="316" y="280"/>
                    </a:lnTo>
                    <a:lnTo>
                      <a:pt x="318" y="281"/>
                    </a:lnTo>
                    <a:lnTo>
                      <a:pt x="320" y="289"/>
                    </a:lnTo>
                    <a:lnTo>
                      <a:pt x="325" y="292"/>
                    </a:lnTo>
                    <a:lnTo>
                      <a:pt x="325" y="299"/>
                    </a:lnTo>
                    <a:lnTo>
                      <a:pt x="327" y="299"/>
                    </a:lnTo>
                    <a:lnTo>
                      <a:pt x="325" y="300"/>
                    </a:lnTo>
                    <a:lnTo>
                      <a:pt x="327" y="302"/>
                    </a:lnTo>
                    <a:lnTo>
                      <a:pt x="328" y="302"/>
                    </a:lnTo>
                    <a:lnTo>
                      <a:pt x="329" y="304"/>
                    </a:lnTo>
                    <a:lnTo>
                      <a:pt x="329" y="304"/>
                    </a:lnTo>
                    <a:lnTo>
                      <a:pt x="332" y="304"/>
                    </a:lnTo>
                    <a:lnTo>
                      <a:pt x="336" y="304"/>
                    </a:lnTo>
                    <a:lnTo>
                      <a:pt x="336" y="306"/>
                    </a:lnTo>
                    <a:lnTo>
                      <a:pt x="339" y="307"/>
                    </a:lnTo>
                    <a:lnTo>
                      <a:pt x="337" y="311"/>
                    </a:lnTo>
                    <a:lnTo>
                      <a:pt x="336" y="310"/>
                    </a:lnTo>
                    <a:lnTo>
                      <a:pt x="335" y="310"/>
                    </a:lnTo>
                    <a:lnTo>
                      <a:pt x="335" y="312"/>
                    </a:lnTo>
                    <a:lnTo>
                      <a:pt x="336" y="312"/>
                    </a:lnTo>
                    <a:lnTo>
                      <a:pt x="336" y="315"/>
                    </a:lnTo>
                    <a:lnTo>
                      <a:pt x="340" y="315"/>
                    </a:lnTo>
                    <a:lnTo>
                      <a:pt x="337" y="319"/>
                    </a:lnTo>
                    <a:lnTo>
                      <a:pt x="337" y="321"/>
                    </a:lnTo>
                    <a:lnTo>
                      <a:pt x="337" y="321"/>
                    </a:lnTo>
                    <a:lnTo>
                      <a:pt x="341" y="322"/>
                    </a:lnTo>
                    <a:lnTo>
                      <a:pt x="346" y="322"/>
                    </a:lnTo>
                    <a:lnTo>
                      <a:pt x="348" y="325"/>
                    </a:lnTo>
                    <a:lnTo>
                      <a:pt x="354" y="325"/>
                    </a:lnTo>
                    <a:lnTo>
                      <a:pt x="360" y="321"/>
                    </a:lnTo>
                    <a:lnTo>
                      <a:pt x="362" y="321"/>
                    </a:lnTo>
                    <a:lnTo>
                      <a:pt x="362" y="323"/>
                    </a:lnTo>
                    <a:lnTo>
                      <a:pt x="358" y="325"/>
                    </a:lnTo>
                    <a:lnTo>
                      <a:pt x="356" y="327"/>
                    </a:lnTo>
                    <a:lnTo>
                      <a:pt x="355" y="326"/>
                    </a:lnTo>
                    <a:lnTo>
                      <a:pt x="354" y="327"/>
                    </a:lnTo>
                    <a:lnTo>
                      <a:pt x="354" y="329"/>
                    </a:lnTo>
                    <a:lnTo>
                      <a:pt x="354" y="329"/>
                    </a:lnTo>
                    <a:lnTo>
                      <a:pt x="352" y="329"/>
                    </a:lnTo>
                    <a:lnTo>
                      <a:pt x="350" y="330"/>
                    </a:lnTo>
                    <a:lnTo>
                      <a:pt x="347" y="331"/>
                    </a:lnTo>
                    <a:lnTo>
                      <a:pt x="344" y="330"/>
                    </a:lnTo>
                    <a:lnTo>
                      <a:pt x="343" y="330"/>
                    </a:lnTo>
                    <a:lnTo>
                      <a:pt x="341" y="330"/>
                    </a:lnTo>
                    <a:lnTo>
                      <a:pt x="347" y="338"/>
                    </a:lnTo>
                    <a:lnTo>
                      <a:pt x="352" y="338"/>
                    </a:lnTo>
                    <a:lnTo>
                      <a:pt x="354" y="339"/>
                    </a:lnTo>
                    <a:lnTo>
                      <a:pt x="354" y="339"/>
                    </a:lnTo>
                    <a:lnTo>
                      <a:pt x="347" y="339"/>
                    </a:lnTo>
                    <a:lnTo>
                      <a:pt x="341" y="339"/>
                    </a:lnTo>
                    <a:lnTo>
                      <a:pt x="340" y="341"/>
                    </a:lnTo>
                    <a:lnTo>
                      <a:pt x="340" y="344"/>
                    </a:lnTo>
                    <a:lnTo>
                      <a:pt x="341" y="345"/>
                    </a:lnTo>
                    <a:lnTo>
                      <a:pt x="347" y="345"/>
                    </a:lnTo>
                    <a:lnTo>
                      <a:pt x="346" y="348"/>
                    </a:lnTo>
                    <a:lnTo>
                      <a:pt x="348" y="350"/>
                    </a:lnTo>
                    <a:lnTo>
                      <a:pt x="351" y="349"/>
                    </a:lnTo>
                    <a:lnTo>
                      <a:pt x="351" y="352"/>
                    </a:lnTo>
                    <a:lnTo>
                      <a:pt x="347" y="352"/>
                    </a:lnTo>
                    <a:lnTo>
                      <a:pt x="348" y="353"/>
                    </a:lnTo>
                    <a:lnTo>
                      <a:pt x="351" y="353"/>
                    </a:lnTo>
                    <a:lnTo>
                      <a:pt x="347" y="357"/>
                    </a:lnTo>
                    <a:lnTo>
                      <a:pt x="350" y="363"/>
                    </a:lnTo>
                    <a:lnTo>
                      <a:pt x="346" y="363"/>
                    </a:lnTo>
                    <a:lnTo>
                      <a:pt x="344" y="367"/>
                    </a:lnTo>
                    <a:lnTo>
                      <a:pt x="347" y="368"/>
                    </a:lnTo>
                    <a:lnTo>
                      <a:pt x="347" y="369"/>
                    </a:lnTo>
                    <a:lnTo>
                      <a:pt x="346" y="369"/>
                    </a:lnTo>
                    <a:lnTo>
                      <a:pt x="343" y="369"/>
                    </a:lnTo>
                    <a:lnTo>
                      <a:pt x="343" y="371"/>
                    </a:lnTo>
                    <a:lnTo>
                      <a:pt x="340" y="372"/>
                    </a:lnTo>
                    <a:lnTo>
                      <a:pt x="339" y="376"/>
                    </a:lnTo>
                    <a:lnTo>
                      <a:pt x="337" y="375"/>
                    </a:lnTo>
                    <a:lnTo>
                      <a:pt x="339" y="372"/>
                    </a:lnTo>
                    <a:lnTo>
                      <a:pt x="333" y="372"/>
                    </a:lnTo>
                    <a:lnTo>
                      <a:pt x="332" y="373"/>
                    </a:lnTo>
                    <a:lnTo>
                      <a:pt x="328" y="367"/>
                    </a:lnTo>
                    <a:lnTo>
                      <a:pt x="325" y="368"/>
                    </a:lnTo>
                    <a:lnTo>
                      <a:pt x="322" y="367"/>
                    </a:lnTo>
                    <a:lnTo>
                      <a:pt x="321" y="368"/>
                    </a:lnTo>
                    <a:lnTo>
                      <a:pt x="321" y="368"/>
                    </a:lnTo>
                    <a:lnTo>
                      <a:pt x="320" y="373"/>
                    </a:lnTo>
                    <a:lnTo>
                      <a:pt x="321" y="379"/>
                    </a:lnTo>
                    <a:lnTo>
                      <a:pt x="320" y="379"/>
                    </a:lnTo>
                    <a:lnTo>
                      <a:pt x="320" y="379"/>
                    </a:lnTo>
                    <a:lnTo>
                      <a:pt x="317" y="373"/>
                    </a:lnTo>
                    <a:lnTo>
                      <a:pt x="316" y="368"/>
                    </a:lnTo>
                    <a:lnTo>
                      <a:pt x="313" y="368"/>
                    </a:lnTo>
                    <a:lnTo>
                      <a:pt x="312" y="364"/>
                    </a:lnTo>
                    <a:lnTo>
                      <a:pt x="312" y="363"/>
                    </a:lnTo>
                    <a:lnTo>
                      <a:pt x="309" y="361"/>
                    </a:lnTo>
                    <a:lnTo>
                      <a:pt x="309" y="361"/>
                    </a:lnTo>
                    <a:lnTo>
                      <a:pt x="302" y="354"/>
                    </a:lnTo>
                    <a:lnTo>
                      <a:pt x="294" y="350"/>
                    </a:lnTo>
                    <a:lnTo>
                      <a:pt x="291" y="350"/>
                    </a:lnTo>
                    <a:lnTo>
                      <a:pt x="290" y="354"/>
                    </a:lnTo>
                    <a:lnTo>
                      <a:pt x="291" y="356"/>
                    </a:lnTo>
                    <a:lnTo>
                      <a:pt x="290" y="356"/>
                    </a:lnTo>
                    <a:lnTo>
                      <a:pt x="289" y="354"/>
                    </a:lnTo>
                    <a:lnTo>
                      <a:pt x="289" y="356"/>
                    </a:lnTo>
                    <a:lnTo>
                      <a:pt x="289" y="356"/>
                    </a:lnTo>
                    <a:lnTo>
                      <a:pt x="286" y="360"/>
                    </a:lnTo>
                    <a:lnTo>
                      <a:pt x="284" y="364"/>
                    </a:lnTo>
                    <a:lnTo>
                      <a:pt x="286" y="364"/>
                    </a:lnTo>
                    <a:lnTo>
                      <a:pt x="287" y="367"/>
                    </a:lnTo>
                    <a:lnTo>
                      <a:pt x="283" y="368"/>
                    </a:lnTo>
                    <a:lnTo>
                      <a:pt x="284" y="371"/>
                    </a:lnTo>
                    <a:lnTo>
                      <a:pt x="286" y="372"/>
                    </a:lnTo>
                    <a:lnTo>
                      <a:pt x="287" y="375"/>
                    </a:lnTo>
                    <a:lnTo>
                      <a:pt x="290" y="377"/>
                    </a:lnTo>
                    <a:lnTo>
                      <a:pt x="290" y="377"/>
                    </a:lnTo>
                    <a:lnTo>
                      <a:pt x="294" y="379"/>
                    </a:lnTo>
                    <a:lnTo>
                      <a:pt x="298" y="382"/>
                    </a:lnTo>
                    <a:lnTo>
                      <a:pt x="299" y="384"/>
                    </a:lnTo>
                    <a:lnTo>
                      <a:pt x="297" y="386"/>
                    </a:lnTo>
                    <a:lnTo>
                      <a:pt x="299" y="387"/>
                    </a:lnTo>
                    <a:lnTo>
                      <a:pt x="295" y="388"/>
                    </a:lnTo>
                    <a:lnTo>
                      <a:pt x="295" y="392"/>
                    </a:lnTo>
                    <a:lnTo>
                      <a:pt x="298" y="395"/>
                    </a:lnTo>
                    <a:lnTo>
                      <a:pt x="298" y="395"/>
                    </a:lnTo>
                    <a:lnTo>
                      <a:pt x="301" y="395"/>
                    </a:lnTo>
                    <a:lnTo>
                      <a:pt x="305" y="395"/>
                    </a:lnTo>
                    <a:lnTo>
                      <a:pt x="310" y="398"/>
                    </a:lnTo>
                    <a:lnTo>
                      <a:pt x="316" y="395"/>
                    </a:lnTo>
                    <a:lnTo>
                      <a:pt x="318" y="396"/>
                    </a:lnTo>
                    <a:lnTo>
                      <a:pt x="318" y="399"/>
                    </a:lnTo>
                    <a:lnTo>
                      <a:pt x="318" y="399"/>
                    </a:lnTo>
                    <a:lnTo>
                      <a:pt x="321" y="402"/>
                    </a:lnTo>
                    <a:lnTo>
                      <a:pt x="322" y="405"/>
                    </a:lnTo>
                    <a:lnTo>
                      <a:pt x="321" y="407"/>
                    </a:lnTo>
                    <a:lnTo>
                      <a:pt x="322" y="410"/>
                    </a:lnTo>
                    <a:lnTo>
                      <a:pt x="321" y="411"/>
                    </a:lnTo>
                    <a:lnTo>
                      <a:pt x="322" y="411"/>
                    </a:lnTo>
                    <a:lnTo>
                      <a:pt x="329" y="410"/>
                    </a:lnTo>
                    <a:lnTo>
                      <a:pt x="331" y="415"/>
                    </a:lnTo>
                    <a:lnTo>
                      <a:pt x="339" y="424"/>
                    </a:lnTo>
                    <a:lnTo>
                      <a:pt x="339" y="425"/>
                    </a:lnTo>
                    <a:lnTo>
                      <a:pt x="336" y="428"/>
                    </a:lnTo>
                    <a:lnTo>
                      <a:pt x="336" y="429"/>
                    </a:lnTo>
                    <a:lnTo>
                      <a:pt x="336" y="429"/>
                    </a:lnTo>
                    <a:lnTo>
                      <a:pt x="348" y="430"/>
                    </a:lnTo>
                    <a:lnTo>
                      <a:pt x="360" y="434"/>
                    </a:lnTo>
                    <a:lnTo>
                      <a:pt x="363" y="439"/>
                    </a:lnTo>
                    <a:lnTo>
                      <a:pt x="367" y="440"/>
                    </a:lnTo>
                    <a:lnTo>
                      <a:pt x="369" y="441"/>
                    </a:lnTo>
                    <a:lnTo>
                      <a:pt x="369" y="441"/>
                    </a:lnTo>
                    <a:lnTo>
                      <a:pt x="373" y="441"/>
                    </a:lnTo>
                    <a:lnTo>
                      <a:pt x="377" y="443"/>
                    </a:lnTo>
                    <a:lnTo>
                      <a:pt x="378" y="441"/>
                    </a:lnTo>
                    <a:lnTo>
                      <a:pt x="381" y="444"/>
                    </a:lnTo>
                    <a:lnTo>
                      <a:pt x="381" y="445"/>
                    </a:lnTo>
                    <a:lnTo>
                      <a:pt x="379" y="447"/>
                    </a:lnTo>
                    <a:lnTo>
                      <a:pt x="381" y="448"/>
                    </a:lnTo>
                    <a:lnTo>
                      <a:pt x="379" y="449"/>
                    </a:lnTo>
                    <a:lnTo>
                      <a:pt x="382" y="449"/>
                    </a:lnTo>
                    <a:lnTo>
                      <a:pt x="385" y="444"/>
                    </a:lnTo>
                    <a:lnTo>
                      <a:pt x="386" y="444"/>
                    </a:lnTo>
                    <a:lnTo>
                      <a:pt x="386" y="445"/>
                    </a:lnTo>
                    <a:lnTo>
                      <a:pt x="385" y="451"/>
                    </a:lnTo>
                    <a:lnTo>
                      <a:pt x="386" y="452"/>
                    </a:lnTo>
                    <a:lnTo>
                      <a:pt x="386" y="452"/>
                    </a:lnTo>
                    <a:lnTo>
                      <a:pt x="382" y="455"/>
                    </a:lnTo>
                    <a:lnTo>
                      <a:pt x="378" y="455"/>
                    </a:lnTo>
                    <a:lnTo>
                      <a:pt x="379" y="459"/>
                    </a:lnTo>
                    <a:lnTo>
                      <a:pt x="378" y="459"/>
                    </a:lnTo>
                    <a:lnTo>
                      <a:pt x="378" y="459"/>
                    </a:lnTo>
                    <a:lnTo>
                      <a:pt x="374" y="459"/>
                    </a:lnTo>
                    <a:lnTo>
                      <a:pt x="370" y="460"/>
                    </a:lnTo>
                    <a:lnTo>
                      <a:pt x="369" y="462"/>
                    </a:lnTo>
                    <a:lnTo>
                      <a:pt x="371" y="464"/>
                    </a:lnTo>
                    <a:lnTo>
                      <a:pt x="375" y="466"/>
                    </a:lnTo>
                    <a:lnTo>
                      <a:pt x="375" y="466"/>
                    </a:lnTo>
                    <a:lnTo>
                      <a:pt x="378" y="470"/>
                    </a:lnTo>
                    <a:lnTo>
                      <a:pt x="382" y="472"/>
                    </a:lnTo>
                    <a:lnTo>
                      <a:pt x="386" y="475"/>
                    </a:lnTo>
                    <a:lnTo>
                      <a:pt x="390" y="482"/>
                    </a:lnTo>
                    <a:lnTo>
                      <a:pt x="393" y="481"/>
                    </a:lnTo>
                    <a:lnTo>
                      <a:pt x="396" y="481"/>
                    </a:lnTo>
                    <a:lnTo>
                      <a:pt x="401" y="486"/>
                    </a:lnTo>
                    <a:lnTo>
                      <a:pt x="401" y="490"/>
                    </a:lnTo>
                    <a:lnTo>
                      <a:pt x="404" y="491"/>
                    </a:lnTo>
                    <a:lnTo>
                      <a:pt x="405" y="490"/>
                    </a:lnTo>
                    <a:lnTo>
                      <a:pt x="413" y="495"/>
                    </a:lnTo>
                    <a:lnTo>
                      <a:pt x="413" y="495"/>
                    </a:lnTo>
                    <a:lnTo>
                      <a:pt x="415" y="500"/>
                    </a:lnTo>
                    <a:lnTo>
                      <a:pt x="416" y="502"/>
                    </a:lnTo>
                    <a:lnTo>
                      <a:pt x="422" y="508"/>
                    </a:lnTo>
                    <a:lnTo>
                      <a:pt x="420" y="510"/>
                    </a:lnTo>
                    <a:lnTo>
                      <a:pt x="420" y="510"/>
                    </a:lnTo>
                    <a:lnTo>
                      <a:pt x="423" y="512"/>
                    </a:lnTo>
                    <a:lnTo>
                      <a:pt x="424" y="516"/>
                    </a:lnTo>
                    <a:lnTo>
                      <a:pt x="427" y="521"/>
                    </a:lnTo>
                    <a:lnTo>
                      <a:pt x="423" y="527"/>
                    </a:lnTo>
                    <a:lnTo>
                      <a:pt x="423" y="527"/>
                    </a:lnTo>
                    <a:lnTo>
                      <a:pt x="416" y="516"/>
                    </a:lnTo>
                    <a:lnTo>
                      <a:pt x="416" y="516"/>
                    </a:lnTo>
                    <a:lnTo>
                      <a:pt x="411" y="504"/>
                    </a:lnTo>
                    <a:lnTo>
                      <a:pt x="407" y="498"/>
                    </a:lnTo>
                    <a:lnTo>
                      <a:pt x="405" y="495"/>
                    </a:lnTo>
                    <a:lnTo>
                      <a:pt x="404" y="495"/>
                    </a:lnTo>
                    <a:lnTo>
                      <a:pt x="404" y="494"/>
                    </a:lnTo>
                    <a:lnTo>
                      <a:pt x="401" y="493"/>
                    </a:lnTo>
                    <a:lnTo>
                      <a:pt x="401" y="493"/>
                    </a:lnTo>
                    <a:lnTo>
                      <a:pt x="398" y="493"/>
                    </a:lnTo>
                    <a:lnTo>
                      <a:pt x="394" y="493"/>
                    </a:lnTo>
                    <a:lnTo>
                      <a:pt x="394" y="493"/>
                    </a:lnTo>
                    <a:lnTo>
                      <a:pt x="393" y="490"/>
                    </a:lnTo>
                    <a:lnTo>
                      <a:pt x="390" y="489"/>
                    </a:lnTo>
                    <a:lnTo>
                      <a:pt x="389" y="487"/>
                    </a:lnTo>
                    <a:lnTo>
                      <a:pt x="389" y="487"/>
                    </a:lnTo>
                    <a:lnTo>
                      <a:pt x="388" y="487"/>
                    </a:lnTo>
                    <a:lnTo>
                      <a:pt x="384" y="485"/>
                    </a:lnTo>
                    <a:lnTo>
                      <a:pt x="378" y="479"/>
                    </a:lnTo>
                    <a:lnTo>
                      <a:pt x="371" y="472"/>
                    </a:lnTo>
                    <a:lnTo>
                      <a:pt x="369" y="471"/>
                    </a:lnTo>
                    <a:lnTo>
                      <a:pt x="365" y="470"/>
                    </a:lnTo>
                    <a:lnTo>
                      <a:pt x="363" y="467"/>
                    </a:lnTo>
                    <a:lnTo>
                      <a:pt x="363" y="467"/>
                    </a:lnTo>
                    <a:lnTo>
                      <a:pt x="358" y="467"/>
                    </a:lnTo>
                    <a:lnTo>
                      <a:pt x="354" y="468"/>
                    </a:lnTo>
                    <a:lnTo>
                      <a:pt x="347" y="471"/>
                    </a:lnTo>
                    <a:lnTo>
                      <a:pt x="344" y="471"/>
                    </a:lnTo>
                    <a:lnTo>
                      <a:pt x="340" y="471"/>
                    </a:lnTo>
                    <a:lnTo>
                      <a:pt x="335" y="470"/>
                    </a:lnTo>
                    <a:lnTo>
                      <a:pt x="328" y="467"/>
                    </a:lnTo>
                    <a:lnTo>
                      <a:pt x="328" y="467"/>
                    </a:lnTo>
                    <a:lnTo>
                      <a:pt x="324" y="464"/>
                    </a:lnTo>
                    <a:lnTo>
                      <a:pt x="321" y="460"/>
                    </a:lnTo>
                    <a:lnTo>
                      <a:pt x="322" y="458"/>
                    </a:lnTo>
                    <a:lnTo>
                      <a:pt x="318" y="453"/>
                    </a:lnTo>
                    <a:lnTo>
                      <a:pt x="314" y="455"/>
                    </a:lnTo>
                    <a:lnTo>
                      <a:pt x="316" y="458"/>
                    </a:lnTo>
                    <a:lnTo>
                      <a:pt x="314" y="459"/>
                    </a:lnTo>
                    <a:lnTo>
                      <a:pt x="312" y="458"/>
                    </a:lnTo>
                    <a:lnTo>
                      <a:pt x="309" y="459"/>
                    </a:lnTo>
                    <a:lnTo>
                      <a:pt x="305" y="456"/>
                    </a:lnTo>
                    <a:lnTo>
                      <a:pt x="302" y="462"/>
                    </a:lnTo>
                    <a:lnTo>
                      <a:pt x="306" y="464"/>
                    </a:lnTo>
                    <a:lnTo>
                      <a:pt x="308" y="470"/>
                    </a:lnTo>
                    <a:lnTo>
                      <a:pt x="312" y="472"/>
                    </a:lnTo>
                    <a:lnTo>
                      <a:pt x="312" y="472"/>
                    </a:lnTo>
                    <a:lnTo>
                      <a:pt x="318" y="472"/>
                    </a:lnTo>
                    <a:lnTo>
                      <a:pt x="327" y="474"/>
                    </a:lnTo>
                    <a:lnTo>
                      <a:pt x="336" y="485"/>
                    </a:lnTo>
                    <a:lnTo>
                      <a:pt x="336" y="490"/>
                    </a:lnTo>
                    <a:lnTo>
                      <a:pt x="336" y="490"/>
                    </a:lnTo>
                    <a:lnTo>
                      <a:pt x="339" y="491"/>
                    </a:lnTo>
                    <a:lnTo>
                      <a:pt x="341" y="493"/>
                    </a:lnTo>
                    <a:lnTo>
                      <a:pt x="350" y="495"/>
                    </a:lnTo>
                    <a:lnTo>
                      <a:pt x="358" y="497"/>
                    </a:lnTo>
                    <a:lnTo>
                      <a:pt x="360" y="498"/>
                    </a:lnTo>
                    <a:lnTo>
                      <a:pt x="362" y="500"/>
                    </a:lnTo>
                    <a:lnTo>
                      <a:pt x="363" y="504"/>
                    </a:lnTo>
                    <a:lnTo>
                      <a:pt x="363" y="504"/>
                    </a:lnTo>
                    <a:lnTo>
                      <a:pt x="365" y="506"/>
                    </a:lnTo>
                    <a:lnTo>
                      <a:pt x="367" y="508"/>
                    </a:lnTo>
                    <a:lnTo>
                      <a:pt x="369" y="509"/>
                    </a:lnTo>
                    <a:lnTo>
                      <a:pt x="371" y="510"/>
                    </a:lnTo>
                    <a:lnTo>
                      <a:pt x="370" y="513"/>
                    </a:lnTo>
                    <a:lnTo>
                      <a:pt x="355" y="509"/>
                    </a:lnTo>
                    <a:lnTo>
                      <a:pt x="354" y="506"/>
                    </a:lnTo>
                    <a:lnTo>
                      <a:pt x="348" y="505"/>
                    </a:lnTo>
                    <a:lnTo>
                      <a:pt x="348" y="505"/>
                    </a:lnTo>
                    <a:lnTo>
                      <a:pt x="346" y="505"/>
                    </a:lnTo>
                    <a:lnTo>
                      <a:pt x="332" y="498"/>
                    </a:lnTo>
                    <a:lnTo>
                      <a:pt x="332" y="498"/>
                    </a:lnTo>
                    <a:lnTo>
                      <a:pt x="329" y="494"/>
                    </a:lnTo>
                    <a:lnTo>
                      <a:pt x="325" y="489"/>
                    </a:lnTo>
                    <a:lnTo>
                      <a:pt x="321" y="486"/>
                    </a:lnTo>
                    <a:lnTo>
                      <a:pt x="317" y="483"/>
                    </a:lnTo>
                    <a:lnTo>
                      <a:pt x="310" y="479"/>
                    </a:lnTo>
                    <a:lnTo>
                      <a:pt x="308" y="478"/>
                    </a:lnTo>
                    <a:lnTo>
                      <a:pt x="306" y="475"/>
                    </a:lnTo>
                    <a:lnTo>
                      <a:pt x="303" y="475"/>
                    </a:lnTo>
                    <a:lnTo>
                      <a:pt x="302" y="475"/>
                    </a:lnTo>
                    <a:lnTo>
                      <a:pt x="297" y="472"/>
                    </a:lnTo>
                    <a:lnTo>
                      <a:pt x="291" y="482"/>
                    </a:lnTo>
                    <a:lnTo>
                      <a:pt x="291" y="485"/>
                    </a:lnTo>
                    <a:lnTo>
                      <a:pt x="290" y="486"/>
                    </a:lnTo>
                    <a:lnTo>
                      <a:pt x="294" y="487"/>
                    </a:lnTo>
                    <a:lnTo>
                      <a:pt x="293" y="489"/>
                    </a:lnTo>
                    <a:lnTo>
                      <a:pt x="290" y="490"/>
                    </a:lnTo>
                    <a:lnTo>
                      <a:pt x="289" y="493"/>
                    </a:lnTo>
                    <a:lnTo>
                      <a:pt x="290" y="494"/>
                    </a:lnTo>
                    <a:lnTo>
                      <a:pt x="289" y="497"/>
                    </a:lnTo>
                    <a:lnTo>
                      <a:pt x="286" y="497"/>
                    </a:lnTo>
                    <a:lnTo>
                      <a:pt x="284" y="498"/>
                    </a:lnTo>
                    <a:lnTo>
                      <a:pt x="284" y="501"/>
                    </a:lnTo>
                    <a:lnTo>
                      <a:pt x="286" y="502"/>
                    </a:lnTo>
                    <a:lnTo>
                      <a:pt x="286" y="508"/>
                    </a:lnTo>
                    <a:lnTo>
                      <a:pt x="284" y="508"/>
                    </a:lnTo>
                    <a:lnTo>
                      <a:pt x="283" y="508"/>
                    </a:lnTo>
                    <a:lnTo>
                      <a:pt x="279" y="508"/>
                    </a:lnTo>
                    <a:lnTo>
                      <a:pt x="279" y="505"/>
                    </a:lnTo>
                    <a:lnTo>
                      <a:pt x="278" y="504"/>
                    </a:lnTo>
                    <a:lnTo>
                      <a:pt x="272" y="504"/>
                    </a:lnTo>
                    <a:lnTo>
                      <a:pt x="272" y="502"/>
                    </a:lnTo>
                    <a:lnTo>
                      <a:pt x="272" y="502"/>
                    </a:lnTo>
                    <a:lnTo>
                      <a:pt x="263" y="501"/>
                    </a:lnTo>
                    <a:lnTo>
                      <a:pt x="255" y="500"/>
                    </a:lnTo>
                    <a:lnTo>
                      <a:pt x="253" y="497"/>
                    </a:lnTo>
                    <a:lnTo>
                      <a:pt x="253" y="494"/>
                    </a:lnTo>
                    <a:lnTo>
                      <a:pt x="253" y="494"/>
                    </a:lnTo>
                    <a:lnTo>
                      <a:pt x="249" y="489"/>
                    </a:lnTo>
                    <a:lnTo>
                      <a:pt x="249" y="486"/>
                    </a:lnTo>
                    <a:lnTo>
                      <a:pt x="248" y="483"/>
                    </a:lnTo>
                    <a:lnTo>
                      <a:pt x="251" y="479"/>
                    </a:lnTo>
                    <a:lnTo>
                      <a:pt x="249" y="478"/>
                    </a:lnTo>
                    <a:lnTo>
                      <a:pt x="246" y="477"/>
                    </a:lnTo>
                    <a:lnTo>
                      <a:pt x="246" y="475"/>
                    </a:lnTo>
                    <a:lnTo>
                      <a:pt x="249" y="471"/>
                    </a:lnTo>
                    <a:lnTo>
                      <a:pt x="246" y="470"/>
                    </a:lnTo>
                    <a:lnTo>
                      <a:pt x="246" y="468"/>
                    </a:lnTo>
                    <a:lnTo>
                      <a:pt x="245" y="467"/>
                    </a:lnTo>
                    <a:lnTo>
                      <a:pt x="244" y="467"/>
                    </a:lnTo>
                    <a:lnTo>
                      <a:pt x="241" y="471"/>
                    </a:lnTo>
                    <a:lnTo>
                      <a:pt x="240" y="471"/>
                    </a:lnTo>
                    <a:lnTo>
                      <a:pt x="240" y="470"/>
                    </a:lnTo>
                    <a:lnTo>
                      <a:pt x="238" y="468"/>
                    </a:lnTo>
                    <a:lnTo>
                      <a:pt x="238" y="467"/>
                    </a:lnTo>
                    <a:lnTo>
                      <a:pt x="238" y="467"/>
                    </a:lnTo>
                    <a:lnTo>
                      <a:pt x="233" y="466"/>
                    </a:lnTo>
                    <a:lnTo>
                      <a:pt x="226" y="463"/>
                    </a:lnTo>
                    <a:lnTo>
                      <a:pt x="223" y="464"/>
                    </a:lnTo>
                    <a:lnTo>
                      <a:pt x="223" y="464"/>
                    </a:lnTo>
                    <a:lnTo>
                      <a:pt x="222" y="467"/>
                    </a:lnTo>
                    <a:lnTo>
                      <a:pt x="219" y="471"/>
                    </a:lnTo>
                    <a:lnTo>
                      <a:pt x="214" y="477"/>
                    </a:lnTo>
                    <a:lnTo>
                      <a:pt x="215" y="479"/>
                    </a:lnTo>
                    <a:lnTo>
                      <a:pt x="211" y="485"/>
                    </a:lnTo>
                    <a:lnTo>
                      <a:pt x="215" y="489"/>
                    </a:lnTo>
                    <a:lnTo>
                      <a:pt x="211" y="490"/>
                    </a:lnTo>
                    <a:lnTo>
                      <a:pt x="211" y="493"/>
                    </a:lnTo>
                    <a:lnTo>
                      <a:pt x="213" y="493"/>
                    </a:lnTo>
                    <a:lnTo>
                      <a:pt x="213" y="495"/>
                    </a:lnTo>
                    <a:lnTo>
                      <a:pt x="215" y="495"/>
                    </a:lnTo>
                    <a:lnTo>
                      <a:pt x="215" y="498"/>
                    </a:lnTo>
                    <a:lnTo>
                      <a:pt x="217" y="501"/>
                    </a:lnTo>
                    <a:lnTo>
                      <a:pt x="215" y="502"/>
                    </a:lnTo>
                    <a:lnTo>
                      <a:pt x="215" y="505"/>
                    </a:lnTo>
                    <a:lnTo>
                      <a:pt x="217" y="506"/>
                    </a:lnTo>
                    <a:lnTo>
                      <a:pt x="219" y="505"/>
                    </a:lnTo>
                    <a:lnTo>
                      <a:pt x="223" y="506"/>
                    </a:lnTo>
                    <a:lnTo>
                      <a:pt x="225" y="508"/>
                    </a:lnTo>
                    <a:lnTo>
                      <a:pt x="227" y="508"/>
                    </a:lnTo>
                    <a:lnTo>
                      <a:pt x="230" y="509"/>
                    </a:lnTo>
                    <a:lnTo>
                      <a:pt x="230" y="513"/>
                    </a:lnTo>
                    <a:lnTo>
                      <a:pt x="232" y="516"/>
                    </a:lnTo>
                    <a:lnTo>
                      <a:pt x="233" y="513"/>
                    </a:lnTo>
                    <a:lnTo>
                      <a:pt x="237" y="514"/>
                    </a:lnTo>
                    <a:lnTo>
                      <a:pt x="237" y="514"/>
                    </a:lnTo>
                    <a:lnTo>
                      <a:pt x="237" y="517"/>
                    </a:lnTo>
                    <a:lnTo>
                      <a:pt x="237" y="517"/>
                    </a:lnTo>
                    <a:lnTo>
                      <a:pt x="237" y="527"/>
                    </a:lnTo>
                    <a:lnTo>
                      <a:pt x="236" y="531"/>
                    </a:lnTo>
                    <a:lnTo>
                      <a:pt x="233" y="536"/>
                    </a:lnTo>
                    <a:lnTo>
                      <a:pt x="233" y="540"/>
                    </a:lnTo>
                    <a:lnTo>
                      <a:pt x="238" y="540"/>
                    </a:lnTo>
                    <a:lnTo>
                      <a:pt x="238" y="544"/>
                    </a:lnTo>
                    <a:lnTo>
                      <a:pt x="238" y="544"/>
                    </a:lnTo>
                    <a:lnTo>
                      <a:pt x="236" y="546"/>
                    </a:lnTo>
                    <a:lnTo>
                      <a:pt x="233" y="547"/>
                    </a:lnTo>
                    <a:lnTo>
                      <a:pt x="233" y="548"/>
                    </a:lnTo>
                    <a:lnTo>
                      <a:pt x="230" y="547"/>
                    </a:lnTo>
                    <a:lnTo>
                      <a:pt x="230" y="544"/>
                    </a:lnTo>
                    <a:lnTo>
                      <a:pt x="229" y="543"/>
                    </a:lnTo>
                    <a:lnTo>
                      <a:pt x="222" y="547"/>
                    </a:lnTo>
                    <a:lnTo>
                      <a:pt x="223" y="548"/>
                    </a:lnTo>
                    <a:lnTo>
                      <a:pt x="225" y="547"/>
                    </a:lnTo>
                    <a:lnTo>
                      <a:pt x="229" y="552"/>
                    </a:lnTo>
                    <a:lnTo>
                      <a:pt x="227" y="555"/>
                    </a:lnTo>
                    <a:lnTo>
                      <a:pt x="227" y="555"/>
                    </a:lnTo>
                    <a:lnTo>
                      <a:pt x="230" y="555"/>
                    </a:lnTo>
                    <a:lnTo>
                      <a:pt x="233" y="557"/>
                    </a:lnTo>
                    <a:lnTo>
                      <a:pt x="232" y="559"/>
                    </a:lnTo>
                    <a:lnTo>
                      <a:pt x="230" y="561"/>
                    </a:lnTo>
                    <a:lnTo>
                      <a:pt x="229" y="559"/>
                    </a:lnTo>
                    <a:lnTo>
                      <a:pt x="223" y="559"/>
                    </a:lnTo>
                    <a:lnTo>
                      <a:pt x="219" y="555"/>
                    </a:lnTo>
                    <a:lnTo>
                      <a:pt x="219" y="555"/>
                    </a:lnTo>
                    <a:lnTo>
                      <a:pt x="218" y="552"/>
                    </a:lnTo>
                    <a:lnTo>
                      <a:pt x="214" y="548"/>
                    </a:lnTo>
                    <a:lnTo>
                      <a:pt x="207" y="540"/>
                    </a:lnTo>
                    <a:lnTo>
                      <a:pt x="207" y="540"/>
                    </a:lnTo>
                    <a:lnTo>
                      <a:pt x="207" y="535"/>
                    </a:lnTo>
                    <a:lnTo>
                      <a:pt x="206" y="531"/>
                    </a:lnTo>
                    <a:lnTo>
                      <a:pt x="209" y="528"/>
                    </a:lnTo>
                    <a:lnTo>
                      <a:pt x="210" y="527"/>
                    </a:lnTo>
                    <a:lnTo>
                      <a:pt x="206" y="523"/>
                    </a:lnTo>
                    <a:lnTo>
                      <a:pt x="206" y="519"/>
                    </a:lnTo>
                    <a:lnTo>
                      <a:pt x="204" y="521"/>
                    </a:lnTo>
                    <a:lnTo>
                      <a:pt x="200" y="519"/>
                    </a:lnTo>
                    <a:lnTo>
                      <a:pt x="202" y="516"/>
                    </a:lnTo>
                    <a:lnTo>
                      <a:pt x="200" y="513"/>
                    </a:lnTo>
                    <a:lnTo>
                      <a:pt x="198" y="513"/>
                    </a:lnTo>
                    <a:lnTo>
                      <a:pt x="198" y="510"/>
                    </a:lnTo>
                    <a:lnTo>
                      <a:pt x="196" y="509"/>
                    </a:lnTo>
                    <a:lnTo>
                      <a:pt x="199" y="508"/>
                    </a:lnTo>
                    <a:lnTo>
                      <a:pt x="198" y="505"/>
                    </a:lnTo>
                    <a:lnTo>
                      <a:pt x="200" y="501"/>
                    </a:lnTo>
                    <a:lnTo>
                      <a:pt x="199" y="498"/>
                    </a:lnTo>
                    <a:lnTo>
                      <a:pt x="196" y="498"/>
                    </a:lnTo>
                    <a:lnTo>
                      <a:pt x="195" y="497"/>
                    </a:lnTo>
                    <a:lnTo>
                      <a:pt x="188" y="497"/>
                    </a:lnTo>
                    <a:lnTo>
                      <a:pt x="187" y="495"/>
                    </a:lnTo>
                    <a:lnTo>
                      <a:pt x="184" y="498"/>
                    </a:lnTo>
                    <a:lnTo>
                      <a:pt x="184" y="498"/>
                    </a:lnTo>
                    <a:lnTo>
                      <a:pt x="179" y="498"/>
                    </a:lnTo>
                    <a:lnTo>
                      <a:pt x="173" y="497"/>
                    </a:lnTo>
                    <a:lnTo>
                      <a:pt x="173" y="497"/>
                    </a:lnTo>
                    <a:lnTo>
                      <a:pt x="168" y="501"/>
                    </a:lnTo>
                    <a:lnTo>
                      <a:pt x="165" y="504"/>
                    </a:lnTo>
                    <a:lnTo>
                      <a:pt x="162" y="504"/>
                    </a:lnTo>
                    <a:lnTo>
                      <a:pt x="156" y="501"/>
                    </a:lnTo>
                    <a:lnTo>
                      <a:pt x="154" y="502"/>
                    </a:lnTo>
                    <a:lnTo>
                      <a:pt x="154" y="502"/>
                    </a:lnTo>
                    <a:lnTo>
                      <a:pt x="154" y="508"/>
                    </a:lnTo>
                    <a:lnTo>
                      <a:pt x="156" y="513"/>
                    </a:lnTo>
                    <a:lnTo>
                      <a:pt x="152" y="520"/>
                    </a:lnTo>
                    <a:lnTo>
                      <a:pt x="153" y="521"/>
                    </a:lnTo>
                    <a:lnTo>
                      <a:pt x="153" y="521"/>
                    </a:lnTo>
                    <a:lnTo>
                      <a:pt x="154" y="525"/>
                    </a:lnTo>
                    <a:lnTo>
                      <a:pt x="153" y="528"/>
                    </a:lnTo>
                    <a:lnTo>
                      <a:pt x="156" y="531"/>
                    </a:lnTo>
                    <a:lnTo>
                      <a:pt x="156" y="531"/>
                    </a:lnTo>
                    <a:lnTo>
                      <a:pt x="157" y="542"/>
                    </a:lnTo>
                    <a:lnTo>
                      <a:pt x="158" y="547"/>
                    </a:lnTo>
                    <a:lnTo>
                      <a:pt x="157" y="551"/>
                    </a:lnTo>
                    <a:lnTo>
                      <a:pt x="157" y="551"/>
                    </a:lnTo>
                    <a:lnTo>
                      <a:pt x="156" y="557"/>
                    </a:lnTo>
                    <a:lnTo>
                      <a:pt x="154" y="559"/>
                    </a:lnTo>
                    <a:lnTo>
                      <a:pt x="156" y="561"/>
                    </a:lnTo>
                    <a:lnTo>
                      <a:pt x="157" y="562"/>
                    </a:lnTo>
                    <a:lnTo>
                      <a:pt x="157" y="562"/>
                    </a:lnTo>
                    <a:lnTo>
                      <a:pt x="156" y="566"/>
                    </a:lnTo>
                    <a:lnTo>
                      <a:pt x="153" y="569"/>
                    </a:lnTo>
                    <a:lnTo>
                      <a:pt x="154" y="573"/>
                    </a:lnTo>
                    <a:lnTo>
                      <a:pt x="164" y="574"/>
                    </a:lnTo>
                    <a:lnTo>
                      <a:pt x="172" y="581"/>
                    </a:lnTo>
                    <a:lnTo>
                      <a:pt x="172" y="581"/>
                    </a:lnTo>
                    <a:lnTo>
                      <a:pt x="183" y="582"/>
                    </a:lnTo>
                    <a:lnTo>
                      <a:pt x="188" y="584"/>
                    </a:lnTo>
                    <a:lnTo>
                      <a:pt x="194" y="582"/>
                    </a:lnTo>
                    <a:lnTo>
                      <a:pt x="199" y="586"/>
                    </a:lnTo>
                    <a:lnTo>
                      <a:pt x="199" y="592"/>
                    </a:lnTo>
                    <a:lnTo>
                      <a:pt x="198" y="593"/>
                    </a:lnTo>
                    <a:lnTo>
                      <a:pt x="198" y="595"/>
                    </a:lnTo>
                    <a:lnTo>
                      <a:pt x="203" y="595"/>
                    </a:lnTo>
                    <a:lnTo>
                      <a:pt x="202" y="596"/>
                    </a:lnTo>
                    <a:lnTo>
                      <a:pt x="204" y="601"/>
                    </a:lnTo>
                    <a:lnTo>
                      <a:pt x="203" y="603"/>
                    </a:lnTo>
                    <a:lnTo>
                      <a:pt x="202" y="601"/>
                    </a:lnTo>
                    <a:lnTo>
                      <a:pt x="199" y="601"/>
                    </a:lnTo>
                    <a:lnTo>
                      <a:pt x="200" y="604"/>
                    </a:lnTo>
                    <a:lnTo>
                      <a:pt x="202" y="605"/>
                    </a:lnTo>
                    <a:lnTo>
                      <a:pt x="203" y="607"/>
                    </a:lnTo>
                    <a:lnTo>
                      <a:pt x="202" y="608"/>
                    </a:lnTo>
                    <a:lnTo>
                      <a:pt x="198" y="607"/>
                    </a:lnTo>
                    <a:lnTo>
                      <a:pt x="198" y="604"/>
                    </a:lnTo>
                    <a:lnTo>
                      <a:pt x="194" y="604"/>
                    </a:lnTo>
                    <a:lnTo>
                      <a:pt x="192" y="601"/>
                    </a:lnTo>
                    <a:lnTo>
                      <a:pt x="190" y="603"/>
                    </a:lnTo>
                    <a:lnTo>
                      <a:pt x="190" y="603"/>
                    </a:lnTo>
                    <a:lnTo>
                      <a:pt x="183" y="597"/>
                    </a:lnTo>
                    <a:lnTo>
                      <a:pt x="173" y="597"/>
                    </a:lnTo>
                    <a:lnTo>
                      <a:pt x="173" y="597"/>
                    </a:lnTo>
                    <a:lnTo>
                      <a:pt x="171" y="600"/>
                    </a:lnTo>
                    <a:lnTo>
                      <a:pt x="169" y="603"/>
                    </a:lnTo>
                    <a:lnTo>
                      <a:pt x="169" y="603"/>
                    </a:lnTo>
                    <a:lnTo>
                      <a:pt x="165" y="603"/>
                    </a:lnTo>
                    <a:lnTo>
                      <a:pt x="162" y="603"/>
                    </a:lnTo>
                    <a:lnTo>
                      <a:pt x="161" y="608"/>
                    </a:lnTo>
                    <a:lnTo>
                      <a:pt x="162" y="609"/>
                    </a:lnTo>
                    <a:lnTo>
                      <a:pt x="162" y="611"/>
                    </a:lnTo>
                    <a:lnTo>
                      <a:pt x="154" y="624"/>
                    </a:lnTo>
                    <a:lnTo>
                      <a:pt x="154" y="631"/>
                    </a:lnTo>
                    <a:lnTo>
                      <a:pt x="152" y="633"/>
                    </a:lnTo>
                    <a:lnTo>
                      <a:pt x="152" y="639"/>
                    </a:lnTo>
                    <a:lnTo>
                      <a:pt x="153" y="641"/>
                    </a:lnTo>
                    <a:lnTo>
                      <a:pt x="156" y="638"/>
                    </a:lnTo>
                    <a:lnTo>
                      <a:pt x="156" y="638"/>
                    </a:lnTo>
                    <a:lnTo>
                      <a:pt x="158" y="638"/>
                    </a:lnTo>
                    <a:lnTo>
                      <a:pt x="162" y="639"/>
                    </a:lnTo>
                    <a:lnTo>
                      <a:pt x="171" y="645"/>
                    </a:lnTo>
                    <a:lnTo>
                      <a:pt x="177" y="651"/>
                    </a:lnTo>
                    <a:lnTo>
                      <a:pt x="180" y="654"/>
                    </a:lnTo>
                    <a:lnTo>
                      <a:pt x="180" y="657"/>
                    </a:lnTo>
                    <a:lnTo>
                      <a:pt x="183" y="658"/>
                    </a:lnTo>
                    <a:lnTo>
                      <a:pt x="183" y="658"/>
                    </a:lnTo>
                    <a:lnTo>
                      <a:pt x="183" y="661"/>
                    </a:lnTo>
                    <a:lnTo>
                      <a:pt x="181" y="665"/>
                    </a:lnTo>
                    <a:lnTo>
                      <a:pt x="181" y="665"/>
                    </a:lnTo>
                    <a:lnTo>
                      <a:pt x="184" y="668"/>
                    </a:lnTo>
                    <a:lnTo>
                      <a:pt x="185" y="672"/>
                    </a:lnTo>
                    <a:lnTo>
                      <a:pt x="192" y="676"/>
                    </a:lnTo>
                    <a:lnTo>
                      <a:pt x="198" y="676"/>
                    </a:lnTo>
                    <a:lnTo>
                      <a:pt x="202" y="680"/>
                    </a:lnTo>
                    <a:lnTo>
                      <a:pt x="202" y="683"/>
                    </a:lnTo>
                    <a:lnTo>
                      <a:pt x="199" y="683"/>
                    </a:lnTo>
                    <a:lnTo>
                      <a:pt x="199" y="683"/>
                    </a:lnTo>
                    <a:lnTo>
                      <a:pt x="196" y="681"/>
                    </a:lnTo>
                    <a:lnTo>
                      <a:pt x="194" y="681"/>
                    </a:lnTo>
                    <a:lnTo>
                      <a:pt x="194" y="683"/>
                    </a:lnTo>
                    <a:lnTo>
                      <a:pt x="194" y="685"/>
                    </a:lnTo>
                    <a:lnTo>
                      <a:pt x="198" y="685"/>
                    </a:lnTo>
                    <a:lnTo>
                      <a:pt x="199" y="688"/>
                    </a:lnTo>
                    <a:lnTo>
                      <a:pt x="199" y="689"/>
                    </a:lnTo>
                    <a:lnTo>
                      <a:pt x="199" y="689"/>
                    </a:lnTo>
                    <a:lnTo>
                      <a:pt x="203" y="691"/>
                    </a:lnTo>
                    <a:lnTo>
                      <a:pt x="206" y="694"/>
                    </a:lnTo>
                    <a:lnTo>
                      <a:pt x="206" y="695"/>
                    </a:lnTo>
                    <a:lnTo>
                      <a:pt x="207" y="695"/>
                    </a:lnTo>
                    <a:lnTo>
                      <a:pt x="207" y="695"/>
                    </a:lnTo>
                    <a:lnTo>
                      <a:pt x="210" y="694"/>
                    </a:lnTo>
                    <a:lnTo>
                      <a:pt x="214" y="692"/>
                    </a:lnTo>
                    <a:lnTo>
                      <a:pt x="218" y="694"/>
                    </a:lnTo>
                    <a:lnTo>
                      <a:pt x="218" y="692"/>
                    </a:lnTo>
                    <a:lnTo>
                      <a:pt x="218" y="689"/>
                    </a:lnTo>
                    <a:lnTo>
                      <a:pt x="219" y="689"/>
                    </a:lnTo>
                    <a:lnTo>
                      <a:pt x="221" y="692"/>
                    </a:lnTo>
                    <a:lnTo>
                      <a:pt x="223" y="691"/>
                    </a:lnTo>
                    <a:lnTo>
                      <a:pt x="226" y="692"/>
                    </a:lnTo>
                    <a:lnTo>
                      <a:pt x="226" y="692"/>
                    </a:lnTo>
                    <a:lnTo>
                      <a:pt x="230" y="689"/>
                    </a:lnTo>
                    <a:lnTo>
                      <a:pt x="233" y="689"/>
                    </a:lnTo>
                    <a:lnTo>
                      <a:pt x="240" y="691"/>
                    </a:lnTo>
                    <a:lnTo>
                      <a:pt x="240" y="691"/>
                    </a:lnTo>
                    <a:lnTo>
                      <a:pt x="248" y="691"/>
                    </a:lnTo>
                    <a:lnTo>
                      <a:pt x="248" y="691"/>
                    </a:lnTo>
                    <a:lnTo>
                      <a:pt x="255" y="692"/>
                    </a:lnTo>
                    <a:lnTo>
                      <a:pt x="257" y="694"/>
                    </a:lnTo>
                    <a:lnTo>
                      <a:pt x="260" y="694"/>
                    </a:lnTo>
                    <a:lnTo>
                      <a:pt x="261" y="695"/>
                    </a:lnTo>
                    <a:lnTo>
                      <a:pt x="259" y="696"/>
                    </a:lnTo>
                    <a:lnTo>
                      <a:pt x="261" y="696"/>
                    </a:lnTo>
                    <a:lnTo>
                      <a:pt x="263" y="698"/>
                    </a:lnTo>
                    <a:lnTo>
                      <a:pt x="263" y="700"/>
                    </a:lnTo>
                    <a:lnTo>
                      <a:pt x="261" y="702"/>
                    </a:lnTo>
                    <a:lnTo>
                      <a:pt x="261" y="703"/>
                    </a:lnTo>
                    <a:lnTo>
                      <a:pt x="259" y="706"/>
                    </a:lnTo>
                    <a:lnTo>
                      <a:pt x="255" y="706"/>
                    </a:lnTo>
                    <a:lnTo>
                      <a:pt x="249" y="703"/>
                    </a:lnTo>
                    <a:lnTo>
                      <a:pt x="248" y="703"/>
                    </a:lnTo>
                    <a:lnTo>
                      <a:pt x="246" y="702"/>
                    </a:lnTo>
                    <a:lnTo>
                      <a:pt x="245" y="702"/>
                    </a:lnTo>
                    <a:lnTo>
                      <a:pt x="246" y="704"/>
                    </a:lnTo>
                    <a:lnTo>
                      <a:pt x="244" y="706"/>
                    </a:lnTo>
                    <a:lnTo>
                      <a:pt x="241" y="702"/>
                    </a:lnTo>
                    <a:lnTo>
                      <a:pt x="240" y="703"/>
                    </a:lnTo>
                    <a:lnTo>
                      <a:pt x="241" y="706"/>
                    </a:lnTo>
                    <a:lnTo>
                      <a:pt x="240" y="706"/>
                    </a:lnTo>
                    <a:lnTo>
                      <a:pt x="237" y="703"/>
                    </a:lnTo>
                    <a:lnTo>
                      <a:pt x="236" y="704"/>
                    </a:lnTo>
                    <a:lnTo>
                      <a:pt x="233" y="706"/>
                    </a:lnTo>
                    <a:lnTo>
                      <a:pt x="232" y="704"/>
                    </a:lnTo>
                    <a:lnTo>
                      <a:pt x="232" y="702"/>
                    </a:lnTo>
                    <a:lnTo>
                      <a:pt x="232" y="702"/>
                    </a:lnTo>
                    <a:lnTo>
                      <a:pt x="229" y="703"/>
                    </a:lnTo>
                    <a:lnTo>
                      <a:pt x="226" y="703"/>
                    </a:lnTo>
                    <a:lnTo>
                      <a:pt x="226" y="706"/>
                    </a:lnTo>
                    <a:lnTo>
                      <a:pt x="225" y="707"/>
                    </a:lnTo>
                    <a:lnTo>
                      <a:pt x="223" y="704"/>
                    </a:lnTo>
                    <a:lnTo>
                      <a:pt x="222" y="706"/>
                    </a:lnTo>
                    <a:lnTo>
                      <a:pt x="225" y="710"/>
                    </a:lnTo>
                    <a:lnTo>
                      <a:pt x="223" y="711"/>
                    </a:lnTo>
                    <a:lnTo>
                      <a:pt x="221" y="710"/>
                    </a:lnTo>
                    <a:lnTo>
                      <a:pt x="221" y="710"/>
                    </a:lnTo>
                    <a:lnTo>
                      <a:pt x="219" y="707"/>
                    </a:lnTo>
                    <a:lnTo>
                      <a:pt x="219" y="704"/>
                    </a:lnTo>
                    <a:lnTo>
                      <a:pt x="217" y="702"/>
                    </a:lnTo>
                    <a:lnTo>
                      <a:pt x="214" y="702"/>
                    </a:lnTo>
                    <a:lnTo>
                      <a:pt x="214" y="699"/>
                    </a:lnTo>
                    <a:lnTo>
                      <a:pt x="211" y="698"/>
                    </a:lnTo>
                    <a:lnTo>
                      <a:pt x="211" y="696"/>
                    </a:lnTo>
                    <a:lnTo>
                      <a:pt x="210" y="696"/>
                    </a:lnTo>
                    <a:lnTo>
                      <a:pt x="210" y="699"/>
                    </a:lnTo>
                    <a:lnTo>
                      <a:pt x="213" y="703"/>
                    </a:lnTo>
                    <a:lnTo>
                      <a:pt x="211" y="707"/>
                    </a:lnTo>
                    <a:lnTo>
                      <a:pt x="214" y="708"/>
                    </a:lnTo>
                    <a:lnTo>
                      <a:pt x="213" y="711"/>
                    </a:lnTo>
                    <a:lnTo>
                      <a:pt x="215" y="717"/>
                    </a:lnTo>
                    <a:lnTo>
                      <a:pt x="214" y="718"/>
                    </a:lnTo>
                    <a:lnTo>
                      <a:pt x="211" y="715"/>
                    </a:lnTo>
                    <a:lnTo>
                      <a:pt x="209" y="715"/>
                    </a:lnTo>
                    <a:lnTo>
                      <a:pt x="209" y="713"/>
                    </a:lnTo>
                    <a:lnTo>
                      <a:pt x="204" y="707"/>
                    </a:lnTo>
                    <a:lnTo>
                      <a:pt x="200" y="708"/>
                    </a:lnTo>
                    <a:lnTo>
                      <a:pt x="199" y="708"/>
                    </a:lnTo>
                    <a:lnTo>
                      <a:pt x="199" y="704"/>
                    </a:lnTo>
                    <a:lnTo>
                      <a:pt x="195" y="706"/>
                    </a:lnTo>
                    <a:lnTo>
                      <a:pt x="194" y="698"/>
                    </a:lnTo>
                    <a:lnTo>
                      <a:pt x="195" y="696"/>
                    </a:lnTo>
                    <a:lnTo>
                      <a:pt x="195" y="694"/>
                    </a:lnTo>
                    <a:lnTo>
                      <a:pt x="191" y="689"/>
                    </a:lnTo>
                    <a:lnTo>
                      <a:pt x="188" y="691"/>
                    </a:lnTo>
                    <a:lnTo>
                      <a:pt x="192" y="699"/>
                    </a:lnTo>
                    <a:lnTo>
                      <a:pt x="191" y="699"/>
                    </a:lnTo>
                    <a:lnTo>
                      <a:pt x="191" y="699"/>
                    </a:lnTo>
                    <a:lnTo>
                      <a:pt x="187" y="696"/>
                    </a:lnTo>
                    <a:lnTo>
                      <a:pt x="185" y="695"/>
                    </a:lnTo>
                    <a:lnTo>
                      <a:pt x="183" y="695"/>
                    </a:lnTo>
                    <a:lnTo>
                      <a:pt x="180" y="696"/>
                    </a:lnTo>
                    <a:lnTo>
                      <a:pt x="179" y="696"/>
                    </a:lnTo>
                    <a:lnTo>
                      <a:pt x="176" y="692"/>
                    </a:lnTo>
                    <a:lnTo>
                      <a:pt x="179" y="692"/>
                    </a:lnTo>
                    <a:lnTo>
                      <a:pt x="172" y="689"/>
                    </a:lnTo>
                    <a:lnTo>
                      <a:pt x="172" y="687"/>
                    </a:lnTo>
                    <a:lnTo>
                      <a:pt x="171" y="687"/>
                    </a:lnTo>
                    <a:lnTo>
                      <a:pt x="168" y="688"/>
                    </a:lnTo>
                    <a:lnTo>
                      <a:pt x="168" y="685"/>
                    </a:lnTo>
                    <a:lnTo>
                      <a:pt x="165" y="683"/>
                    </a:lnTo>
                    <a:lnTo>
                      <a:pt x="164" y="683"/>
                    </a:lnTo>
                    <a:lnTo>
                      <a:pt x="164" y="681"/>
                    </a:lnTo>
                    <a:lnTo>
                      <a:pt x="165" y="679"/>
                    </a:lnTo>
                    <a:lnTo>
                      <a:pt x="165" y="679"/>
                    </a:lnTo>
                    <a:lnTo>
                      <a:pt x="161" y="679"/>
                    </a:lnTo>
                    <a:lnTo>
                      <a:pt x="157" y="677"/>
                    </a:lnTo>
                    <a:lnTo>
                      <a:pt x="158" y="676"/>
                    </a:lnTo>
                    <a:lnTo>
                      <a:pt x="154" y="675"/>
                    </a:lnTo>
                    <a:lnTo>
                      <a:pt x="153" y="672"/>
                    </a:lnTo>
                    <a:lnTo>
                      <a:pt x="150" y="675"/>
                    </a:lnTo>
                    <a:lnTo>
                      <a:pt x="152" y="676"/>
                    </a:lnTo>
                    <a:lnTo>
                      <a:pt x="147" y="677"/>
                    </a:lnTo>
                    <a:lnTo>
                      <a:pt x="146" y="676"/>
                    </a:lnTo>
                    <a:lnTo>
                      <a:pt x="142" y="679"/>
                    </a:lnTo>
                    <a:lnTo>
                      <a:pt x="143" y="681"/>
                    </a:lnTo>
                    <a:lnTo>
                      <a:pt x="145" y="681"/>
                    </a:lnTo>
                    <a:lnTo>
                      <a:pt x="145" y="688"/>
                    </a:lnTo>
                    <a:lnTo>
                      <a:pt x="143" y="689"/>
                    </a:lnTo>
                    <a:lnTo>
                      <a:pt x="141" y="685"/>
                    </a:lnTo>
                    <a:lnTo>
                      <a:pt x="139" y="687"/>
                    </a:lnTo>
                    <a:lnTo>
                      <a:pt x="141" y="692"/>
                    </a:lnTo>
                    <a:lnTo>
                      <a:pt x="138" y="695"/>
                    </a:lnTo>
                    <a:lnTo>
                      <a:pt x="138" y="695"/>
                    </a:lnTo>
                    <a:lnTo>
                      <a:pt x="139" y="707"/>
                    </a:lnTo>
                    <a:lnTo>
                      <a:pt x="139" y="707"/>
                    </a:lnTo>
                    <a:lnTo>
                      <a:pt x="134" y="718"/>
                    </a:lnTo>
                    <a:lnTo>
                      <a:pt x="133" y="723"/>
                    </a:lnTo>
                    <a:lnTo>
                      <a:pt x="133" y="726"/>
                    </a:lnTo>
                    <a:lnTo>
                      <a:pt x="134" y="727"/>
                    </a:lnTo>
                    <a:lnTo>
                      <a:pt x="133" y="730"/>
                    </a:lnTo>
                    <a:lnTo>
                      <a:pt x="133" y="730"/>
                    </a:lnTo>
                    <a:lnTo>
                      <a:pt x="133" y="736"/>
                    </a:lnTo>
                    <a:lnTo>
                      <a:pt x="131" y="741"/>
                    </a:lnTo>
                    <a:lnTo>
                      <a:pt x="133" y="742"/>
                    </a:lnTo>
                    <a:lnTo>
                      <a:pt x="134" y="742"/>
                    </a:lnTo>
                    <a:lnTo>
                      <a:pt x="134" y="742"/>
                    </a:lnTo>
                    <a:lnTo>
                      <a:pt x="135" y="752"/>
                    </a:lnTo>
                    <a:lnTo>
                      <a:pt x="137" y="756"/>
                    </a:lnTo>
                    <a:lnTo>
                      <a:pt x="138" y="760"/>
                    </a:lnTo>
                    <a:lnTo>
                      <a:pt x="138" y="760"/>
                    </a:lnTo>
                    <a:lnTo>
                      <a:pt x="145" y="760"/>
                    </a:lnTo>
                    <a:lnTo>
                      <a:pt x="152" y="759"/>
                    </a:lnTo>
                    <a:lnTo>
                      <a:pt x="154" y="760"/>
                    </a:lnTo>
                    <a:lnTo>
                      <a:pt x="156" y="763"/>
                    </a:lnTo>
                    <a:lnTo>
                      <a:pt x="156" y="763"/>
                    </a:lnTo>
                    <a:lnTo>
                      <a:pt x="152" y="765"/>
                    </a:lnTo>
                    <a:lnTo>
                      <a:pt x="150" y="770"/>
                    </a:lnTo>
                    <a:lnTo>
                      <a:pt x="149" y="775"/>
                    </a:lnTo>
                    <a:lnTo>
                      <a:pt x="149" y="779"/>
                    </a:lnTo>
                    <a:lnTo>
                      <a:pt x="150" y="779"/>
                    </a:lnTo>
                    <a:lnTo>
                      <a:pt x="150" y="779"/>
                    </a:lnTo>
                    <a:lnTo>
                      <a:pt x="153" y="782"/>
                    </a:lnTo>
                    <a:lnTo>
                      <a:pt x="156" y="787"/>
                    </a:lnTo>
                    <a:lnTo>
                      <a:pt x="154" y="789"/>
                    </a:lnTo>
                    <a:lnTo>
                      <a:pt x="156" y="790"/>
                    </a:lnTo>
                    <a:lnTo>
                      <a:pt x="154" y="791"/>
                    </a:lnTo>
                    <a:lnTo>
                      <a:pt x="152" y="789"/>
                    </a:lnTo>
                    <a:lnTo>
                      <a:pt x="150" y="786"/>
                    </a:lnTo>
                    <a:lnTo>
                      <a:pt x="150" y="794"/>
                    </a:lnTo>
                    <a:lnTo>
                      <a:pt x="149" y="794"/>
                    </a:lnTo>
                    <a:lnTo>
                      <a:pt x="149" y="793"/>
                    </a:lnTo>
                    <a:lnTo>
                      <a:pt x="147" y="799"/>
                    </a:lnTo>
                    <a:lnTo>
                      <a:pt x="147" y="799"/>
                    </a:lnTo>
                    <a:lnTo>
                      <a:pt x="149" y="801"/>
                    </a:lnTo>
                    <a:lnTo>
                      <a:pt x="149" y="802"/>
                    </a:lnTo>
                    <a:lnTo>
                      <a:pt x="149" y="807"/>
                    </a:lnTo>
                    <a:lnTo>
                      <a:pt x="152" y="809"/>
                    </a:lnTo>
                    <a:lnTo>
                      <a:pt x="153" y="807"/>
                    </a:lnTo>
                    <a:lnTo>
                      <a:pt x="152" y="805"/>
                    </a:lnTo>
                    <a:lnTo>
                      <a:pt x="156" y="801"/>
                    </a:lnTo>
                    <a:lnTo>
                      <a:pt x="156" y="812"/>
                    </a:lnTo>
                    <a:lnTo>
                      <a:pt x="158" y="813"/>
                    </a:lnTo>
                    <a:lnTo>
                      <a:pt x="160" y="816"/>
                    </a:lnTo>
                    <a:lnTo>
                      <a:pt x="164" y="818"/>
                    </a:lnTo>
                    <a:lnTo>
                      <a:pt x="168" y="818"/>
                    </a:lnTo>
                    <a:lnTo>
                      <a:pt x="169" y="818"/>
                    </a:lnTo>
                    <a:lnTo>
                      <a:pt x="173" y="816"/>
                    </a:lnTo>
                    <a:lnTo>
                      <a:pt x="176" y="817"/>
                    </a:lnTo>
                    <a:lnTo>
                      <a:pt x="185" y="813"/>
                    </a:lnTo>
                    <a:lnTo>
                      <a:pt x="185" y="813"/>
                    </a:lnTo>
                    <a:lnTo>
                      <a:pt x="188" y="810"/>
                    </a:lnTo>
                    <a:lnTo>
                      <a:pt x="192" y="806"/>
                    </a:lnTo>
                    <a:lnTo>
                      <a:pt x="195" y="803"/>
                    </a:lnTo>
                    <a:lnTo>
                      <a:pt x="198" y="799"/>
                    </a:lnTo>
                    <a:lnTo>
                      <a:pt x="198" y="799"/>
                    </a:lnTo>
                    <a:lnTo>
                      <a:pt x="203" y="798"/>
                    </a:lnTo>
                    <a:lnTo>
                      <a:pt x="206" y="797"/>
                    </a:lnTo>
                    <a:lnTo>
                      <a:pt x="207" y="794"/>
                    </a:lnTo>
                    <a:lnTo>
                      <a:pt x="207" y="794"/>
                    </a:lnTo>
                    <a:lnTo>
                      <a:pt x="214" y="791"/>
                    </a:lnTo>
                    <a:lnTo>
                      <a:pt x="221" y="787"/>
                    </a:lnTo>
                    <a:lnTo>
                      <a:pt x="222" y="783"/>
                    </a:lnTo>
                    <a:lnTo>
                      <a:pt x="225" y="780"/>
                    </a:lnTo>
                    <a:lnTo>
                      <a:pt x="227" y="776"/>
                    </a:lnTo>
                    <a:lnTo>
                      <a:pt x="229" y="778"/>
                    </a:lnTo>
                    <a:lnTo>
                      <a:pt x="226" y="786"/>
                    </a:lnTo>
                    <a:lnTo>
                      <a:pt x="229" y="787"/>
                    </a:lnTo>
                    <a:lnTo>
                      <a:pt x="229" y="789"/>
                    </a:lnTo>
                    <a:lnTo>
                      <a:pt x="232" y="790"/>
                    </a:lnTo>
                    <a:lnTo>
                      <a:pt x="233" y="793"/>
                    </a:lnTo>
                    <a:lnTo>
                      <a:pt x="227" y="797"/>
                    </a:lnTo>
                    <a:lnTo>
                      <a:pt x="225" y="797"/>
                    </a:lnTo>
                    <a:lnTo>
                      <a:pt x="222" y="798"/>
                    </a:lnTo>
                    <a:lnTo>
                      <a:pt x="219" y="798"/>
                    </a:lnTo>
                    <a:lnTo>
                      <a:pt x="217" y="801"/>
                    </a:lnTo>
                    <a:lnTo>
                      <a:pt x="219" y="806"/>
                    </a:lnTo>
                    <a:lnTo>
                      <a:pt x="219" y="806"/>
                    </a:lnTo>
                    <a:lnTo>
                      <a:pt x="225" y="807"/>
                    </a:lnTo>
                    <a:lnTo>
                      <a:pt x="232" y="807"/>
                    </a:lnTo>
                    <a:lnTo>
                      <a:pt x="232" y="809"/>
                    </a:lnTo>
                    <a:lnTo>
                      <a:pt x="227" y="810"/>
                    </a:lnTo>
                    <a:lnTo>
                      <a:pt x="227" y="812"/>
                    </a:lnTo>
                    <a:lnTo>
                      <a:pt x="229" y="813"/>
                    </a:lnTo>
                    <a:lnTo>
                      <a:pt x="229" y="813"/>
                    </a:lnTo>
                    <a:lnTo>
                      <a:pt x="233" y="813"/>
                    </a:lnTo>
                    <a:lnTo>
                      <a:pt x="237" y="810"/>
                    </a:lnTo>
                    <a:lnTo>
                      <a:pt x="244" y="812"/>
                    </a:lnTo>
                    <a:lnTo>
                      <a:pt x="246" y="810"/>
                    </a:lnTo>
                    <a:lnTo>
                      <a:pt x="248" y="810"/>
                    </a:lnTo>
                    <a:lnTo>
                      <a:pt x="248" y="810"/>
                    </a:lnTo>
                    <a:lnTo>
                      <a:pt x="255" y="803"/>
                    </a:lnTo>
                    <a:lnTo>
                      <a:pt x="259" y="799"/>
                    </a:lnTo>
                    <a:lnTo>
                      <a:pt x="261" y="795"/>
                    </a:lnTo>
                    <a:lnTo>
                      <a:pt x="268" y="794"/>
                    </a:lnTo>
                    <a:lnTo>
                      <a:pt x="264" y="793"/>
                    </a:lnTo>
                    <a:lnTo>
                      <a:pt x="264" y="793"/>
                    </a:lnTo>
                    <a:lnTo>
                      <a:pt x="265" y="790"/>
                    </a:lnTo>
                    <a:lnTo>
                      <a:pt x="268" y="787"/>
                    </a:lnTo>
                    <a:lnTo>
                      <a:pt x="275" y="784"/>
                    </a:lnTo>
                    <a:lnTo>
                      <a:pt x="280" y="774"/>
                    </a:lnTo>
                    <a:lnTo>
                      <a:pt x="282" y="774"/>
                    </a:lnTo>
                    <a:lnTo>
                      <a:pt x="290" y="776"/>
                    </a:lnTo>
                    <a:lnTo>
                      <a:pt x="290" y="776"/>
                    </a:lnTo>
                    <a:lnTo>
                      <a:pt x="289" y="779"/>
                    </a:lnTo>
                    <a:lnTo>
                      <a:pt x="286" y="783"/>
                    </a:lnTo>
                    <a:lnTo>
                      <a:pt x="283" y="786"/>
                    </a:lnTo>
                    <a:lnTo>
                      <a:pt x="283" y="790"/>
                    </a:lnTo>
                    <a:lnTo>
                      <a:pt x="283" y="790"/>
                    </a:lnTo>
                    <a:lnTo>
                      <a:pt x="268" y="803"/>
                    </a:lnTo>
                    <a:lnTo>
                      <a:pt x="268" y="803"/>
                    </a:lnTo>
                    <a:lnTo>
                      <a:pt x="264" y="809"/>
                    </a:lnTo>
                    <a:lnTo>
                      <a:pt x="264" y="809"/>
                    </a:lnTo>
                    <a:lnTo>
                      <a:pt x="261" y="810"/>
                    </a:lnTo>
                    <a:lnTo>
                      <a:pt x="261" y="810"/>
                    </a:lnTo>
                    <a:lnTo>
                      <a:pt x="259" y="813"/>
                    </a:lnTo>
                    <a:lnTo>
                      <a:pt x="256" y="814"/>
                    </a:lnTo>
                    <a:lnTo>
                      <a:pt x="256" y="814"/>
                    </a:lnTo>
                    <a:lnTo>
                      <a:pt x="246" y="814"/>
                    </a:lnTo>
                    <a:lnTo>
                      <a:pt x="238" y="816"/>
                    </a:lnTo>
                    <a:lnTo>
                      <a:pt x="236" y="820"/>
                    </a:lnTo>
                    <a:lnTo>
                      <a:pt x="236" y="820"/>
                    </a:lnTo>
                    <a:lnTo>
                      <a:pt x="230" y="821"/>
                    </a:lnTo>
                    <a:lnTo>
                      <a:pt x="225" y="824"/>
                    </a:lnTo>
                    <a:lnTo>
                      <a:pt x="225" y="824"/>
                    </a:lnTo>
                    <a:lnTo>
                      <a:pt x="218" y="824"/>
                    </a:lnTo>
                    <a:lnTo>
                      <a:pt x="211" y="826"/>
                    </a:lnTo>
                    <a:lnTo>
                      <a:pt x="211" y="825"/>
                    </a:lnTo>
                    <a:lnTo>
                      <a:pt x="211" y="825"/>
                    </a:lnTo>
                    <a:lnTo>
                      <a:pt x="213" y="822"/>
                    </a:lnTo>
                    <a:lnTo>
                      <a:pt x="215" y="820"/>
                    </a:lnTo>
                    <a:lnTo>
                      <a:pt x="215" y="820"/>
                    </a:lnTo>
                    <a:lnTo>
                      <a:pt x="211" y="820"/>
                    </a:lnTo>
                    <a:lnTo>
                      <a:pt x="209" y="820"/>
                    </a:lnTo>
                    <a:lnTo>
                      <a:pt x="210" y="822"/>
                    </a:lnTo>
                    <a:lnTo>
                      <a:pt x="209" y="824"/>
                    </a:lnTo>
                    <a:lnTo>
                      <a:pt x="206" y="822"/>
                    </a:lnTo>
                    <a:lnTo>
                      <a:pt x="203" y="825"/>
                    </a:lnTo>
                    <a:lnTo>
                      <a:pt x="203" y="826"/>
                    </a:lnTo>
                    <a:lnTo>
                      <a:pt x="200" y="828"/>
                    </a:lnTo>
                    <a:lnTo>
                      <a:pt x="200" y="831"/>
                    </a:lnTo>
                    <a:lnTo>
                      <a:pt x="203" y="831"/>
                    </a:lnTo>
                    <a:lnTo>
                      <a:pt x="204" y="832"/>
                    </a:lnTo>
                    <a:lnTo>
                      <a:pt x="204" y="832"/>
                    </a:lnTo>
                    <a:lnTo>
                      <a:pt x="200" y="833"/>
                    </a:lnTo>
                    <a:lnTo>
                      <a:pt x="196" y="832"/>
                    </a:lnTo>
                    <a:lnTo>
                      <a:pt x="194" y="833"/>
                    </a:lnTo>
                    <a:lnTo>
                      <a:pt x="194" y="836"/>
                    </a:lnTo>
                    <a:lnTo>
                      <a:pt x="194" y="836"/>
                    </a:lnTo>
                    <a:lnTo>
                      <a:pt x="188" y="840"/>
                    </a:lnTo>
                    <a:lnTo>
                      <a:pt x="187" y="843"/>
                    </a:lnTo>
                    <a:lnTo>
                      <a:pt x="184" y="844"/>
                    </a:lnTo>
                    <a:lnTo>
                      <a:pt x="188" y="845"/>
                    </a:lnTo>
                    <a:lnTo>
                      <a:pt x="188" y="847"/>
                    </a:lnTo>
                    <a:lnTo>
                      <a:pt x="184" y="850"/>
                    </a:lnTo>
                    <a:lnTo>
                      <a:pt x="184" y="851"/>
                    </a:lnTo>
                    <a:lnTo>
                      <a:pt x="184" y="851"/>
                    </a:lnTo>
                    <a:lnTo>
                      <a:pt x="187" y="855"/>
                    </a:lnTo>
                    <a:lnTo>
                      <a:pt x="188" y="859"/>
                    </a:lnTo>
                    <a:lnTo>
                      <a:pt x="184" y="858"/>
                    </a:lnTo>
                    <a:lnTo>
                      <a:pt x="183" y="859"/>
                    </a:lnTo>
                    <a:lnTo>
                      <a:pt x="188" y="860"/>
                    </a:lnTo>
                    <a:lnTo>
                      <a:pt x="191" y="859"/>
                    </a:lnTo>
                    <a:lnTo>
                      <a:pt x="195" y="860"/>
                    </a:lnTo>
                    <a:lnTo>
                      <a:pt x="198" y="859"/>
                    </a:lnTo>
                    <a:lnTo>
                      <a:pt x="198" y="859"/>
                    </a:lnTo>
                    <a:lnTo>
                      <a:pt x="202" y="860"/>
                    </a:lnTo>
                    <a:lnTo>
                      <a:pt x="206" y="860"/>
                    </a:lnTo>
                    <a:lnTo>
                      <a:pt x="210" y="859"/>
                    </a:lnTo>
                    <a:lnTo>
                      <a:pt x="214" y="856"/>
                    </a:lnTo>
                    <a:lnTo>
                      <a:pt x="217" y="856"/>
                    </a:lnTo>
                    <a:lnTo>
                      <a:pt x="219" y="859"/>
                    </a:lnTo>
                    <a:lnTo>
                      <a:pt x="222" y="859"/>
                    </a:lnTo>
                    <a:lnTo>
                      <a:pt x="223" y="859"/>
                    </a:lnTo>
                    <a:lnTo>
                      <a:pt x="223" y="864"/>
                    </a:lnTo>
                    <a:lnTo>
                      <a:pt x="230" y="862"/>
                    </a:lnTo>
                    <a:lnTo>
                      <a:pt x="230" y="859"/>
                    </a:lnTo>
                    <a:lnTo>
                      <a:pt x="232" y="859"/>
                    </a:lnTo>
                    <a:lnTo>
                      <a:pt x="232" y="860"/>
                    </a:lnTo>
                    <a:lnTo>
                      <a:pt x="233" y="862"/>
                    </a:lnTo>
                    <a:lnTo>
                      <a:pt x="233" y="864"/>
                    </a:lnTo>
                    <a:lnTo>
                      <a:pt x="234" y="866"/>
                    </a:lnTo>
                    <a:lnTo>
                      <a:pt x="238" y="863"/>
                    </a:lnTo>
                    <a:lnTo>
                      <a:pt x="241" y="864"/>
                    </a:lnTo>
                    <a:lnTo>
                      <a:pt x="246" y="860"/>
                    </a:lnTo>
                    <a:lnTo>
                      <a:pt x="246" y="862"/>
                    </a:lnTo>
                    <a:lnTo>
                      <a:pt x="249" y="862"/>
                    </a:lnTo>
                    <a:lnTo>
                      <a:pt x="253" y="859"/>
                    </a:lnTo>
                    <a:lnTo>
                      <a:pt x="253" y="859"/>
                    </a:lnTo>
                    <a:lnTo>
                      <a:pt x="256" y="860"/>
                    </a:lnTo>
                    <a:lnTo>
                      <a:pt x="259" y="860"/>
                    </a:lnTo>
                    <a:lnTo>
                      <a:pt x="259" y="862"/>
                    </a:lnTo>
                    <a:lnTo>
                      <a:pt x="257" y="863"/>
                    </a:lnTo>
                    <a:lnTo>
                      <a:pt x="257" y="864"/>
                    </a:lnTo>
                    <a:lnTo>
                      <a:pt x="259" y="864"/>
                    </a:lnTo>
                    <a:lnTo>
                      <a:pt x="259" y="864"/>
                    </a:lnTo>
                    <a:lnTo>
                      <a:pt x="260" y="859"/>
                    </a:lnTo>
                    <a:lnTo>
                      <a:pt x="263" y="854"/>
                    </a:lnTo>
                    <a:lnTo>
                      <a:pt x="263" y="854"/>
                    </a:lnTo>
                    <a:lnTo>
                      <a:pt x="268" y="852"/>
                    </a:lnTo>
                    <a:lnTo>
                      <a:pt x="271" y="848"/>
                    </a:lnTo>
                    <a:lnTo>
                      <a:pt x="271" y="844"/>
                    </a:lnTo>
                    <a:lnTo>
                      <a:pt x="275" y="840"/>
                    </a:lnTo>
                    <a:lnTo>
                      <a:pt x="278" y="840"/>
                    </a:lnTo>
                    <a:lnTo>
                      <a:pt x="280" y="837"/>
                    </a:lnTo>
                    <a:lnTo>
                      <a:pt x="284" y="839"/>
                    </a:lnTo>
                    <a:lnTo>
                      <a:pt x="290" y="835"/>
                    </a:lnTo>
                    <a:lnTo>
                      <a:pt x="290" y="837"/>
                    </a:lnTo>
                    <a:lnTo>
                      <a:pt x="293" y="837"/>
                    </a:lnTo>
                    <a:lnTo>
                      <a:pt x="293" y="837"/>
                    </a:lnTo>
                    <a:lnTo>
                      <a:pt x="286" y="841"/>
                    </a:lnTo>
                    <a:lnTo>
                      <a:pt x="280" y="843"/>
                    </a:lnTo>
                    <a:lnTo>
                      <a:pt x="278" y="841"/>
                    </a:lnTo>
                    <a:lnTo>
                      <a:pt x="272" y="844"/>
                    </a:lnTo>
                    <a:lnTo>
                      <a:pt x="274" y="848"/>
                    </a:lnTo>
                    <a:lnTo>
                      <a:pt x="274" y="848"/>
                    </a:lnTo>
                    <a:lnTo>
                      <a:pt x="268" y="855"/>
                    </a:lnTo>
                    <a:lnTo>
                      <a:pt x="263" y="860"/>
                    </a:lnTo>
                    <a:lnTo>
                      <a:pt x="263" y="863"/>
                    </a:lnTo>
                    <a:lnTo>
                      <a:pt x="263" y="863"/>
                    </a:lnTo>
                    <a:lnTo>
                      <a:pt x="265" y="869"/>
                    </a:lnTo>
                    <a:lnTo>
                      <a:pt x="268" y="871"/>
                    </a:lnTo>
                    <a:lnTo>
                      <a:pt x="272" y="873"/>
                    </a:lnTo>
                    <a:lnTo>
                      <a:pt x="276" y="875"/>
                    </a:lnTo>
                    <a:lnTo>
                      <a:pt x="276" y="875"/>
                    </a:lnTo>
                    <a:lnTo>
                      <a:pt x="279" y="879"/>
                    </a:lnTo>
                    <a:lnTo>
                      <a:pt x="280" y="882"/>
                    </a:lnTo>
                    <a:lnTo>
                      <a:pt x="283" y="885"/>
                    </a:lnTo>
                    <a:lnTo>
                      <a:pt x="287" y="886"/>
                    </a:lnTo>
                    <a:lnTo>
                      <a:pt x="287" y="886"/>
                    </a:lnTo>
                    <a:lnTo>
                      <a:pt x="293" y="889"/>
                    </a:lnTo>
                    <a:lnTo>
                      <a:pt x="297" y="890"/>
                    </a:lnTo>
                    <a:lnTo>
                      <a:pt x="298" y="892"/>
                    </a:lnTo>
                    <a:lnTo>
                      <a:pt x="306" y="888"/>
                    </a:lnTo>
                    <a:lnTo>
                      <a:pt x="308" y="889"/>
                    </a:lnTo>
                    <a:lnTo>
                      <a:pt x="306" y="892"/>
                    </a:lnTo>
                    <a:lnTo>
                      <a:pt x="302" y="893"/>
                    </a:lnTo>
                    <a:lnTo>
                      <a:pt x="301" y="894"/>
                    </a:lnTo>
                    <a:lnTo>
                      <a:pt x="298" y="896"/>
                    </a:lnTo>
                    <a:lnTo>
                      <a:pt x="294" y="902"/>
                    </a:lnTo>
                    <a:lnTo>
                      <a:pt x="293" y="902"/>
                    </a:lnTo>
                    <a:lnTo>
                      <a:pt x="290" y="900"/>
                    </a:lnTo>
                    <a:lnTo>
                      <a:pt x="289" y="898"/>
                    </a:lnTo>
                    <a:lnTo>
                      <a:pt x="289" y="897"/>
                    </a:lnTo>
                    <a:lnTo>
                      <a:pt x="289" y="897"/>
                    </a:lnTo>
                    <a:lnTo>
                      <a:pt x="282" y="892"/>
                    </a:lnTo>
                    <a:lnTo>
                      <a:pt x="275" y="888"/>
                    </a:lnTo>
                    <a:lnTo>
                      <a:pt x="275" y="888"/>
                    </a:lnTo>
                    <a:lnTo>
                      <a:pt x="270" y="881"/>
                    </a:lnTo>
                    <a:lnTo>
                      <a:pt x="270" y="881"/>
                    </a:lnTo>
                    <a:lnTo>
                      <a:pt x="267" y="878"/>
                    </a:lnTo>
                    <a:lnTo>
                      <a:pt x="267" y="878"/>
                    </a:lnTo>
                    <a:lnTo>
                      <a:pt x="260" y="867"/>
                    </a:lnTo>
                    <a:lnTo>
                      <a:pt x="256" y="866"/>
                    </a:lnTo>
                    <a:lnTo>
                      <a:pt x="255" y="867"/>
                    </a:lnTo>
                    <a:lnTo>
                      <a:pt x="252" y="867"/>
                    </a:lnTo>
                    <a:lnTo>
                      <a:pt x="252" y="867"/>
                    </a:lnTo>
                    <a:lnTo>
                      <a:pt x="249" y="869"/>
                    </a:lnTo>
                    <a:lnTo>
                      <a:pt x="245" y="871"/>
                    </a:lnTo>
                    <a:lnTo>
                      <a:pt x="236" y="875"/>
                    </a:lnTo>
                    <a:lnTo>
                      <a:pt x="233" y="874"/>
                    </a:lnTo>
                    <a:lnTo>
                      <a:pt x="233" y="874"/>
                    </a:lnTo>
                    <a:lnTo>
                      <a:pt x="230" y="875"/>
                    </a:lnTo>
                    <a:lnTo>
                      <a:pt x="229" y="877"/>
                    </a:lnTo>
                    <a:lnTo>
                      <a:pt x="219" y="879"/>
                    </a:lnTo>
                    <a:lnTo>
                      <a:pt x="219" y="879"/>
                    </a:lnTo>
                    <a:lnTo>
                      <a:pt x="214" y="885"/>
                    </a:lnTo>
                    <a:lnTo>
                      <a:pt x="211" y="892"/>
                    </a:lnTo>
                    <a:lnTo>
                      <a:pt x="211" y="894"/>
                    </a:lnTo>
                    <a:lnTo>
                      <a:pt x="217" y="894"/>
                    </a:lnTo>
                    <a:lnTo>
                      <a:pt x="219" y="896"/>
                    </a:lnTo>
                    <a:lnTo>
                      <a:pt x="219" y="898"/>
                    </a:lnTo>
                    <a:lnTo>
                      <a:pt x="222" y="898"/>
                    </a:lnTo>
                    <a:lnTo>
                      <a:pt x="222" y="902"/>
                    </a:lnTo>
                    <a:lnTo>
                      <a:pt x="219" y="902"/>
                    </a:lnTo>
                    <a:lnTo>
                      <a:pt x="218" y="907"/>
                    </a:lnTo>
                    <a:lnTo>
                      <a:pt x="218" y="909"/>
                    </a:lnTo>
                    <a:lnTo>
                      <a:pt x="215" y="911"/>
                    </a:lnTo>
                    <a:lnTo>
                      <a:pt x="215" y="911"/>
                    </a:lnTo>
                    <a:lnTo>
                      <a:pt x="215" y="912"/>
                    </a:lnTo>
                    <a:lnTo>
                      <a:pt x="215" y="912"/>
                    </a:lnTo>
                    <a:lnTo>
                      <a:pt x="206" y="919"/>
                    </a:lnTo>
                    <a:lnTo>
                      <a:pt x="200" y="923"/>
                    </a:lnTo>
                    <a:lnTo>
                      <a:pt x="198" y="928"/>
                    </a:lnTo>
                    <a:lnTo>
                      <a:pt x="199" y="928"/>
                    </a:lnTo>
                    <a:lnTo>
                      <a:pt x="198" y="932"/>
                    </a:lnTo>
                    <a:lnTo>
                      <a:pt x="198" y="935"/>
                    </a:lnTo>
                    <a:lnTo>
                      <a:pt x="200" y="938"/>
                    </a:lnTo>
                    <a:lnTo>
                      <a:pt x="202" y="942"/>
                    </a:lnTo>
                    <a:lnTo>
                      <a:pt x="206" y="943"/>
                    </a:lnTo>
                    <a:lnTo>
                      <a:pt x="206" y="945"/>
                    </a:lnTo>
                    <a:lnTo>
                      <a:pt x="211" y="946"/>
                    </a:lnTo>
                    <a:lnTo>
                      <a:pt x="211" y="946"/>
                    </a:lnTo>
                    <a:lnTo>
                      <a:pt x="219" y="945"/>
                    </a:lnTo>
                    <a:lnTo>
                      <a:pt x="226" y="943"/>
                    </a:lnTo>
                    <a:lnTo>
                      <a:pt x="226" y="943"/>
                    </a:lnTo>
                    <a:lnTo>
                      <a:pt x="227" y="945"/>
                    </a:lnTo>
                    <a:lnTo>
                      <a:pt x="232" y="946"/>
                    </a:lnTo>
                    <a:lnTo>
                      <a:pt x="237" y="947"/>
                    </a:lnTo>
                    <a:lnTo>
                      <a:pt x="240" y="953"/>
                    </a:lnTo>
                    <a:lnTo>
                      <a:pt x="242" y="950"/>
                    </a:lnTo>
                    <a:lnTo>
                      <a:pt x="245" y="951"/>
                    </a:lnTo>
                    <a:lnTo>
                      <a:pt x="246" y="953"/>
                    </a:lnTo>
                    <a:lnTo>
                      <a:pt x="246" y="955"/>
                    </a:lnTo>
                    <a:lnTo>
                      <a:pt x="248" y="957"/>
                    </a:lnTo>
                    <a:lnTo>
                      <a:pt x="248" y="958"/>
                    </a:lnTo>
                    <a:lnTo>
                      <a:pt x="249" y="962"/>
                    </a:lnTo>
                    <a:lnTo>
                      <a:pt x="248" y="963"/>
                    </a:lnTo>
                    <a:lnTo>
                      <a:pt x="257" y="970"/>
                    </a:lnTo>
                    <a:lnTo>
                      <a:pt x="257" y="970"/>
                    </a:lnTo>
                    <a:lnTo>
                      <a:pt x="260" y="970"/>
                    </a:lnTo>
                    <a:lnTo>
                      <a:pt x="264" y="969"/>
                    </a:lnTo>
                    <a:lnTo>
                      <a:pt x="268" y="968"/>
                    </a:lnTo>
                    <a:lnTo>
                      <a:pt x="271" y="968"/>
                    </a:lnTo>
                    <a:lnTo>
                      <a:pt x="272" y="970"/>
                    </a:lnTo>
                    <a:lnTo>
                      <a:pt x="272" y="970"/>
                    </a:lnTo>
                    <a:lnTo>
                      <a:pt x="275" y="969"/>
                    </a:lnTo>
                    <a:lnTo>
                      <a:pt x="282" y="968"/>
                    </a:lnTo>
                    <a:lnTo>
                      <a:pt x="289" y="965"/>
                    </a:lnTo>
                    <a:lnTo>
                      <a:pt x="293" y="962"/>
                    </a:lnTo>
                    <a:lnTo>
                      <a:pt x="297" y="962"/>
                    </a:lnTo>
                    <a:lnTo>
                      <a:pt x="297" y="962"/>
                    </a:lnTo>
                    <a:lnTo>
                      <a:pt x="302" y="965"/>
                    </a:lnTo>
                    <a:lnTo>
                      <a:pt x="308" y="965"/>
                    </a:lnTo>
                    <a:lnTo>
                      <a:pt x="309" y="966"/>
                    </a:lnTo>
                    <a:lnTo>
                      <a:pt x="308" y="968"/>
                    </a:lnTo>
                    <a:lnTo>
                      <a:pt x="297" y="966"/>
                    </a:lnTo>
                    <a:lnTo>
                      <a:pt x="293" y="968"/>
                    </a:lnTo>
                    <a:lnTo>
                      <a:pt x="293" y="968"/>
                    </a:lnTo>
                    <a:lnTo>
                      <a:pt x="289" y="968"/>
                    </a:lnTo>
                    <a:lnTo>
                      <a:pt x="284" y="969"/>
                    </a:lnTo>
                    <a:lnTo>
                      <a:pt x="278" y="972"/>
                    </a:lnTo>
                    <a:lnTo>
                      <a:pt x="275" y="970"/>
                    </a:lnTo>
                    <a:lnTo>
                      <a:pt x="275" y="970"/>
                    </a:lnTo>
                    <a:lnTo>
                      <a:pt x="272" y="973"/>
                    </a:lnTo>
                    <a:lnTo>
                      <a:pt x="268" y="973"/>
                    </a:lnTo>
                    <a:lnTo>
                      <a:pt x="263" y="974"/>
                    </a:lnTo>
                    <a:lnTo>
                      <a:pt x="263" y="974"/>
                    </a:lnTo>
                    <a:lnTo>
                      <a:pt x="261" y="977"/>
                    </a:lnTo>
                    <a:lnTo>
                      <a:pt x="260" y="981"/>
                    </a:lnTo>
                    <a:lnTo>
                      <a:pt x="260" y="981"/>
                    </a:lnTo>
                    <a:lnTo>
                      <a:pt x="260" y="981"/>
                    </a:lnTo>
                    <a:lnTo>
                      <a:pt x="252" y="977"/>
                    </a:lnTo>
                    <a:lnTo>
                      <a:pt x="248" y="974"/>
                    </a:lnTo>
                    <a:lnTo>
                      <a:pt x="246" y="972"/>
                    </a:lnTo>
                    <a:lnTo>
                      <a:pt x="244" y="974"/>
                    </a:lnTo>
                    <a:lnTo>
                      <a:pt x="242" y="973"/>
                    </a:lnTo>
                    <a:lnTo>
                      <a:pt x="242" y="970"/>
                    </a:lnTo>
                    <a:lnTo>
                      <a:pt x="238" y="968"/>
                    </a:lnTo>
                    <a:lnTo>
                      <a:pt x="238" y="966"/>
                    </a:lnTo>
                    <a:lnTo>
                      <a:pt x="233" y="959"/>
                    </a:lnTo>
                    <a:lnTo>
                      <a:pt x="218" y="958"/>
                    </a:lnTo>
                    <a:lnTo>
                      <a:pt x="217" y="955"/>
                    </a:lnTo>
                    <a:lnTo>
                      <a:pt x="217" y="955"/>
                    </a:lnTo>
                    <a:lnTo>
                      <a:pt x="214" y="955"/>
                    </a:lnTo>
                    <a:lnTo>
                      <a:pt x="210" y="955"/>
                    </a:lnTo>
                    <a:lnTo>
                      <a:pt x="207" y="958"/>
                    </a:lnTo>
                    <a:lnTo>
                      <a:pt x="206" y="958"/>
                    </a:lnTo>
                    <a:lnTo>
                      <a:pt x="202" y="961"/>
                    </a:lnTo>
                    <a:lnTo>
                      <a:pt x="202" y="961"/>
                    </a:lnTo>
                    <a:lnTo>
                      <a:pt x="199" y="959"/>
                    </a:lnTo>
                    <a:lnTo>
                      <a:pt x="195" y="959"/>
                    </a:lnTo>
                    <a:lnTo>
                      <a:pt x="187" y="961"/>
                    </a:lnTo>
                    <a:lnTo>
                      <a:pt x="185" y="962"/>
                    </a:lnTo>
                    <a:lnTo>
                      <a:pt x="184" y="972"/>
                    </a:lnTo>
                    <a:lnTo>
                      <a:pt x="179" y="976"/>
                    </a:lnTo>
                    <a:lnTo>
                      <a:pt x="177" y="974"/>
                    </a:lnTo>
                    <a:lnTo>
                      <a:pt x="176" y="976"/>
                    </a:lnTo>
                    <a:lnTo>
                      <a:pt x="177" y="977"/>
                    </a:lnTo>
                    <a:lnTo>
                      <a:pt x="171" y="980"/>
                    </a:lnTo>
                    <a:lnTo>
                      <a:pt x="171" y="982"/>
                    </a:lnTo>
                    <a:lnTo>
                      <a:pt x="168" y="981"/>
                    </a:lnTo>
                    <a:lnTo>
                      <a:pt x="169" y="980"/>
                    </a:lnTo>
                    <a:lnTo>
                      <a:pt x="168" y="980"/>
                    </a:lnTo>
                    <a:lnTo>
                      <a:pt x="168" y="982"/>
                    </a:lnTo>
                    <a:lnTo>
                      <a:pt x="168" y="982"/>
                    </a:lnTo>
                    <a:lnTo>
                      <a:pt x="166" y="987"/>
                    </a:lnTo>
                    <a:lnTo>
                      <a:pt x="162" y="989"/>
                    </a:lnTo>
                    <a:lnTo>
                      <a:pt x="162" y="992"/>
                    </a:lnTo>
                    <a:lnTo>
                      <a:pt x="158" y="992"/>
                    </a:lnTo>
                    <a:lnTo>
                      <a:pt x="158" y="993"/>
                    </a:lnTo>
                    <a:lnTo>
                      <a:pt x="160" y="993"/>
                    </a:lnTo>
                    <a:lnTo>
                      <a:pt x="160" y="997"/>
                    </a:lnTo>
                    <a:lnTo>
                      <a:pt x="161" y="999"/>
                    </a:lnTo>
                    <a:lnTo>
                      <a:pt x="161" y="1000"/>
                    </a:lnTo>
                    <a:lnTo>
                      <a:pt x="162" y="1001"/>
                    </a:lnTo>
                    <a:lnTo>
                      <a:pt x="162" y="1003"/>
                    </a:lnTo>
                    <a:lnTo>
                      <a:pt x="165" y="1003"/>
                    </a:lnTo>
                    <a:lnTo>
                      <a:pt x="165" y="1006"/>
                    </a:lnTo>
                    <a:lnTo>
                      <a:pt x="168" y="1006"/>
                    </a:lnTo>
                    <a:lnTo>
                      <a:pt x="171" y="1001"/>
                    </a:lnTo>
                    <a:lnTo>
                      <a:pt x="172" y="1003"/>
                    </a:lnTo>
                    <a:lnTo>
                      <a:pt x="173" y="1004"/>
                    </a:lnTo>
                    <a:lnTo>
                      <a:pt x="173" y="1006"/>
                    </a:lnTo>
                    <a:lnTo>
                      <a:pt x="173" y="1007"/>
                    </a:lnTo>
                    <a:lnTo>
                      <a:pt x="173" y="1008"/>
                    </a:lnTo>
                    <a:lnTo>
                      <a:pt x="175" y="1011"/>
                    </a:lnTo>
                    <a:lnTo>
                      <a:pt x="175" y="1012"/>
                    </a:lnTo>
                    <a:lnTo>
                      <a:pt x="179" y="1016"/>
                    </a:lnTo>
                    <a:lnTo>
                      <a:pt x="181" y="1016"/>
                    </a:lnTo>
                    <a:lnTo>
                      <a:pt x="183" y="1014"/>
                    </a:lnTo>
                    <a:lnTo>
                      <a:pt x="181" y="1012"/>
                    </a:lnTo>
                    <a:lnTo>
                      <a:pt x="179" y="1012"/>
                    </a:lnTo>
                    <a:lnTo>
                      <a:pt x="179" y="1012"/>
                    </a:lnTo>
                    <a:lnTo>
                      <a:pt x="185" y="1010"/>
                    </a:lnTo>
                    <a:lnTo>
                      <a:pt x="192" y="1008"/>
                    </a:lnTo>
                    <a:lnTo>
                      <a:pt x="199" y="1010"/>
                    </a:lnTo>
                    <a:lnTo>
                      <a:pt x="204" y="1012"/>
                    </a:lnTo>
                    <a:lnTo>
                      <a:pt x="206" y="1016"/>
                    </a:lnTo>
                    <a:lnTo>
                      <a:pt x="202" y="1018"/>
                    </a:lnTo>
                    <a:lnTo>
                      <a:pt x="200" y="1022"/>
                    </a:lnTo>
                    <a:lnTo>
                      <a:pt x="200" y="1022"/>
                    </a:lnTo>
                    <a:lnTo>
                      <a:pt x="202" y="1025"/>
                    </a:lnTo>
                    <a:lnTo>
                      <a:pt x="202" y="1027"/>
                    </a:lnTo>
                    <a:lnTo>
                      <a:pt x="206" y="1031"/>
                    </a:lnTo>
                    <a:lnTo>
                      <a:pt x="207" y="1035"/>
                    </a:lnTo>
                    <a:lnTo>
                      <a:pt x="207" y="1035"/>
                    </a:lnTo>
                    <a:lnTo>
                      <a:pt x="209" y="1038"/>
                    </a:lnTo>
                    <a:lnTo>
                      <a:pt x="211" y="1039"/>
                    </a:lnTo>
                    <a:lnTo>
                      <a:pt x="214" y="1038"/>
                    </a:lnTo>
                    <a:lnTo>
                      <a:pt x="217" y="1039"/>
                    </a:lnTo>
                    <a:lnTo>
                      <a:pt x="217" y="1042"/>
                    </a:lnTo>
                    <a:lnTo>
                      <a:pt x="222" y="1044"/>
                    </a:lnTo>
                    <a:lnTo>
                      <a:pt x="222" y="1045"/>
                    </a:lnTo>
                    <a:lnTo>
                      <a:pt x="223" y="1045"/>
                    </a:lnTo>
                    <a:lnTo>
                      <a:pt x="234" y="1038"/>
                    </a:lnTo>
                    <a:lnTo>
                      <a:pt x="238" y="1039"/>
                    </a:lnTo>
                    <a:lnTo>
                      <a:pt x="238" y="1039"/>
                    </a:lnTo>
                    <a:lnTo>
                      <a:pt x="241" y="1038"/>
                    </a:lnTo>
                    <a:lnTo>
                      <a:pt x="244" y="1037"/>
                    </a:lnTo>
                    <a:lnTo>
                      <a:pt x="245" y="1037"/>
                    </a:lnTo>
                    <a:lnTo>
                      <a:pt x="248" y="1035"/>
                    </a:lnTo>
                    <a:lnTo>
                      <a:pt x="251" y="1035"/>
                    </a:lnTo>
                    <a:lnTo>
                      <a:pt x="255" y="1033"/>
                    </a:lnTo>
                    <a:lnTo>
                      <a:pt x="256" y="1033"/>
                    </a:lnTo>
                    <a:lnTo>
                      <a:pt x="260" y="1030"/>
                    </a:lnTo>
                    <a:lnTo>
                      <a:pt x="261" y="1030"/>
                    </a:lnTo>
                    <a:lnTo>
                      <a:pt x="260" y="1035"/>
                    </a:lnTo>
                    <a:lnTo>
                      <a:pt x="263" y="1035"/>
                    </a:lnTo>
                    <a:lnTo>
                      <a:pt x="264" y="1038"/>
                    </a:lnTo>
                    <a:lnTo>
                      <a:pt x="264" y="1038"/>
                    </a:lnTo>
                    <a:lnTo>
                      <a:pt x="259" y="1038"/>
                    </a:lnTo>
                    <a:lnTo>
                      <a:pt x="249" y="1041"/>
                    </a:lnTo>
                    <a:lnTo>
                      <a:pt x="240" y="1044"/>
                    </a:lnTo>
                    <a:lnTo>
                      <a:pt x="236" y="1046"/>
                    </a:lnTo>
                    <a:lnTo>
                      <a:pt x="230" y="1045"/>
                    </a:lnTo>
                    <a:lnTo>
                      <a:pt x="225" y="1046"/>
                    </a:lnTo>
                    <a:lnTo>
                      <a:pt x="223" y="1049"/>
                    </a:lnTo>
                    <a:lnTo>
                      <a:pt x="218" y="1050"/>
                    </a:lnTo>
                    <a:lnTo>
                      <a:pt x="219" y="1052"/>
                    </a:lnTo>
                    <a:lnTo>
                      <a:pt x="217" y="1052"/>
                    </a:lnTo>
                    <a:lnTo>
                      <a:pt x="215" y="1049"/>
                    </a:lnTo>
                    <a:lnTo>
                      <a:pt x="211" y="1048"/>
                    </a:lnTo>
                    <a:lnTo>
                      <a:pt x="210" y="1049"/>
                    </a:lnTo>
                    <a:lnTo>
                      <a:pt x="210" y="1049"/>
                    </a:lnTo>
                    <a:lnTo>
                      <a:pt x="203" y="1048"/>
                    </a:lnTo>
                    <a:lnTo>
                      <a:pt x="198" y="1044"/>
                    </a:lnTo>
                    <a:lnTo>
                      <a:pt x="198" y="1041"/>
                    </a:lnTo>
                    <a:lnTo>
                      <a:pt x="196" y="1042"/>
                    </a:lnTo>
                    <a:lnTo>
                      <a:pt x="191" y="1039"/>
                    </a:lnTo>
                    <a:lnTo>
                      <a:pt x="191" y="1039"/>
                    </a:lnTo>
                    <a:lnTo>
                      <a:pt x="190" y="1034"/>
                    </a:lnTo>
                    <a:lnTo>
                      <a:pt x="187" y="1031"/>
                    </a:lnTo>
                    <a:lnTo>
                      <a:pt x="185" y="1027"/>
                    </a:lnTo>
                    <a:lnTo>
                      <a:pt x="184" y="1023"/>
                    </a:lnTo>
                    <a:lnTo>
                      <a:pt x="184" y="1023"/>
                    </a:lnTo>
                    <a:lnTo>
                      <a:pt x="176" y="1023"/>
                    </a:lnTo>
                    <a:lnTo>
                      <a:pt x="171" y="1025"/>
                    </a:lnTo>
                    <a:lnTo>
                      <a:pt x="168" y="1023"/>
                    </a:lnTo>
                    <a:lnTo>
                      <a:pt x="161" y="1026"/>
                    </a:lnTo>
                    <a:lnTo>
                      <a:pt x="158" y="1025"/>
                    </a:lnTo>
                    <a:lnTo>
                      <a:pt x="158" y="1025"/>
                    </a:lnTo>
                    <a:lnTo>
                      <a:pt x="149" y="1027"/>
                    </a:lnTo>
                    <a:lnTo>
                      <a:pt x="149" y="1030"/>
                    </a:lnTo>
                    <a:lnTo>
                      <a:pt x="147" y="1031"/>
                    </a:lnTo>
                    <a:lnTo>
                      <a:pt x="147" y="1030"/>
                    </a:lnTo>
                    <a:lnTo>
                      <a:pt x="146" y="1030"/>
                    </a:lnTo>
                    <a:lnTo>
                      <a:pt x="145" y="1038"/>
                    </a:lnTo>
                    <a:lnTo>
                      <a:pt x="143" y="1039"/>
                    </a:lnTo>
                    <a:lnTo>
                      <a:pt x="142" y="1041"/>
                    </a:lnTo>
                    <a:lnTo>
                      <a:pt x="142" y="1045"/>
                    </a:lnTo>
                    <a:lnTo>
                      <a:pt x="141" y="1046"/>
                    </a:lnTo>
                    <a:lnTo>
                      <a:pt x="139" y="1050"/>
                    </a:lnTo>
                    <a:lnTo>
                      <a:pt x="146" y="1052"/>
                    </a:lnTo>
                    <a:lnTo>
                      <a:pt x="147" y="1050"/>
                    </a:lnTo>
                    <a:lnTo>
                      <a:pt x="147" y="1053"/>
                    </a:lnTo>
                    <a:lnTo>
                      <a:pt x="152" y="1057"/>
                    </a:lnTo>
                    <a:lnTo>
                      <a:pt x="150" y="1058"/>
                    </a:lnTo>
                    <a:lnTo>
                      <a:pt x="150" y="1058"/>
                    </a:lnTo>
                    <a:lnTo>
                      <a:pt x="143" y="1053"/>
                    </a:lnTo>
                    <a:lnTo>
                      <a:pt x="142" y="1054"/>
                    </a:lnTo>
                    <a:lnTo>
                      <a:pt x="138" y="1061"/>
                    </a:lnTo>
                    <a:lnTo>
                      <a:pt x="138" y="1064"/>
                    </a:lnTo>
                    <a:lnTo>
                      <a:pt x="138" y="1064"/>
                    </a:lnTo>
                    <a:lnTo>
                      <a:pt x="135" y="1069"/>
                    </a:lnTo>
                    <a:lnTo>
                      <a:pt x="133" y="1076"/>
                    </a:lnTo>
                    <a:lnTo>
                      <a:pt x="134" y="1077"/>
                    </a:lnTo>
                    <a:lnTo>
                      <a:pt x="133" y="1079"/>
                    </a:lnTo>
                    <a:lnTo>
                      <a:pt x="131" y="1079"/>
                    </a:lnTo>
                    <a:lnTo>
                      <a:pt x="127" y="1082"/>
                    </a:lnTo>
                    <a:lnTo>
                      <a:pt x="127" y="1086"/>
                    </a:lnTo>
                    <a:lnTo>
                      <a:pt x="128" y="1086"/>
                    </a:lnTo>
                    <a:lnTo>
                      <a:pt x="131" y="1088"/>
                    </a:lnTo>
                    <a:lnTo>
                      <a:pt x="131" y="1088"/>
                    </a:lnTo>
                    <a:lnTo>
                      <a:pt x="134" y="1090"/>
                    </a:lnTo>
                    <a:lnTo>
                      <a:pt x="138" y="1088"/>
                    </a:lnTo>
                    <a:lnTo>
                      <a:pt x="141" y="1091"/>
                    </a:lnTo>
                    <a:lnTo>
                      <a:pt x="138" y="1092"/>
                    </a:lnTo>
                    <a:lnTo>
                      <a:pt x="139" y="1095"/>
                    </a:lnTo>
                    <a:lnTo>
                      <a:pt x="135" y="1098"/>
                    </a:lnTo>
                    <a:lnTo>
                      <a:pt x="134" y="1096"/>
                    </a:lnTo>
                    <a:lnTo>
                      <a:pt x="128" y="1095"/>
                    </a:lnTo>
                    <a:lnTo>
                      <a:pt x="128" y="1095"/>
                    </a:lnTo>
                    <a:lnTo>
                      <a:pt x="127" y="1092"/>
                    </a:lnTo>
                    <a:lnTo>
                      <a:pt x="124" y="1091"/>
                    </a:lnTo>
                    <a:lnTo>
                      <a:pt x="122" y="1094"/>
                    </a:lnTo>
                    <a:lnTo>
                      <a:pt x="123" y="1096"/>
                    </a:lnTo>
                    <a:lnTo>
                      <a:pt x="120" y="1099"/>
                    </a:lnTo>
                    <a:lnTo>
                      <a:pt x="118" y="1098"/>
                    </a:lnTo>
                    <a:lnTo>
                      <a:pt x="112" y="1100"/>
                    </a:lnTo>
                    <a:lnTo>
                      <a:pt x="115" y="1103"/>
                    </a:lnTo>
                    <a:lnTo>
                      <a:pt x="114" y="1105"/>
                    </a:lnTo>
                    <a:lnTo>
                      <a:pt x="116" y="1107"/>
                    </a:lnTo>
                    <a:lnTo>
                      <a:pt x="119" y="1106"/>
                    </a:lnTo>
                    <a:lnTo>
                      <a:pt x="119" y="1109"/>
                    </a:lnTo>
                    <a:lnTo>
                      <a:pt x="120" y="1110"/>
                    </a:lnTo>
                    <a:lnTo>
                      <a:pt x="123" y="1110"/>
                    </a:lnTo>
                    <a:lnTo>
                      <a:pt x="126" y="1111"/>
                    </a:lnTo>
                    <a:lnTo>
                      <a:pt x="128" y="1110"/>
                    </a:lnTo>
                    <a:lnTo>
                      <a:pt x="130" y="1109"/>
                    </a:lnTo>
                    <a:lnTo>
                      <a:pt x="134" y="1106"/>
                    </a:lnTo>
                    <a:lnTo>
                      <a:pt x="141" y="1107"/>
                    </a:lnTo>
                    <a:lnTo>
                      <a:pt x="147" y="1103"/>
                    </a:lnTo>
                    <a:lnTo>
                      <a:pt x="150" y="1105"/>
                    </a:lnTo>
                    <a:lnTo>
                      <a:pt x="150" y="1105"/>
                    </a:lnTo>
                    <a:lnTo>
                      <a:pt x="154" y="1103"/>
                    </a:lnTo>
                    <a:lnTo>
                      <a:pt x="158" y="1103"/>
                    </a:lnTo>
                    <a:lnTo>
                      <a:pt x="160" y="1100"/>
                    </a:lnTo>
                    <a:lnTo>
                      <a:pt x="162" y="1102"/>
                    </a:lnTo>
                    <a:lnTo>
                      <a:pt x="162" y="1102"/>
                    </a:lnTo>
                    <a:lnTo>
                      <a:pt x="166" y="1100"/>
                    </a:lnTo>
                    <a:lnTo>
                      <a:pt x="172" y="1099"/>
                    </a:lnTo>
                    <a:lnTo>
                      <a:pt x="181" y="1099"/>
                    </a:lnTo>
                    <a:lnTo>
                      <a:pt x="183" y="1100"/>
                    </a:lnTo>
                    <a:lnTo>
                      <a:pt x="180" y="1102"/>
                    </a:lnTo>
                    <a:lnTo>
                      <a:pt x="184" y="1102"/>
                    </a:lnTo>
                    <a:lnTo>
                      <a:pt x="185" y="1105"/>
                    </a:lnTo>
                    <a:lnTo>
                      <a:pt x="185" y="1105"/>
                    </a:lnTo>
                    <a:lnTo>
                      <a:pt x="180" y="1105"/>
                    </a:lnTo>
                    <a:lnTo>
                      <a:pt x="173" y="1107"/>
                    </a:lnTo>
                    <a:lnTo>
                      <a:pt x="168" y="1111"/>
                    </a:lnTo>
                    <a:lnTo>
                      <a:pt x="164" y="1115"/>
                    </a:lnTo>
                    <a:lnTo>
                      <a:pt x="162" y="1121"/>
                    </a:lnTo>
                    <a:lnTo>
                      <a:pt x="165" y="1119"/>
                    </a:lnTo>
                    <a:lnTo>
                      <a:pt x="165" y="1119"/>
                    </a:lnTo>
                    <a:lnTo>
                      <a:pt x="169" y="1121"/>
                    </a:lnTo>
                    <a:lnTo>
                      <a:pt x="173" y="1121"/>
                    </a:lnTo>
                    <a:lnTo>
                      <a:pt x="173" y="1122"/>
                    </a:lnTo>
                    <a:lnTo>
                      <a:pt x="183" y="1124"/>
                    </a:lnTo>
                    <a:lnTo>
                      <a:pt x="184" y="1125"/>
                    </a:lnTo>
                    <a:lnTo>
                      <a:pt x="187" y="1125"/>
                    </a:lnTo>
                    <a:lnTo>
                      <a:pt x="187" y="1125"/>
                    </a:lnTo>
                    <a:lnTo>
                      <a:pt x="188" y="1121"/>
                    </a:lnTo>
                    <a:lnTo>
                      <a:pt x="190" y="1117"/>
                    </a:lnTo>
                    <a:lnTo>
                      <a:pt x="196" y="1110"/>
                    </a:lnTo>
                    <a:lnTo>
                      <a:pt x="200" y="1109"/>
                    </a:lnTo>
                    <a:lnTo>
                      <a:pt x="204" y="1110"/>
                    </a:lnTo>
                    <a:lnTo>
                      <a:pt x="203" y="1114"/>
                    </a:lnTo>
                    <a:lnTo>
                      <a:pt x="200" y="1115"/>
                    </a:lnTo>
                    <a:lnTo>
                      <a:pt x="196" y="1115"/>
                    </a:lnTo>
                    <a:lnTo>
                      <a:pt x="196" y="1115"/>
                    </a:lnTo>
                    <a:lnTo>
                      <a:pt x="194" y="1117"/>
                    </a:lnTo>
                    <a:lnTo>
                      <a:pt x="192" y="1121"/>
                    </a:lnTo>
                    <a:lnTo>
                      <a:pt x="190" y="1128"/>
                    </a:lnTo>
                    <a:lnTo>
                      <a:pt x="184" y="1130"/>
                    </a:lnTo>
                    <a:lnTo>
                      <a:pt x="184" y="1130"/>
                    </a:lnTo>
                    <a:lnTo>
                      <a:pt x="179" y="1129"/>
                    </a:lnTo>
                    <a:lnTo>
                      <a:pt x="176" y="1129"/>
                    </a:lnTo>
                    <a:lnTo>
                      <a:pt x="175" y="1126"/>
                    </a:lnTo>
                    <a:lnTo>
                      <a:pt x="172" y="1128"/>
                    </a:lnTo>
                    <a:lnTo>
                      <a:pt x="172" y="1128"/>
                    </a:lnTo>
                    <a:lnTo>
                      <a:pt x="171" y="1129"/>
                    </a:lnTo>
                    <a:lnTo>
                      <a:pt x="166" y="1130"/>
                    </a:lnTo>
                    <a:lnTo>
                      <a:pt x="166" y="1132"/>
                    </a:lnTo>
                    <a:lnTo>
                      <a:pt x="160" y="1134"/>
                    </a:lnTo>
                    <a:lnTo>
                      <a:pt x="154" y="1134"/>
                    </a:lnTo>
                    <a:lnTo>
                      <a:pt x="152" y="1136"/>
                    </a:lnTo>
                    <a:lnTo>
                      <a:pt x="152" y="1138"/>
                    </a:lnTo>
                    <a:lnTo>
                      <a:pt x="150" y="1138"/>
                    </a:lnTo>
                    <a:lnTo>
                      <a:pt x="150" y="1137"/>
                    </a:lnTo>
                    <a:lnTo>
                      <a:pt x="146" y="1136"/>
                    </a:lnTo>
                    <a:lnTo>
                      <a:pt x="145" y="1137"/>
                    </a:lnTo>
                    <a:lnTo>
                      <a:pt x="139" y="1136"/>
                    </a:lnTo>
                    <a:lnTo>
                      <a:pt x="137" y="1137"/>
                    </a:lnTo>
                    <a:lnTo>
                      <a:pt x="133" y="1149"/>
                    </a:lnTo>
                    <a:lnTo>
                      <a:pt x="133" y="1149"/>
                    </a:lnTo>
                    <a:lnTo>
                      <a:pt x="153" y="1159"/>
                    </a:lnTo>
                    <a:lnTo>
                      <a:pt x="164" y="1163"/>
                    </a:lnTo>
                    <a:lnTo>
                      <a:pt x="175" y="1166"/>
                    </a:lnTo>
                    <a:lnTo>
                      <a:pt x="175" y="1168"/>
                    </a:lnTo>
                    <a:lnTo>
                      <a:pt x="164" y="1167"/>
                    </a:lnTo>
                    <a:lnTo>
                      <a:pt x="160" y="1163"/>
                    </a:lnTo>
                    <a:lnTo>
                      <a:pt x="158" y="1163"/>
                    </a:lnTo>
                    <a:lnTo>
                      <a:pt x="156" y="1167"/>
                    </a:lnTo>
                    <a:lnTo>
                      <a:pt x="153" y="1167"/>
                    </a:lnTo>
                    <a:lnTo>
                      <a:pt x="150" y="1166"/>
                    </a:lnTo>
                    <a:lnTo>
                      <a:pt x="149" y="1166"/>
                    </a:lnTo>
                    <a:lnTo>
                      <a:pt x="149" y="1166"/>
                    </a:lnTo>
                    <a:lnTo>
                      <a:pt x="146" y="1170"/>
                    </a:lnTo>
                    <a:lnTo>
                      <a:pt x="146" y="1175"/>
                    </a:lnTo>
                    <a:lnTo>
                      <a:pt x="145" y="1175"/>
                    </a:lnTo>
                    <a:lnTo>
                      <a:pt x="145" y="1171"/>
                    </a:lnTo>
                    <a:lnTo>
                      <a:pt x="145" y="1171"/>
                    </a:lnTo>
                    <a:lnTo>
                      <a:pt x="142" y="1170"/>
                    </a:lnTo>
                    <a:lnTo>
                      <a:pt x="138" y="1170"/>
                    </a:lnTo>
                    <a:lnTo>
                      <a:pt x="137" y="1171"/>
                    </a:lnTo>
                    <a:lnTo>
                      <a:pt x="138" y="1175"/>
                    </a:lnTo>
                    <a:lnTo>
                      <a:pt x="137" y="1176"/>
                    </a:lnTo>
                    <a:lnTo>
                      <a:pt x="135" y="1171"/>
                    </a:lnTo>
                    <a:lnTo>
                      <a:pt x="131" y="1170"/>
                    </a:lnTo>
                    <a:lnTo>
                      <a:pt x="130" y="1168"/>
                    </a:lnTo>
                    <a:lnTo>
                      <a:pt x="126" y="1167"/>
                    </a:lnTo>
                    <a:lnTo>
                      <a:pt x="123" y="1170"/>
                    </a:lnTo>
                    <a:lnTo>
                      <a:pt x="123" y="1174"/>
                    </a:lnTo>
                    <a:lnTo>
                      <a:pt x="127" y="1175"/>
                    </a:lnTo>
                    <a:lnTo>
                      <a:pt x="126" y="1178"/>
                    </a:lnTo>
                    <a:lnTo>
                      <a:pt x="126" y="1178"/>
                    </a:lnTo>
                    <a:lnTo>
                      <a:pt x="130" y="1181"/>
                    </a:lnTo>
                    <a:lnTo>
                      <a:pt x="135" y="1182"/>
                    </a:lnTo>
                    <a:lnTo>
                      <a:pt x="137" y="1181"/>
                    </a:lnTo>
                    <a:lnTo>
                      <a:pt x="138" y="1181"/>
                    </a:lnTo>
                    <a:lnTo>
                      <a:pt x="138" y="1185"/>
                    </a:lnTo>
                    <a:lnTo>
                      <a:pt x="139" y="1186"/>
                    </a:lnTo>
                    <a:lnTo>
                      <a:pt x="142" y="1186"/>
                    </a:lnTo>
                    <a:lnTo>
                      <a:pt x="142" y="1186"/>
                    </a:lnTo>
                    <a:lnTo>
                      <a:pt x="142" y="1189"/>
                    </a:lnTo>
                    <a:lnTo>
                      <a:pt x="142" y="1189"/>
                    </a:lnTo>
                    <a:lnTo>
                      <a:pt x="139" y="1189"/>
                    </a:lnTo>
                    <a:lnTo>
                      <a:pt x="138" y="1190"/>
                    </a:lnTo>
                    <a:lnTo>
                      <a:pt x="141" y="1193"/>
                    </a:lnTo>
                    <a:lnTo>
                      <a:pt x="141" y="1194"/>
                    </a:lnTo>
                    <a:lnTo>
                      <a:pt x="141" y="1194"/>
                    </a:lnTo>
                    <a:lnTo>
                      <a:pt x="135" y="1193"/>
                    </a:lnTo>
                    <a:lnTo>
                      <a:pt x="130" y="1193"/>
                    </a:lnTo>
                    <a:lnTo>
                      <a:pt x="130" y="1190"/>
                    </a:lnTo>
                    <a:lnTo>
                      <a:pt x="130" y="1190"/>
                    </a:lnTo>
                    <a:lnTo>
                      <a:pt x="131" y="1187"/>
                    </a:lnTo>
                    <a:lnTo>
                      <a:pt x="131" y="1185"/>
                    </a:lnTo>
                    <a:lnTo>
                      <a:pt x="126" y="1179"/>
                    </a:lnTo>
                    <a:lnTo>
                      <a:pt x="126" y="1179"/>
                    </a:lnTo>
                    <a:lnTo>
                      <a:pt x="122" y="1185"/>
                    </a:lnTo>
                    <a:lnTo>
                      <a:pt x="118" y="1187"/>
                    </a:lnTo>
                    <a:lnTo>
                      <a:pt x="115" y="1185"/>
                    </a:lnTo>
                    <a:lnTo>
                      <a:pt x="116" y="1182"/>
                    </a:lnTo>
                    <a:lnTo>
                      <a:pt x="116" y="1182"/>
                    </a:lnTo>
                    <a:lnTo>
                      <a:pt x="114" y="1181"/>
                    </a:lnTo>
                    <a:lnTo>
                      <a:pt x="111" y="1178"/>
                    </a:lnTo>
                    <a:lnTo>
                      <a:pt x="107" y="1175"/>
                    </a:lnTo>
                    <a:lnTo>
                      <a:pt x="104" y="1172"/>
                    </a:lnTo>
                    <a:lnTo>
                      <a:pt x="104" y="1171"/>
                    </a:lnTo>
                    <a:lnTo>
                      <a:pt x="99" y="1167"/>
                    </a:lnTo>
                    <a:lnTo>
                      <a:pt x="97" y="1167"/>
                    </a:lnTo>
                    <a:lnTo>
                      <a:pt x="96" y="1174"/>
                    </a:lnTo>
                    <a:lnTo>
                      <a:pt x="93" y="1172"/>
                    </a:lnTo>
                    <a:lnTo>
                      <a:pt x="93" y="1175"/>
                    </a:lnTo>
                    <a:lnTo>
                      <a:pt x="90" y="1176"/>
                    </a:lnTo>
                    <a:lnTo>
                      <a:pt x="85" y="1175"/>
                    </a:lnTo>
                    <a:lnTo>
                      <a:pt x="82" y="1176"/>
                    </a:lnTo>
                    <a:lnTo>
                      <a:pt x="80" y="1175"/>
                    </a:lnTo>
                    <a:lnTo>
                      <a:pt x="80" y="1178"/>
                    </a:lnTo>
                    <a:lnTo>
                      <a:pt x="80" y="1179"/>
                    </a:lnTo>
                    <a:lnTo>
                      <a:pt x="78" y="1179"/>
                    </a:lnTo>
                    <a:lnTo>
                      <a:pt x="74" y="1178"/>
                    </a:lnTo>
                    <a:lnTo>
                      <a:pt x="73" y="1181"/>
                    </a:lnTo>
                    <a:lnTo>
                      <a:pt x="66" y="1179"/>
                    </a:lnTo>
                    <a:lnTo>
                      <a:pt x="66" y="1182"/>
                    </a:lnTo>
                    <a:lnTo>
                      <a:pt x="65" y="1181"/>
                    </a:lnTo>
                    <a:lnTo>
                      <a:pt x="62" y="1182"/>
                    </a:lnTo>
                    <a:lnTo>
                      <a:pt x="59" y="1182"/>
                    </a:lnTo>
                    <a:lnTo>
                      <a:pt x="59" y="1182"/>
                    </a:lnTo>
                    <a:lnTo>
                      <a:pt x="55" y="1181"/>
                    </a:lnTo>
                    <a:lnTo>
                      <a:pt x="52" y="1181"/>
                    </a:lnTo>
                    <a:lnTo>
                      <a:pt x="51" y="1181"/>
                    </a:lnTo>
                    <a:lnTo>
                      <a:pt x="50" y="1179"/>
                    </a:lnTo>
                    <a:lnTo>
                      <a:pt x="50" y="1179"/>
                    </a:lnTo>
                    <a:lnTo>
                      <a:pt x="44" y="1179"/>
                    </a:lnTo>
                    <a:lnTo>
                      <a:pt x="39" y="1179"/>
                    </a:lnTo>
                    <a:lnTo>
                      <a:pt x="35" y="1181"/>
                    </a:lnTo>
                    <a:lnTo>
                      <a:pt x="29" y="1181"/>
                    </a:lnTo>
                    <a:lnTo>
                      <a:pt x="28" y="1183"/>
                    </a:lnTo>
                    <a:lnTo>
                      <a:pt x="29" y="1183"/>
                    </a:lnTo>
                    <a:lnTo>
                      <a:pt x="24" y="1186"/>
                    </a:lnTo>
                    <a:lnTo>
                      <a:pt x="20" y="1185"/>
                    </a:lnTo>
                    <a:lnTo>
                      <a:pt x="17" y="1185"/>
                    </a:lnTo>
                    <a:lnTo>
                      <a:pt x="14" y="1185"/>
                    </a:lnTo>
                    <a:lnTo>
                      <a:pt x="16" y="1189"/>
                    </a:lnTo>
                    <a:lnTo>
                      <a:pt x="17" y="1190"/>
                    </a:lnTo>
                    <a:lnTo>
                      <a:pt x="19" y="1193"/>
                    </a:lnTo>
                    <a:lnTo>
                      <a:pt x="16" y="1194"/>
                    </a:lnTo>
                    <a:lnTo>
                      <a:pt x="17" y="1194"/>
                    </a:lnTo>
                    <a:lnTo>
                      <a:pt x="17" y="1197"/>
                    </a:lnTo>
                    <a:lnTo>
                      <a:pt x="14" y="1198"/>
                    </a:lnTo>
                    <a:lnTo>
                      <a:pt x="12" y="1195"/>
                    </a:lnTo>
                    <a:lnTo>
                      <a:pt x="8" y="1197"/>
                    </a:lnTo>
                    <a:lnTo>
                      <a:pt x="9" y="1202"/>
                    </a:lnTo>
                    <a:lnTo>
                      <a:pt x="6" y="1204"/>
                    </a:lnTo>
                    <a:lnTo>
                      <a:pt x="5" y="1201"/>
                    </a:lnTo>
                    <a:lnTo>
                      <a:pt x="1" y="1204"/>
                    </a:lnTo>
                    <a:lnTo>
                      <a:pt x="4" y="1205"/>
                    </a:lnTo>
                    <a:lnTo>
                      <a:pt x="5" y="1206"/>
                    </a:lnTo>
                    <a:lnTo>
                      <a:pt x="0" y="1209"/>
                    </a:lnTo>
                    <a:lnTo>
                      <a:pt x="2" y="1212"/>
                    </a:lnTo>
                    <a:lnTo>
                      <a:pt x="4" y="1214"/>
                    </a:lnTo>
                    <a:lnTo>
                      <a:pt x="5" y="1216"/>
                    </a:lnTo>
                    <a:lnTo>
                      <a:pt x="6" y="1219"/>
                    </a:lnTo>
                    <a:lnTo>
                      <a:pt x="6" y="1219"/>
                    </a:lnTo>
                    <a:lnTo>
                      <a:pt x="9" y="1220"/>
                    </a:lnTo>
                    <a:lnTo>
                      <a:pt x="10" y="1223"/>
                    </a:lnTo>
                    <a:lnTo>
                      <a:pt x="14" y="1223"/>
                    </a:lnTo>
                    <a:lnTo>
                      <a:pt x="14" y="1223"/>
                    </a:lnTo>
                    <a:lnTo>
                      <a:pt x="16" y="1224"/>
                    </a:lnTo>
                    <a:lnTo>
                      <a:pt x="17" y="1227"/>
                    </a:lnTo>
                    <a:lnTo>
                      <a:pt x="17" y="1227"/>
                    </a:lnTo>
                    <a:lnTo>
                      <a:pt x="21" y="1228"/>
                    </a:lnTo>
                    <a:lnTo>
                      <a:pt x="27" y="1227"/>
                    </a:lnTo>
                    <a:lnTo>
                      <a:pt x="27" y="1227"/>
                    </a:lnTo>
                    <a:lnTo>
                      <a:pt x="29" y="1229"/>
                    </a:lnTo>
                    <a:lnTo>
                      <a:pt x="32" y="1229"/>
                    </a:lnTo>
                    <a:lnTo>
                      <a:pt x="32" y="1229"/>
                    </a:lnTo>
                    <a:lnTo>
                      <a:pt x="38" y="1227"/>
                    </a:lnTo>
                    <a:lnTo>
                      <a:pt x="40" y="1223"/>
                    </a:lnTo>
                    <a:lnTo>
                      <a:pt x="44" y="1221"/>
                    </a:lnTo>
                    <a:lnTo>
                      <a:pt x="43" y="1224"/>
                    </a:lnTo>
                    <a:lnTo>
                      <a:pt x="47" y="1224"/>
                    </a:lnTo>
                    <a:lnTo>
                      <a:pt x="50" y="1227"/>
                    </a:lnTo>
                    <a:lnTo>
                      <a:pt x="55" y="1223"/>
                    </a:lnTo>
                    <a:lnTo>
                      <a:pt x="57" y="1224"/>
                    </a:lnTo>
                    <a:lnTo>
                      <a:pt x="61" y="1223"/>
                    </a:lnTo>
                    <a:lnTo>
                      <a:pt x="66" y="1224"/>
                    </a:lnTo>
                    <a:lnTo>
                      <a:pt x="66" y="1224"/>
                    </a:lnTo>
                    <a:lnTo>
                      <a:pt x="69" y="1228"/>
                    </a:lnTo>
                    <a:lnTo>
                      <a:pt x="73" y="1229"/>
                    </a:lnTo>
                    <a:lnTo>
                      <a:pt x="73" y="1231"/>
                    </a:lnTo>
                    <a:lnTo>
                      <a:pt x="73" y="1231"/>
                    </a:lnTo>
                    <a:lnTo>
                      <a:pt x="80" y="1229"/>
                    </a:lnTo>
                    <a:lnTo>
                      <a:pt x="84" y="1229"/>
                    </a:lnTo>
                    <a:lnTo>
                      <a:pt x="86" y="1229"/>
                    </a:lnTo>
                    <a:lnTo>
                      <a:pt x="89" y="1229"/>
                    </a:lnTo>
                    <a:lnTo>
                      <a:pt x="89" y="1233"/>
                    </a:lnTo>
                    <a:lnTo>
                      <a:pt x="93" y="1236"/>
                    </a:lnTo>
                    <a:lnTo>
                      <a:pt x="95" y="1235"/>
                    </a:lnTo>
                    <a:lnTo>
                      <a:pt x="96" y="1233"/>
                    </a:lnTo>
                    <a:lnTo>
                      <a:pt x="95" y="1231"/>
                    </a:lnTo>
                    <a:lnTo>
                      <a:pt x="97" y="1231"/>
                    </a:lnTo>
                    <a:lnTo>
                      <a:pt x="99" y="1229"/>
                    </a:lnTo>
                    <a:lnTo>
                      <a:pt x="101" y="1229"/>
                    </a:lnTo>
                    <a:lnTo>
                      <a:pt x="103" y="1227"/>
                    </a:lnTo>
                    <a:lnTo>
                      <a:pt x="103" y="1227"/>
                    </a:lnTo>
                    <a:lnTo>
                      <a:pt x="107" y="1227"/>
                    </a:lnTo>
                    <a:lnTo>
                      <a:pt x="112" y="1231"/>
                    </a:lnTo>
                    <a:lnTo>
                      <a:pt x="109" y="1231"/>
                    </a:lnTo>
                    <a:lnTo>
                      <a:pt x="109" y="1232"/>
                    </a:lnTo>
                    <a:lnTo>
                      <a:pt x="109" y="1232"/>
                    </a:lnTo>
                    <a:lnTo>
                      <a:pt x="112" y="1232"/>
                    </a:lnTo>
                    <a:lnTo>
                      <a:pt x="115" y="1233"/>
                    </a:lnTo>
                    <a:lnTo>
                      <a:pt x="116" y="1233"/>
                    </a:lnTo>
                    <a:lnTo>
                      <a:pt x="119" y="1232"/>
                    </a:lnTo>
                    <a:lnTo>
                      <a:pt x="122" y="1235"/>
                    </a:lnTo>
                    <a:lnTo>
                      <a:pt x="122" y="1235"/>
                    </a:lnTo>
                    <a:lnTo>
                      <a:pt x="127" y="1233"/>
                    </a:lnTo>
                    <a:lnTo>
                      <a:pt x="133" y="1231"/>
                    </a:lnTo>
                    <a:lnTo>
                      <a:pt x="137" y="1231"/>
                    </a:lnTo>
                    <a:lnTo>
                      <a:pt x="139" y="1235"/>
                    </a:lnTo>
                    <a:lnTo>
                      <a:pt x="143" y="1235"/>
                    </a:lnTo>
                    <a:lnTo>
                      <a:pt x="143" y="1235"/>
                    </a:lnTo>
                    <a:lnTo>
                      <a:pt x="154" y="1227"/>
                    </a:lnTo>
                    <a:lnTo>
                      <a:pt x="160" y="1221"/>
                    </a:lnTo>
                    <a:lnTo>
                      <a:pt x="162" y="1217"/>
                    </a:lnTo>
                    <a:lnTo>
                      <a:pt x="165" y="1214"/>
                    </a:lnTo>
                    <a:lnTo>
                      <a:pt x="166" y="1212"/>
                    </a:lnTo>
                    <a:lnTo>
                      <a:pt x="168" y="1213"/>
                    </a:lnTo>
                    <a:lnTo>
                      <a:pt x="172" y="1212"/>
                    </a:lnTo>
                    <a:lnTo>
                      <a:pt x="173" y="1214"/>
                    </a:lnTo>
                    <a:lnTo>
                      <a:pt x="177" y="1212"/>
                    </a:lnTo>
                    <a:lnTo>
                      <a:pt x="187" y="1213"/>
                    </a:lnTo>
                    <a:lnTo>
                      <a:pt x="190" y="1216"/>
                    </a:lnTo>
                    <a:lnTo>
                      <a:pt x="192" y="1217"/>
                    </a:lnTo>
                    <a:lnTo>
                      <a:pt x="194" y="1219"/>
                    </a:lnTo>
                    <a:lnTo>
                      <a:pt x="194" y="1219"/>
                    </a:lnTo>
                    <a:lnTo>
                      <a:pt x="198" y="1220"/>
                    </a:lnTo>
                    <a:lnTo>
                      <a:pt x="200" y="1223"/>
                    </a:lnTo>
                    <a:lnTo>
                      <a:pt x="200" y="1224"/>
                    </a:lnTo>
                    <a:lnTo>
                      <a:pt x="202" y="1225"/>
                    </a:lnTo>
                    <a:lnTo>
                      <a:pt x="204" y="1225"/>
                    </a:lnTo>
                    <a:lnTo>
                      <a:pt x="211" y="1231"/>
                    </a:lnTo>
                    <a:lnTo>
                      <a:pt x="214" y="1228"/>
                    </a:lnTo>
                    <a:lnTo>
                      <a:pt x="215" y="1229"/>
                    </a:lnTo>
                    <a:lnTo>
                      <a:pt x="215" y="1229"/>
                    </a:lnTo>
                    <a:lnTo>
                      <a:pt x="221" y="1228"/>
                    </a:lnTo>
                    <a:lnTo>
                      <a:pt x="226" y="1225"/>
                    </a:lnTo>
                    <a:lnTo>
                      <a:pt x="227" y="1225"/>
                    </a:lnTo>
                    <a:lnTo>
                      <a:pt x="233" y="1224"/>
                    </a:lnTo>
                    <a:lnTo>
                      <a:pt x="234" y="1225"/>
                    </a:lnTo>
                    <a:lnTo>
                      <a:pt x="234" y="1225"/>
                    </a:lnTo>
                    <a:lnTo>
                      <a:pt x="237" y="1225"/>
                    </a:lnTo>
                    <a:lnTo>
                      <a:pt x="241" y="1224"/>
                    </a:lnTo>
                    <a:lnTo>
                      <a:pt x="245" y="1227"/>
                    </a:lnTo>
                    <a:lnTo>
                      <a:pt x="245" y="1227"/>
                    </a:lnTo>
                    <a:lnTo>
                      <a:pt x="249" y="1227"/>
                    </a:lnTo>
                    <a:lnTo>
                      <a:pt x="255" y="1228"/>
                    </a:lnTo>
                    <a:lnTo>
                      <a:pt x="253" y="1229"/>
                    </a:lnTo>
                    <a:lnTo>
                      <a:pt x="253" y="1229"/>
                    </a:lnTo>
                    <a:lnTo>
                      <a:pt x="249" y="1228"/>
                    </a:lnTo>
                    <a:lnTo>
                      <a:pt x="244" y="1229"/>
                    </a:lnTo>
                    <a:lnTo>
                      <a:pt x="234" y="1231"/>
                    </a:lnTo>
                    <a:lnTo>
                      <a:pt x="233" y="1229"/>
                    </a:lnTo>
                    <a:lnTo>
                      <a:pt x="229" y="1231"/>
                    </a:lnTo>
                    <a:lnTo>
                      <a:pt x="227" y="1232"/>
                    </a:lnTo>
                    <a:lnTo>
                      <a:pt x="227" y="1232"/>
                    </a:lnTo>
                    <a:lnTo>
                      <a:pt x="221" y="1232"/>
                    </a:lnTo>
                    <a:lnTo>
                      <a:pt x="217" y="1232"/>
                    </a:lnTo>
                    <a:lnTo>
                      <a:pt x="217" y="1232"/>
                    </a:lnTo>
                    <a:lnTo>
                      <a:pt x="210" y="1232"/>
                    </a:lnTo>
                    <a:lnTo>
                      <a:pt x="206" y="1232"/>
                    </a:lnTo>
                    <a:lnTo>
                      <a:pt x="202" y="1232"/>
                    </a:lnTo>
                    <a:lnTo>
                      <a:pt x="200" y="1229"/>
                    </a:lnTo>
                    <a:lnTo>
                      <a:pt x="195" y="1228"/>
                    </a:lnTo>
                    <a:lnTo>
                      <a:pt x="194" y="1231"/>
                    </a:lnTo>
                    <a:lnTo>
                      <a:pt x="194" y="1231"/>
                    </a:lnTo>
                    <a:lnTo>
                      <a:pt x="191" y="1229"/>
                    </a:lnTo>
                    <a:lnTo>
                      <a:pt x="191" y="1228"/>
                    </a:lnTo>
                    <a:lnTo>
                      <a:pt x="190" y="1225"/>
                    </a:lnTo>
                    <a:lnTo>
                      <a:pt x="187" y="1224"/>
                    </a:lnTo>
                    <a:lnTo>
                      <a:pt x="187" y="1221"/>
                    </a:lnTo>
                    <a:lnTo>
                      <a:pt x="177" y="1219"/>
                    </a:lnTo>
                    <a:lnTo>
                      <a:pt x="177" y="1219"/>
                    </a:lnTo>
                    <a:lnTo>
                      <a:pt x="173" y="1221"/>
                    </a:lnTo>
                    <a:lnTo>
                      <a:pt x="169" y="1223"/>
                    </a:lnTo>
                    <a:lnTo>
                      <a:pt x="169" y="1223"/>
                    </a:lnTo>
                    <a:lnTo>
                      <a:pt x="168" y="1224"/>
                    </a:lnTo>
                    <a:lnTo>
                      <a:pt x="165" y="1225"/>
                    </a:lnTo>
                    <a:lnTo>
                      <a:pt x="161" y="1231"/>
                    </a:lnTo>
                    <a:lnTo>
                      <a:pt x="150" y="1238"/>
                    </a:lnTo>
                    <a:lnTo>
                      <a:pt x="149" y="1239"/>
                    </a:lnTo>
                    <a:lnTo>
                      <a:pt x="149" y="1239"/>
                    </a:lnTo>
                    <a:lnTo>
                      <a:pt x="145" y="1240"/>
                    </a:lnTo>
                    <a:lnTo>
                      <a:pt x="141" y="1244"/>
                    </a:lnTo>
                    <a:lnTo>
                      <a:pt x="138" y="1242"/>
                    </a:lnTo>
                    <a:lnTo>
                      <a:pt x="138" y="1242"/>
                    </a:lnTo>
                    <a:lnTo>
                      <a:pt x="133" y="1244"/>
                    </a:lnTo>
                    <a:lnTo>
                      <a:pt x="130" y="1246"/>
                    </a:lnTo>
                    <a:lnTo>
                      <a:pt x="128" y="1248"/>
                    </a:lnTo>
                    <a:lnTo>
                      <a:pt x="128" y="1248"/>
                    </a:lnTo>
                    <a:lnTo>
                      <a:pt x="128" y="1251"/>
                    </a:lnTo>
                    <a:lnTo>
                      <a:pt x="131" y="1254"/>
                    </a:lnTo>
                    <a:lnTo>
                      <a:pt x="135" y="1256"/>
                    </a:lnTo>
                    <a:lnTo>
                      <a:pt x="139" y="1256"/>
                    </a:lnTo>
                    <a:lnTo>
                      <a:pt x="147" y="1263"/>
                    </a:lnTo>
                    <a:lnTo>
                      <a:pt x="147" y="1266"/>
                    </a:lnTo>
                    <a:lnTo>
                      <a:pt x="146" y="1267"/>
                    </a:lnTo>
                    <a:lnTo>
                      <a:pt x="142" y="1262"/>
                    </a:lnTo>
                    <a:lnTo>
                      <a:pt x="142" y="1262"/>
                    </a:lnTo>
                    <a:lnTo>
                      <a:pt x="138" y="1261"/>
                    </a:lnTo>
                    <a:lnTo>
                      <a:pt x="135" y="1258"/>
                    </a:lnTo>
                    <a:lnTo>
                      <a:pt x="133" y="1256"/>
                    </a:lnTo>
                    <a:lnTo>
                      <a:pt x="128" y="1255"/>
                    </a:lnTo>
                    <a:lnTo>
                      <a:pt x="127" y="1254"/>
                    </a:lnTo>
                    <a:lnTo>
                      <a:pt x="126" y="1255"/>
                    </a:lnTo>
                    <a:lnTo>
                      <a:pt x="123" y="1254"/>
                    </a:lnTo>
                    <a:lnTo>
                      <a:pt x="123" y="1250"/>
                    </a:lnTo>
                    <a:lnTo>
                      <a:pt x="119" y="1244"/>
                    </a:lnTo>
                    <a:lnTo>
                      <a:pt x="111" y="1248"/>
                    </a:lnTo>
                    <a:lnTo>
                      <a:pt x="111" y="1248"/>
                    </a:lnTo>
                    <a:lnTo>
                      <a:pt x="107" y="1248"/>
                    </a:lnTo>
                    <a:lnTo>
                      <a:pt x="104" y="1246"/>
                    </a:lnTo>
                    <a:lnTo>
                      <a:pt x="104" y="1246"/>
                    </a:lnTo>
                    <a:lnTo>
                      <a:pt x="100" y="1248"/>
                    </a:lnTo>
                    <a:lnTo>
                      <a:pt x="100" y="1248"/>
                    </a:lnTo>
                    <a:lnTo>
                      <a:pt x="92" y="1250"/>
                    </a:lnTo>
                    <a:lnTo>
                      <a:pt x="82" y="1250"/>
                    </a:lnTo>
                    <a:lnTo>
                      <a:pt x="84" y="1251"/>
                    </a:lnTo>
                    <a:lnTo>
                      <a:pt x="81" y="1252"/>
                    </a:lnTo>
                    <a:lnTo>
                      <a:pt x="82" y="1266"/>
                    </a:lnTo>
                    <a:lnTo>
                      <a:pt x="82" y="1266"/>
                    </a:lnTo>
                    <a:lnTo>
                      <a:pt x="84" y="1267"/>
                    </a:lnTo>
                    <a:lnTo>
                      <a:pt x="85" y="1269"/>
                    </a:lnTo>
                    <a:lnTo>
                      <a:pt x="89" y="1271"/>
                    </a:lnTo>
                    <a:lnTo>
                      <a:pt x="93" y="1275"/>
                    </a:lnTo>
                    <a:lnTo>
                      <a:pt x="95" y="1278"/>
                    </a:lnTo>
                    <a:lnTo>
                      <a:pt x="95" y="1282"/>
                    </a:lnTo>
                    <a:lnTo>
                      <a:pt x="100" y="1288"/>
                    </a:lnTo>
                    <a:lnTo>
                      <a:pt x="99" y="1290"/>
                    </a:lnTo>
                    <a:lnTo>
                      <a:pt x="103" y="1292"/>
                    </a:lnTo>
                    <a:lnTo>
                      <a:pt x="108" y="1300"/>
                    </a:lnTo>
                    <a:lnTo>
                      <a:pt x="111" y="1300"/>
                    </a:lnTo>
                    <a:lnTo>
                      <a:pt x="111" y="1300"/>
                    </a:lnTo>
                    <a:lnTo>
                      <a:pt x="114" y="1304"/>
                    </a:lnTo>
                    <a:lnTo>
                      <a:pt x="118" y="1307"/>
                    </a:lnTo>
                    <a:lnTo>
                      <a:pt x="119" y="1309"/>
                    </a:lnTo>
                    <a:lnTo>
                      <a:pt x="119" y="1309"/>
                    </a:lnTo>
                    <a:lnTo>
                      <a:pt x="123" y="1311"/>
                    </a:lnTo>
                    <a:lnTo>
                      <a:pt x="127" y="1309"/>
                    </a:lnTo>
                    <a:lnTo>
                      <a:pt x="134" y="1312"/>
                    </a:lnTo>
                    <a:lnTo>
                      <a:pt x="134" y="1313"/>
                    </a:lnTo>
                    <a:lnTo>
                      <a:pt x="134" y="1313"/>
                    </a:lnTo>
                    <a:lnTo>
                      <a:pt x="138" y="1313"/>
                    </a:lnTo>
                    <a:lnTo>
                      <a:pt x="141" y="1315"/>
                    </a:lnTo>
                    <a:lnTo>
                      <a:pt x="143" y="1315"/>
                    </a:lnTo>
                    <a:lnTo>
                      <a:pt x="146" y="1318"/>
                    </a:lnTo>
                    <a:lnTo>
                      <a:pt x="152" y="1318"/>
                    </a:lnTo>
                    <a:lnTo>
                      <a:pt x="156" y="1320"/>
                    </a:lnTo>
                    <a:lnTo>
                      <a:pt x="165" y="1320"/>
                    </a:lnTo>
                    <a:lnTo>
                      <a:pt x="168" y="1319"/>
                    </a:lnTo>
                    <a:lnTo>
                      <a:pt x="168" y="1319"/>
                    </a:lnTo>
                    <a:lnTo>
                      <a:pt x="168" y="1316"/>
                    </a:lnTo>
                    <a:lnTo>
                      <a:pt x="169" y="1312"/>
                    </a:lnTo>
                    <a:lnTo>
                      <a:pt x="172" y="1307"/>
                    </a:lnTo>
                    <a:lnTo>
                      <a:pt x="177" y="1303"/>
                    </a:lnTo>
                    <a:lnTo>
                      <a:pt x="179" y="1303"/>
                    </a:lnTo>
                    <a:lnTo>
                      <a:pt x="177" y="1304"/>
                    </a:lnTo>
                    <a:lnTo>
                      <a:pt x="177" y="1307"/>
                    </a:lnTo>
                    <a:lnTo>
                      <a:pt x="175" y="1309"/>
                    </a:lnTo>
                    <a:lnTo>
                      <a:pt x="175" y="1309"/>
                    </a:lnTo>
                    <a:lnTo>
                      <a:pt x="173" y="1315"/>
                    </a:lnTo>
                    <a:lnTo>
                      <a:pt x="171" y="1318"/>
                    </a:lnTo>
                    <a:lnTo>
                      <a:pt x="169" y="1318"/>
                    </a:lnTo>
                    <a:lnTo>
                      <a:pt x="168" y="1319"/>
                    </a:lnTo>
                    <a:lnTo>
                      <a:pt x="168" y="1322"/>
                    </a:lnTo>
                    <a:lnTo>
                      <a:pt x="168" y="1322"/>
                    </a:lnTo>
                    <a:lnTo>
                      <a:pt x="172" y="1326"/>
                    </a:lnTo>
                    <a:lnTo>
                      <a:pt x="173" y="1330"/>
                    </a:lnTo>
                    <a:lnTo>
                      <a:pt x="175" y="1331"/>
                    </a:lnTo>
                    <a:lnTo>
                      <a:pt x="176" y="1327"/>
                    </a:lnTo>
                    <a:lnTo>
                      <a:pt x="179" y="1326"/>
                    </a:lnTo>
                    <a:lnTo>
                      <a:pt x="184" y="1331"/>
                    </a:lnTo>
                    <a:lnTo>
                      <a:pt x="184" y="1331"/>
                    </a:lnTo>
                    <a:lnTo>
                      <a:pt x="191" y="1332"/>
                    </a:lnTo>
                    <a:lnTo>
                      <a:pt x="195" y="1334"/>
                    </a:lnTo>
                    <a:lnTo>
                      <a:pt x="196" y="1335"/>
                    </a:lnTo>
                    <a:lnTo>
                      <a:pt x="196" y="1335"/>
                    </a:lnTo>
                    <a:lnTo>
                      <a:pt x="198" y="1338"/>
                    </a:lnTo>
                    <a:lnTo>
                      <a:pt x="198" y="1342"/>
                    </a:lnTo>
                    <a:lnTo>
                      <a:pt x="200" y="1343"/>
                    </a:lnTo>
                    <a:lnTo>
                      <a:pt x="200" y="1343"/>
                    </a:lnTo>
                    <a:lnTo>
                      <a:pt x="204" y="1341"/>
                    </a:lnTo>
                    <a:lnTo>
                      <a:pt x="204" y="1341"/>
                    </a:lnTo>
                    <a:lnTo>
                      <a:pt x="214" y="1337"/>
                    </a:lnTo>
                    <a:lnTo>
                      <a:pt x="214" y="1337"/>
                    </a:lnTo>
                    <a:lnTo>
                      <a:pt x="219" y="1331"/>
                    </a:lnTo>
                    <a:lnTo>
                      <a:pt x="219" y="1331"/>
                    </a:lnTo>
                    <a:lnTo>
                      <a:pt x="223" y="1330"/>
                    </a:lnTo>
                    <a:lnTo>
                      <a:pt x="229" y="1327"/>
                    </a:lnTo>
                    <a:lnTo>
                      <a:pt x="233" y="1324"/>
                    </a:lnTo>
                    <a:lnTo>
                      <a:pt x="236" y="1320"/>
                    </a:lnTo>
                    <a:lnTo>
                      <a:pt x="236" y="1320"/>
                    </a:lnTo>
                    <a:lnTo>
                      <a:pt x="238" y="1319"/>
                    </a:lnTo>
                    <a:lnTo>
                      <a:pt x="241" y="1318"/>
                    </a:lnTo>
                    <a:lnTo>
                      <a:pt x="245" y="1313"/>
                    </a:lnTo>
                    <a:lnTo>
                      <a:pt x="245" y="1311"/>
                    </a:lnTo>
                    <a:lnTo>
                      <a:pt x="248" y="1309"/>
                    </a:lnTo>
                    <a:lnTo>
                      <a:pt x="248" y="1309"/>
                    </a:lnTo>
                    <a:lnTo>
                      <a:pt x="252" y="1303"/>
                    </a:lnTo>
                    <a:lnTo>
                      <a:pt x="255" y="1300"/>
                    </a:lnTo>
                    <a:lnTo>
                      <a:pt x="257" y="1299"/>
                    </a:lnTo>
                    <a:lnTo>
                      <a:pt x="257" y="1299"/>
                    </a:lnTo>
                    <a:lnTo>
                      <a:pt x="263" y="1286"/>
                    </a:lnTo>
                    <a:lnTo>
                      <a:pt x="271" y="1275"/>
                    </a:lnTo>
                    <a:lnTo>
                      <a:pt x="257" y="1271"/>
                    </a:lnTo>
                    <a:lnTo>
                      <a:pt x="257" y="1270"/>
                    </a:lnTo>
                    <a:lnTo>
                      <a:pt x="257" y="1270"/>
                    </a:lnTo>
                    <a:lnTo>
                      <a:pt x="260" y="1269"/>
                    </a:lnTo>
                    <a:lnTo>
                      <a:pt x="264" y="1270"/>
                    </a:lnTo>
                    <a:lnTo>
                      <a:pt x="268" y="1271"/>
                    </a:lnTo>
                    <a:lnTo>
                      <a:pt x="271" y="1274"/>
                    </a:lnTo>
                    <a:lnTo>
                      <a:pt x="272" y="1270"/>
                    </a:lnTo>
                    <a:lnTo>
                      <a:pt x="272" y="1270"/>
                    </a:lnTo>
                    <a:lnTo>
                      <a:pt x="275" y="1270"/>
                    </a:lnTo>
                    <a:lnTo>
                      <a:pt x="279" y="1270"/>
                    </a:lnTo>
                    <a:lnTo>
                      <a:pt x="279" y="1270"/>
                    </a:lnTo>
                    <a:lnTo>
                      <a:pt x="283" y="1265"/>
                    </a:lnTo>
                    <a:lnTo>
                      <a:pt x="289" y="1259"/>
                    </a:lnTo>
                    <a:lnTo>
                      <a:pt x="293" y="1254"/>
                    </a:lnTo>
                    <a:lnTo>
                      <a:pt x="295" y="1252"/>
                    </a:lnTo>
                    <a:lnTo>
                      <a:pt x="299" y="1251"/>
                    </a:lnTo>
                    <a:lnTo>
                      <a:pt x="299" y="1254"/>
                    </a:lnTo>
                    <a:lnTo>
                      <a:pt x="302" y="1254"/>
                    </a:lnTo>
                    <a:lnTo>
                      <a:pt x="309" y="1246"/>
                    </a:lnTo>
                    <a:lnTo>
                      <a:pt x="309" y="1246"/>
                    </a:lnTo>
                    <a:lnTo>
                      <a:pt x="312" y="1244"/>
                    </a:lnTo>
                    <a:lnTo>
                      <a:pt x="312" y="1244"/>
                    </a:lnTo>
                    <a:lnTo>
                      <a:pt x="317" y="1239"/>
                    </a:lnTo>
                    <a:lnTo>
                      <a:pt x="321" y="1233"/>
                    </a:lnTo>
                    <a:lnTo>
                      <a:pt x="321" y="1231"/>
                    </a:lnTo>
                    <a:lnTo>
                      <a:pt x="318" y="1229"/>
                    </a:lnTo>
                    <a:lnTo>
                      <a:pt x="318" y="1229"/>
                    </a:lnTo>
                    <a:lnTo>
                      <a:pt x="321" y="1228"/>
                    </a:lnTo>
                    <a:lnTo>
                      <a:pt x="327" y="1225"/>
                    </a:lnTo>
                    <a:lnTo>
                      <a:pt x="333" y="1220"/>
                    </a:lnTo>
                    <a:lnTo>
                      <a:pt x="335" y="1217"/>
                    </a:lnTo>
                    <a:lnTo>
                      <a:pt x="335" y="1217"/>
                    </a:lnTo>
                    <a:lnTo>
                      <a:pt x="337" y="1214"/>
                    </a:lnTo>
                    <a:lnTo>
                      <a:pt x="340" y="1212"/>
                    </a:lnTo>
                    <a:lnTo>
                      <a:pt x="341" y="1212"/>
                    </a:lnTo>
                    <a:lnTo>
                      <a:pt x="346" y="1213"/>
                    </a:lnTo>
                    <a:lnTo>
                      <a:pt x="344" y="1214"/>
                    </a:lnTo>
                    <a:lnTo>
                      <a:pt x="346" y="1216"/>
                    </a:lnTo>
                    <a:lnTo>
                      <a:pt x="344" y="1217"/>
                    </a:lnTo>
                    <a:lnTo>
                      <a:pt x="346" y="1219"/>
                    </a:lnTo>
                    <a:lnTo>
                      <a:pt x="346" y="1219"/>
                    </a:lnTo>
                    <a:lnTo>
                      <a:pt x="348" y="1214"/>
                    </a:lnTo>
                    <a:lnTo>
                      <a:pt x="352" y="1210"/>
                    </a:lnTo>
                    <a:lnTo>
                      <a:pt x="356" y="1208"/>
                    </a:lnTo>
                    <a:lnTo>
                      <a:pt x="360" y="1206"/>
                    </a:lnTo>
                    <a:lnTo>
                      <a:pt x="360" y="1205"/>
                    </a:lnTo>
                    <a:lnTo>
                      <a:pt x="356" y="1201"/>
                    </a:lnTo>
                    <a:lnTo>
                      <a:pt x="356" y="1197"/>
                    </a:lnTo>
                    <a:lnTo>
                      <a:pt x="356" y="1197"/>
                    </a:lnTo>
                    <a:lnTo>
                      <a:pt x="363" y="1191"/>
                    </a:lnTo>
                    <a:lnTo>
                      <a:pt x="366" y="1187"/>
                    </a:lnTo>
                    <a:lnTo>
                      <a:pt x="367" y="1185"/>
                    </a:lnTo>
                    <a:lnTo>
                      <a:pt x="367" y="1185"/>
                    </a:lnTo>
                    <a:lnTo>
                      <a:pt x="365" y="1182"/>
                    </a:lnTo>
                    <a:lnTo>
                      <a:pt x="363" y="1178"/>
                    </a:lnTo>
                    <a:lnTo>
                      <a:pt x="369" y="1176"/>
                    </a:lnTo>
                    <a:lnTo>
                      <a:pt x="370" y="1176"/>
                    </a:lnTo>
                    <a:lnTo>
                      <a:pt x="370" y="1178"/>
                    </a:lnTo>
                    <a:lnTo>
                      <a:pt x="371" y="1179"/>
                    </a:lnTo>
                    <a:lnTo>
                      <a:pt x="371" y="1176"/>
                    </a:lnTo>
                    <a:lnTo>
                      <a:pt x="371" y="1176"/>
                    </a:lnTo>
                    <a:lnTo>
                      <a:pt x="377" y="1172"/>
                    </a:lnTo>
                    <a:lnTo>
                      <a:pt x="384" y="1164"/>
                    </a:lnTo>
                    <a:lnTo>
                      <a:pt x="389" y="1159"/>
                    </a:lnTo>
                    <a:lnTo>
                      <a:pt x="392" y="1157"/>
                    </a:lnTo>
                    <a:lnTo>
                      <a:pt x="394" y="1156"/>
                    </a:lnTo>
                    <a:lnTo>
                      <a:pt x="394" y="1156"/>
                    </a:lnTo>
                    <a:lnTo>
                      <a:pt x="394" y="1153"/>
                    </a:lnTo>
                    <a:lnTo>
                      <a:pt x="398" y="1148"/>
                    </a:lnTo>
                    <a:lnTo>
                      <a:pt x="401" y="1145"/>
                    </a:lnTo>
                    <a:lnTo>
                      <a:pt x="405" y="1143"/>
                    </a:lnTo>
                    <a:lnTo>
                      <a:pt x="405" y="1136"/>
                    </a:lnTo>
                    <a:lnTo>
                      <a:pt x="405" y="1136"/>
                    </a:lnTo>
                    <a:lnTo>
                      <a:pt x="400" y="1134"/>
                    </a:lnTo>
                    <a:lnTo>
                      <a:pt x="397" y="1133"/>
                    </a:lnTo>
                    <a:lnTo>
                      <a:pt x="394" y="1134"/>
                    </a:lnTo>
                    <a:lnTo>
                      <a:pt x="394" y="1134"/>
                    </a:lnTo>
                    <a:lnTo>
                      <a:pt x="389" y="1130"/>
                    </a:lnTo>
                    <a:lnTo>
                      <a:pt x="382" y="1128"/>
                    </a:lnTo>
                    <a:lnTo>
                      <a:pt x="382" y="1128"/>
                    </a:lnTo>
                    <a:lnTo>
                      <a:pt x="378" y="1129"/>
                    </a:lnTo>
                    <a:lnTo>
                      <a:pt x="374" y="1129"/>
                    </a:lnTo>
                    <a:lnTo>
                      <a:pt x="374" y="1129"/>
                    </a:lnTo>
                    <a:lnTo>
                      <a:pt x="367" y="1130"/>
                    </a:lnTo>
                    <a:lnTo>
                      <a:pt x="367" y="1130"/>
                    </a:lnTo>
                    <a:lnTo>
                      <a:pt x="358" y="1130"/>
                    </a:lnTo>
                    <a:lnTo>
                      <a:pt x="346" y="1129"/>
                    </a:lnTo>
                    <a:lnTo>
                      <a:pt x="335" y="1126"/>
                    </a:lnTo>
                    <a:lnTo>
                      <a:pt x="331" y="1125"/>
                    </a:lnTo>
                    <a:lnTo>
                      <a:pt x="327" y="1122"/>
                    </a:lnTo>
                    <a:lnTo>
                      <a:pt x="328" y="1121"/>
                    </a:lnTo>
                    <a:lnTo>
                      <a:pt x="328" y="1121"/>
                    </a:lnTo>
                    <a:lnTo>
                      <a:pt x="332" y="1121"/>
                    </a:lnTo>
                    <a:lnTo>
                      <a:pt x="337" y="1122"/>
                    </a:lnTo>
                    <a:lnTo>
                      <a:pt x="350" y="1124"/>
                    </a:lnTo>
                    <a:lnTo>
                      <a:pt x="350" y="1124"/>
                    </a:lnTo>
                    <a:lnTo>
                      <a:pt x="369" y="1124"/>
                    </a:lnTo>
                    <a:lnTo>
                      <a:pt x="378" y="1124"/>
                    </a:lnTo>
                    <a:lnTo>
                      <a:pt x="386" y="1125"/>
                    </a:lnTo>
                    <a:lnTo>
                      <a:pt x="386" y="1125"/>
                    </a:lnTo>
                    <a:lnTo>
                      <a:pt x="392" y="1130"/>
                    </a:lnTo>
                    <a:lnTo>
                      <a:pt x="397" y="1133"/>
                    </a:lnTo>
                    <a:lnTo>
                      <a:pt x="404" y="1130"/>
                    </a:lnTo>
                    <a:lnTo>
                      <a:pt x="405" y="1132"/>
                    </a:lnTo>
                    <a:lnTo>
                      <a:pt x="407" y="1132"/>
                    </a:lnTo>
                    <a:lnTo>
                      <a:pt x="415" y="1137"/>
                    </a:lnTo>
                    <a:lnTo>
                      <a:pt x="411" y="1141"/>
                    </a:lnTo>
                    <a:lnTo>
                      <a:pt x="411" y="1143"/>
                    </a:lnTo>
                    <a:lnTo>
                      <a:pt x="411" y="1143"/>
                    </a:lnTo>
                    <a:lnTo>
                      <a:pt x="404" y="1151"/>
                    </a:lnTo>
                    <a:lnTo>
                      <a:pt x="404" y="1151"/>
                    </a:lnTo>
                    <a:lnTo>
                      <a:pt x="396" y="1162"/>
                    </a:lnTo>
                    <a:lnTo>
                      <a:pt x="396" y="1162"/>
                    </a:lnTo>
                    <a:lnTo>
                      <a:pt x="392" y="1166"/>
                    </a:lnTo>
                    <a:lnTo>
                      <a:pt x="388" y="1171"/>
                    </a:lnTo>
                    <a:lnTo>
                      <a:pt x="388" y="1174"/>
                    </a:lnTo>
                    <a:lnTo>
                      <a:pt x="388" y="1174"/>
                    </a:lnTo>
                    <a:lnTo>
                      <a:pt x="384" y="1179"/>
                    </a:lnTo>
                    <a:lnTo>
                      <a:pt x="379" y="1183"/>
                    </a:lnTo>
                    <a:lnTo>
                      <a:pt x="379" y="1183"/>
                    </a:lnTo>
                    <a:lnTo>
                      <a:pt x="377" y="1190"/>
                    </a:lnTo>
                    <a:lnTo>
                      <a:pt x="371" y="1195"/>
                    </a:lnTo>
                    <a:lnTo>
                      <a:pt x="371" y="1195"/>
                    </a:lnTo>
                    <a:lnTo>
                      <a:pt x="366" y="1201"/>
                    </a:lnTo>
                    <a:lnTo>
                      <a:pt x="362" y="1208"/>
                    </a:lnTo>
                    <a:lnTo>
                      <a:pt x="363" y="1212"/>
                    </a:lnTo>
                    <a:lnTo>
                      <a:pt x="359" y="1214"/>
                    </a:lnTo>
                    <a:lnTo>
                      <a:pt x="359" y="1217"/>
                    </a:lnTo>
                    <a:lnTo>
                      <a:pt x="359" y="1217"/>
                    </a:lnTo>
                    <a:lnTo>
                      <a:pt x="363" y="1217"/>
                    </a:lnTo>
                    <a:lnTo>
                      <a:pt x="367" y="1219"/>
                    </a:lnTo>
                    <a:lnTo>
                      <a:pt x="367" y="1219"/>
                    </a:lnTo>
                    <a:lnTo>
                      <a:pt x="370" y="1217"/>
                    </a:lnTo>
                    <a:lnTo>
                      <a:pt x="374" y="1217"/>
                    </a:lnTo>
                    <a:lnTo>
                      <a:pt x="382" y="1219"/>
                    </a:lnTo>
                    <a:lnTo>
                      <a:pt x="382" y="1221"/>
                    </a:lnTo>
                    <a:lnTo>
                      <a:pt x="381" y="1223"/>
                    </a:lnTo>
                    <a:lnTo>
                      <a:pt x="384" y="1225"/>
                    </a:lnTo>
                    <a:lnTo>
                      <a:pt x="388" y="1223"/>
                    </a:lnTo>
                    <a:lnTo>
                      <a:pt x="392" y="1228"/>
                    </a:lnTo>
                    <a:lnTo>
                      <a:pt x="393" y="1225"/>
                    </a:lnTo>
                    <a:lnTo>
                      <a:pt x="396" y="1227"/>
                    </a:lnTo>
                    <a:lnTo>
                      <a:pt x="396" y="1227"/>
                    </a:lnTo>
                    <a:lnTo>
                      <a:pt x="415" y="1219"/>
                    </a:lnTo>
                    <a:lnTo>
                      <a:pt x="415" y="1219"/>
                    </a:lnTo>
                    <a:lnTo>
                      <a:pt x="424" y="1217"/>
                    </a:lnTo>
                    <a:lnTo>
                      <a:pt x="424" y="1217"/>
                    </a:lnTo>
                    <a:lnTo>
                      <a:pt x="445" y="1210"/>
                    </a:lnTo>
                    <a:lnTo>
                      <a:pt x="445" y="1210"/>
                    </a:lnTo>
                    <a:lnTo>
                      <a:pt x="450" y="1210"/>
                    </a:lnTo>
                    <a:lnTo>
                      <a:pt x="455" y="1210"/>
                    </a:lnTo>
                    <a:lnTo>
                      <a:pt x="455" y="1210"/>
                    </a:lnTo>
                    <a:lnTo>
                      <a:pt x="445" y="1213"/>
                    </a:lnTo>
                    <a:lnTo>
                      <a:pt x="445" y="1213"/>
                    </a:lnTo>
                    <a:lnTo>
                      <a:pt x="435" y="1214"/>
                    </a:lnTo>
                    <a:lnTo>
                      <a:pt x="435" y="1214"/>
                    </a:lnTo>
                    <a:lnTo>
                      <a:pt x="423" y="1220"/>
                    </a:lnTo>
                    <a:lnTo>
                      <a:pt x="411" y="1224"/>
                    </a:lnTo>
                    <a:lnTo>
                      <a:pt x="409" y="1229"/>
                    </a:lnTo>
                    <a:lnTo>
                      <a:pt x="405" y="1231"/>
                    </a:lnTo>
                    <a:lnTo>
                      <a:pt x="404" y="1229"/>
                    </a:lnTo>
                    <a:lnTo>
                      <a:pt x="401" y="1229"/>
                    </a:lnTo>
                    <a:lnTo>
                      <a:pt x="398" y="1232"/>
                    </a:lnTo>
                    <a:lnTo>
                      <a:pt x="396" y="1231"/>
                    </a:lnTo>
                    <a:lnTo>
                      <a:pt x="393" y="1232"/>
                    </a:lnTo>
                    <a:lnTo>
                      <a:pt x="393" y="1231"/>
                    </a:lnTo>
                    <a:lnTo>
                      <a:pt x="393" y="1231"/>
                    </a:lnTo>
                    <a:lnTo>
                      <a:pt x="390" y="1228"/>
                    </a:lnTo>
                    <a:lnTo>
                      <a:pt x="388" y="1227"/>
                    </a:lnTo>
                    <a:lnTo>
                      <a:pt x="381" y="1225"/>
                    </a:lnTo>
                    <a:lnTo>
                      <a:pt x="375" y="1227"/>
                    </a:lnTo>
                    <a:lnTo>
                      <a:pt x="369" y="1227"/>
                    </a:lnTo>
                    <a:lnTo>
                      <a:pt x="369" y="1227"/>
                    </a:lnTo>
                    <a:lnTo>
                      <a:pt x="362" y="1232"/>
                    </a:lnTo>
                    <a:lnTo>
                      <a:pt x="359" y="1236"/>
                    </a:lnTo>
                    <a:lnTo>
                      <a:pt x="358" y="1239"/>
                    </a:lnTo>
                    <a:lnTo>
                      <a:pt x="356" y="1236"/>
                    </a:lnTo>
                    <a:lnTo>
                      <a:pt x="354" y="1236"/>
                    </a:lnTo>
                    <a:lnTo>
                      <a:pt x="351" y="1238"/>
                    </a:lnTo>
                    <a:lnTo>
                      <a:pt x="350" y="1238"/>
                    </a:lnTo>
                    <a:lnTo>
                      <a:pt x="350" y="1238"/>
                    </a:lnTo>
                    <a:lnTo>
                      <a:pt x="346" y="1240"/>
                    </a:lnTo>
                    <a:lnTo>
                      <a:pt x="341" y="1242"/>
                    </a:lnTo>
                    <a:lnTo>
                      <a:pt x="337" y="1244"/>
                    </a:lnTo>
                    <a:lnTo>
                      <a:pt x="332" y="1250"/>
                    </a:lnTo>
                    <a:lnTo>
                      <a:pt x="336" y="1250"/>
                    </a:lnTo>
                    <a:lnTo>
                      <a:pt x="336" y="1251"/>
                    </a:lnTo>
                    <a:lnTo>
                      <a:pt x="340" y="1251"/>
                    </a:lnTo>
                    <a:lnTo>
                      <a:pt x="341" y="1255"/>
                    </a:lnTo>
                    <a:lnTo>
                      <a:pt x="341" y="1255"/>
                    </a:lnTo>
                    <a:lnTo>
                      <a:pt x="331" y="1266"/>
                    </a:lnTo>
                    <a:lnTo>
                      <a:pt x="324" y="1271"/>
                    </a:lnTo>
                    <a:lnTo>
                      <a:pt x="318" y="1275"/>
                    </a:lnTo>
                    <a:lnTo>
                      <a:pt x="318" y="1275"/>
                    </a:lnTo>
                    <a:lnTo>
                      <a:pt x="314" y="1284"/>
                    </a:lnTo>
                    <a:lnTo>
                      <a:pt x="310" y="1292"/>
                    </a:lnTo>
                    <a:lnTo>
                      <a:pt x="309" y="1292"/>
                    </a:lnTo>
                    <a:lnTo>
                      <a:pt x="308" y="1294"/>
                    </a:lnTo>
                    <a:lnTo>
                      <a:pt x="310" y="1296"/>
                    </a:lnTo>
                    <a:lnTo>
                      <a:pt x="310" y="1297"/>
                    </a:lnTo>
                    <a:lnTo>
                      <a:pt x="316" y="1300"/>
                    </a:lnTo>
                    <a:lnTo>
                      <a:pt x="316" y="1301"/>
                    </a:lnTo>
                    <a:lnTo>
                      <a:pt x="312" y="1301"/>
                    </a:lnTo>
                    <a:lnTo>
                      <a:pt x="308" y="1304"/>
                    </a:lnTo>
                    <a:lnTo>
                      <a:pt x="309" y="1299"/>
                    </a:lnTo>
                    <a:lnTo>
                      <a:pt x="306" y="1299"/>
                    </a:lnTo>
                    <a:lnTo>
                      <a:pt x="306" y="1299"/>
                    </a:lnTo>
                    <a:lnTo>
                      <a:pt x="303" y="1303"/>
                    </a:lnTo>
                    <a:lnTo>
                      <a:pt x="299" y="1304"/>
                    </a:lnTo>
                    <a:lnTo>
                      <a:pt x="301" y="1307"/>
                    </a:lnTo>
                    <a:lnTo>
                      <a:pt x="299" y="1307"/>
                    </a:lnTo>
                    <a:lnTo>
                      <a:pt x="297" y="1311"/>
                    </a:lnTo>
                    <a:lnTo>
                      <a:pt x="298" y="1312"/>
                    </a:lnTo>
                    <a:lnTo>
                      <a:pt x="302" y="1309"/>
                    </a:lnTo>
                    <a:lnTo>
                      <a:pt x="302" y="1312"/>
                    </a:lnTo>
                    <a:lnTo>
                      <a:pt x="298" y="1315"/>
                    </a:lnTo>
                    <a:lnTo>
                      <a:pt x="299" y="1316"/>
                    </a:lnTo>
                    <a:lnTo>
                      <a:pt x="299" y="1316"/>
                    </a:lnTo>
                    <a:lnTo>
                      <a:pt x="303" y="1315"/>
                    </a:lnTo>
                    <a:lnTo>
                      <a:pt x="306" y="1315"/>
                    </a:lnTo>
                    <a:lnTo>
                      <a:pt x="305" y="1316"/>
                    </a:lnTo>
                    <a:lnTo>
                      <a:pt x="306" y="1319"/>
                    </a:lnTo>
                    <a:lnTo>
                      <a:pt x="308" y="1320"/>
                    </a:lnTo>
                    <a:lnTo>
                      <a:pt x="310" y="1324"/>
                    </a:lnTo>
                    <a:lnTo>
                      <a:pt x="312" y="1326"/>
                    </a:lnTo>
                    <a:lnTo>
                      <a:pt x="313" y="1323"/>
                    </a:lnTo>
                    <a:lnTo>
                      <a:pt x="316" y="1326"/>
                    </a:lnTo>
                    <a:lnTo>
                      <a:pt x="316" y="1326"/>
                    </a:lnTo>
                    <a:lnTo>
                      <a:pt x="327" y="1319"/>
                    </a:lnTo>
                    <a:lnTo>
                      <a:pt x="327" y="1319"/>
                    </a:lnTo>
                    <a:lnTo>
                      <a:pt x="332" y="1313"/>
                    </a:lnTo>
                    <a:lnTo>
                      <a:pt x="335" y="1311"/>
                    </a:lnTo>
                    <a:lnTo>
                      <a:pt x="337" y="1309"/>
                    </a:lnTo>
                    <a:lnTo>
                      <a:pt x="337" y="1309"/>
                    </a:lnTo>
                    <a:lnTo>
                      <a:pt x="344" y="1311"/>
                    </a:lnTo>
                    <a:lnTo>
                      <a:pt x="350" y="1309"/>
                    </a:lnTo>
                    <a:lnTo>
                      <a:pt x="355" y="1307"/>
                    </a:lnTo>
                    <a:lnTo>
                      <a:pt x="360" y="1303"/>
                    </a:lnTo>
                    <a:lnTo>
                      <a:pt x="360" y="1305"/>
                    </a:lnTo>
                    <a:lnTo>
                      <a:pt x="359" y="1307"/>
                    </a:lnTo>
                    <a:lnTo>
                      <a:pt x="360" y="1308"/>
                    </a:lnTo>
                    <a:lnTo>
                      <a:pt x="359" y="1311"/>
                    </a:lnTo>
                    <a:lnTo>
                      <a:pt x="350" y="1313"/>
                    </a:lnTo>
                    <a:lnTo>
                      <a:pt x="346" y="1312"/>
                    </a:lnTo>
                    <a:lnTo>
                      <a:pt x="346" y="1312"/>
                    </a:lnTo>
                    <a:lnTo>
                      <a:pt x="340" y="1315"/>
                    </a:lnTo>
                    <a:lnTo>
                      <a:pt x="337" y="1322"/>
                    </a:lnTo>
                    <a:lnTo>
                      <a:pt x="337" y="1322"/>
                    </a:lnTo>
                    <a:lnTo>
                      <a:pt x="331" y="1326"/>
                    </a:lnTo>
                    <a:lnTo>
                      <a:pt x="325" y="1330"/>
                    </a:lnTo>
                    <a:lnTo>
                      <a:pt x="322" y="1328"/>
                    </a:lnTo>
                    <a:lnTo>
                      <a:pt x="320" y="1330"/>
                    </a:lnTo>
                    <a:lnTo>
                      <a:pt x="321" y="1331"/>
                    </a:lnTo>
                    <a:lnTo>
                      <a:pt x="318" y="1332"/>
                    </a:lnTo>
                    <a:lnTo>
                      <a:pt x="317" y="1331"/>
                    </a:lnTo>
                    <a:lnTo>
                      <a:pt x="317" y="1331"/>
                    </a:lnTo>
                    <a:lnTo>
                      <a:pt x="313" y="1334"/>
                    </a:lnTo>
                    <a:lnTo>
                      <a:pt x="309" y="1335"/>
                    </a:lnTo>
                    <a:lnTo>
                      <a:pt x="305" y="1331"/>
                    </a:lnTo>
                    <a:lnTo>
                      <a:pt x="305" y="1331"/>
                    </a:lnTo>
                    <a:lnTo>
                      <a:pt x="303" y="1328"/>
                    </a:lnTo>
                    <a:lnTo>
                      <a:pt x="305" y="1326"/>
                    </a:lnTo>
                    <a:lnTo>
                      <a:pt x="303" y="1326"/>
                    </a:lnTo>
                    <a:lnTo>
                      <a:pt x="301" y="1327"/>
                    </a:lnTo>
                    <a:lnTo>
                      <a:pt x="299" y="1326"/>
                    </a:lnTo>
                    <a:lnTo>
                      <a:pt x="297" y="1326"/>
                    </a:lnTo>
                    <a:lnTo>
                      <a:pt x="294" y="1331"/>
                    </a:lnTo>
                    <a:lnTo>
                      <a:pt x="293" y="1330"/>
                    </a:lnTo>
                    <a:lnTo>
                      <a:pt x="293" y="1328"/>
                    </a:lnTo>
                    <a:lnTo>
                      <a:pt x="291" y="1328"/>
                    </a:lnTo>
                    <a:lnTo>
                      <a:pt x="291" y="1328"/>
                    </a:lnTo>
                    <a:lnTo>
                      <a:pt x="289" y="1332"/>
                    </a:lnTo>
                    <a:lnTo>
                      <a:pt x="287" y="1335"/>
                    </a:lnTo>
                    <a:lnTo>
                      <a:pt x="287" y="1335"/>
                    </a:lnTo>
                    <a:lnTo>
                      <a:pt x="283" y="1341"/>
                    </a:lnTo>
                    <a:lnTo>
                      <a:pt x="283" y="1341"/>
                    </a:lnTo>
                    <a:lnTo>
                      <a:pt x="283" y="1342"/>
                    </a:lnTo>
                    <a:lnTo>
                      <a:pt x="284" y="1343"/>
                    </a:lnTo>
                    <a:lnTo>
                      <a:pt x="284" y="1346"/>
                    </a:lnTo>
                    <a:lnTo>
                      <a:pt x="283" y="1345"/>
                    </a:lnTo>
                    <a:lnTo>
                      <a:pt x="282" y="1345"/>
                    </a:lnTo>
                    <a:lnTo>
                      <a:pt x="276" y="1353"/>
                    </a:lnTo>
                    <a:lnTo>
                      <a:pt x="279" y="1354"/>
                    </a:lnTo>
                    <a:lnTo>
                      <a:pt x="280" y="1353"/>
                    </a:lnTo>
                    <a:lnTo>
                      <a:pt x="283" y="1350"/>
                    </a:lnTo>
                    <a:lnTo>
                      <a:pt x="284" y="1349"/>
                    </a:lnTo>
                    <a:lnTo>
                      <a:pt x="284" y="1353"/>
                    </a:lnTo>
                    <a:lnTo>
                      <a:pt x="283" y="1356"/>
                    </a:lnTo>
                    <a:lnTo>
                      <a:pt x="283" y="1357"/>
                    </a:lnTo>
                    <a:lnTo>
                      <a:pt x="283" y="1357"/>
                    </a:lnTo>
                    <a:lnTo>
                      <a:pt x="290" y="1347"/>
                    </a:lnTo>
                    <a:lnTo>
                      <a:pt x="297" y="1338"/>
                    </a:lnTo>
                    <a:lnTo>
                      <a:pt x="297" y="1339"/>
                    </a:lnTo>
                    <a:lnTo>
                      <a:pt x="294" y="1345"/>
                    </a:lnTo>
                    <a:lnTo>
                      <a:pt x="298" y="1346"/>
                    </a:lnTo>
                    <a:lnTo>
                      <a:pt x="298" y="1346"/>
                    </a:lnTo>
                    <a:lnTo>
                      <a:pt x="301" y="1350"/>
                    </a:lnTo>
                    <a:lnTo>
                      <a:pt x="303" y="1356"/>
                    </a:lnTo>
                    <a:lnTo>
                      <a:pt x="303" y="1362"/>
                    </a:lnTo>
                    <a:lnTo>
                      <a:pt x="302" y="1365"/>
                    </a:lnTo>
                    <a:lnTo>
                      <a:pt x="301" y="1368"/>
                    </a:lnTo>
                    <a:lnTo>
                      <a:pt x="308" y="1369"/>
                    </a:lnTo>
                    <a:lnTo>
                      <a:pt x="308" y="1369"/>
                    </a:lnTo>
                    <a:lnTo>
                      <a:pt x="303" y="1370"/>
                    </a:lnTo>
                    <a:lnTo>
                      <a:pt x="301" y="1372"/>
                    </a:lnTo>
                    <a:lnTo>
                      <a:pt x="298" y="1372"/>
                    </a:lnTo>
                    <a:lnTo>
                      <a:pt x="298" y="1369"/>
                    </a:lnTo>
                    <a:lnTo>
                      <a:pt x="294" y="1373"/>
                    </a:lnTo>
                    <a:lnTo>
                      <a:pt x="294" y="1373"/>
                    </a:lnTo>
                    <a:lnTo>
                      <a:pt x="291" y="1375"/>
                    </a:lnTo>
                    <a:lnTo>
                      <a:pt x="289" y="1373"/>
                    </a:lnTo>
                    <a:lnTo>
                      <a:pt x="290" y="1372"/>
                    </a:lnTo>
                    <a:lnTo>
                      <a:pt x="286" y="1372"/>
                    </a:lnTo>
                    <a:lnTo>
                      <a:pt x="286" y="1372"/>
                    </a:lnTo>
                    <a:lnTo>
                      <a:pt x="280" y="1375"/>
                    </a:lnTo>
                    <a:lnTo>
                      <a:pt x="279" y="1377"/>
                    </a:lnTo>
                    <a:lnTo>
                      <a:pt x="279" y="1380"/>
                    </a:lnTo>
                    <a:lnTo>
                      <a:pt x="275" y="1383"/>
                    </a:lnTo>
                    <a:lnTo>
                      <a:pt x="274" y="1381"/>
                    </a:lnTo>
                    <a:lnTo>
                      <a:pt x="274" y="1383"/>
                    </a:lnTo>
                    <a:lnTo>
                      <a:pt x="274" y="1385"/>
                    </a:lnTo>
                    <a:lnTo>
                      <a:pt x="272" y="1387"/>
                    </a:lnTo>
                    <a:lnTo>
                      <a:pt x="274" y="1389"/>
                    </a:lnTo>
                    <a:lnTo>
                      <a:pt x="278" y="1396"/>
                    </a:lnTo>
                    <a:lnTo>
                      <a:pt x="278" y="1398"/>
                    </a:lnTo>
                    <a:lnTo>
                      <a:pt x="276" y="1398"/>
                    </a:lnTo>
                    <a:lnTo>
                      <a:pt x="274" y="1396"/>
                    </a:lnTo>
                    <a:lnTo>
                      <a:pt x="274" y="1396"/>
                    </a:lnTo>
                    <a:lnTo>
                      <a:pt x="271" y="1399"/>
                    </a:lnTo>
                    <a:lnTo>
                      <a:pt x="267" y="1399"/>
                    </a:lnTo>
                    <a:lnTo>
                      <a:pt x="267" y="1399"/>
                    </a:lnTo>
                    <a:lnTo>
                      <a:pt x="261" y="1407"/>
                    </a:lnTo>
                    <a:lnTo>
                      <a:pt x="261" y="1407"/>
                    </a:lnTo>
                    <a:lnTo>
                      <a:pt x="260" y="1411"/>
                    </a:lnTo>
                    <a:lnTo>
                      <a:pt x="257" y="1415"/>
                    </a:lnTo>
                    <a:lnTo>
                      <a:pt x="259" y="1418"/>
                    </a:lnTo>
                    <a:lnTo>
                      <a:pt x="255" y="1421"/>
                    </a:lnTo>
                    <a:lnTo>
                      <a:pt x="256" y="1422"/>
                    </a:lnTo>
                    <a:lnTo>
                      <a:pt x="253" y="1425"/>
                    </a:lnTo>
                    <a:lnTo>
                      <a:pt x="253" y="1425"/>
                    </a:lnTo>
                    <a:lnTo>
                      <a:pt x="253" y="1429"/>
                    </a:lnTo>
                    <a:lnTo>
                      <a:pt x="255" y="1431"/>
                    </a:lnTo>
                    <a:lnTo>
                      <a:pt x="256" y="1431"/>
                    </a:lnTo>
                    <a:lnTo>
                      <a:pt x="259" y="1437"/>
                    </a:lnTo>
                    <a:lnTo>
                      <a:pt x="261" y="1437"/>
                    </a:lnTo>
                    <a:lnTo>
                      <a:pt x="264" y="1431"/>
                    </a:lnTo>
                    <a:lnTo>
                      <a:pt x="267" y="1430"/>
                    </a:lnTo>
                    <a:lnTo>
                      <a:pt x="270" y="1426"/>
                    </a:lnTo>
                    <a:lnTo>
                      <a:pt x="268" y="1429"/>
                    </a:lnTo>
                    <a:lnTo>
                      <a:pt x="274" y="1431"/>
                    </a:lnTo>
                    <a:lnTo>
                      <a:pt x="278" y="1430"/>
                    </a:lnTo>
                    <a:lnTo>
                      <a:pt x="278" y="1430"/>
                    </a:lnTo>
                    <a:lnTo>
                      <a:pt x="282" y="1426"/>
                    </a:lnTo>
                    <a:lnTo>
                      <a:pt x="284" y="1425"/>
                    </a:lnTo>
                    <a:lnTo>
                      <a:pt x="286" y="1423"/>
                    </a:lnTo>
                    <a:lnTo>
                      <a:pt x="287" y="1426"/>
                    </a:lnTo>
                    <a:lnTo>
                      <a:pt x="286" y="1427"/>
                    </a:lnTo>
                    <a:lnTo>
                      <a:pt x="282" y="1429"/>
                    </a:lnTo>
                    <a:lnTo>
                      <a:pt x="280" y="1431"/>
                    </a:lnTo>
                    <a:lnTo>
                      <a:pt x="276" y="1433"/>
                    </a:lnTo>
                    <a:lnTo>
                      <a:pt x="276" y="1433"/>
                    </a:lnTo>
                    <a:lnTo>
                      <a:pt x="274" y="1433"/>
                    </a:lnTo>
                    <a:lnTo>
                      <a:pt x="271" y="1433"/>
                    </a:lnTo>
                    <a:lnTo>
                      <a:pt x="267" y="1434"/>
                    </a:lnTo>
                    <a:lnTo>
                      <a:pt x="264" y="1438"/>
                    </a:lnTo>
                    <a:lnTo>
                      <a:pt x="259" y="1440"/>
                    </a:lnTo>
                    <a:lnTo>
                      <a:pt x="253" y="1434"/>
                    </a:lnTo>
                    <a:lnTo>
                      <a:pt x="252" y="1436"/>
                    </a:lnTo>
                    <a:lnTo>
                      <a:pt x="252" y="1437"/>
                    </a:lnTo>
                    <a:lnTo>
                      <a:pt x="249" y="1436"/>
                    </a:lnTo>
                    <a:lnTo>
                      <a:pt x="249" y="1436"/>
                    </a:lnTo>
                    <a:lnTo>
                      <a:pt x="245" y="1438"/>
                    </a:lnTo>
                    <a:lnTo>
                      <a:pt x="244" y="1442"/>
                    </a:lnTo>
                    <a:lnTo>
                      <a:pt x="240" y="1445"/>
                    </a:lnTo>
                    <a:lnTo>
                      <a:pt x="238" y="1449"/>
                    </a:lnTo>
                    <a:lnTo>
                      <a:pt x="238" y="1449"/>
                    </a:lnTo>
                    <a:lnTo>
                      <a:pt x="234" y="1452"/>
                    </a:lnTo>
                    <a:lnTo>
                      <a:pt x="234" y="1455"/>
                    </a:lnTo>
                    <a:lnTo>
                      <a:pt x="232" y="1455"/>
                    </a:lnTo>
                    <a:lnTo>
                      <a:pt x="230" y="1457"/>
                    </a:lnTo>
                    <a:lnTo>
                      <a:pt x="226" y="1456"/>
                    </a:lnTo>
                    <a:lnTo>
                      <a:pt x="226" y="1455"/>
                    </a:lnTo>
                    <a:lnTo>
                      <a:pt x="226" y="1455"/>
                    </a:lnTo>
                    <a:lnTo>
                      <a:pt x="222" y="1455"/>
                    </a:lnTo>
                    <a:lnTo>
                      <a:pt x="218" y="1457"/>
                    </a:lnTo>
                    <a:lnTo>
                      <a:pt x="215" y="1461"/>
                    </a:lnTo>
                    <a:lnTo>
                      <a:pt x="213" y="1464"/>
                    </a:lnTo>
                    <a:lnTo>
                      <a:pt x="213" y="1467"/>
                    </a:lnTo>
                    <a:lnTo>
                      <a:pt x="211" y="1467"/>
                    </a:lnTo>
                    <a:lnTo>
                      <a:pt x="210" y="1469"/>
                    </a:lnTo>
                    <a:lnTo>
                      <a:pt x="207" y="1469"/>
                    </a:lnTo>
                    <a:lnTo>
                      <a:pt x="207" y="1472"/>
                    </a:lnTo>
                    <a:lnTo>
                      <a:pt x="209" y="1472"/>
                    </a:lnTo>
                    <a:lnTo>
                      <a:pt x="210" y="1472"/>
                    </a:lnTo>
                    <a:lnTo>
                      <a:pt x="211" y="1471"/>
                    </a:lnTo>
                    <a:lnTo>
                      <a:pt x="214" y="1469"/>
                    </a:lnTo>
                    <a:lnTo>
                      <a:pt x="218" y="1471"/>
                    </a:lnTo>
                    <a:lnTo>
                      <a:pt x="217" y="1476"/>
                    </a:lnTo>
                    <a:lnTo>
                      <a:pt x="218" y="1480"/>
                    </a:lnTo>
                    <a:lnTo>
                      <a:pt x="218" y="1483"/>
                    </a:lnTo>
                    <a:lnTo>
                      <a:pt x="222" y="1487"/>
                    </a:lnTo>
                    <a:lnTo>
                      <a:pt x="226" y="1483"/>
                    </a:lnTo>
                    <a:lnTo>
                      <a:pt x="226" y="1479"/>
                    </a:lnTo>
                    <a:lnTo>
                      <a:pt x="229" y="1479"/>
                    </a:lnTo>
                    <a:lnTo>
                      <a:pt x="230" y="1478"/>
                    </a:lnTo>
                    <a:lnTo>
                      <a:pt x="229" y="1474"/>
                    </a:lnTo>
                    <a:lnTo>
                      <a:pt x="230" y="1472"/>
                    </a:lnTo>
                    <a:lnTo>
                      <a:pt x="227" y="1472"/>
                    </a:lnTo>
                    <a:lnTo>
                      <a:pt x="227" y="1472"/>
                    </a:lnTo>
                    <a:lnTo>
                      <a:pt x="227" y="1469"/>
                    </a:lnTo>
                    <a:lnTo>
                      <a:pt x="229" y="1467"/>
                    </a:lnTo>
                    <a:lnTo>
                      <a:pt x="233" y="1467"/>
                    </a:lnTo>
                    <a:lnTo>
                      <a:pt x="236" y="1457"/>
                    </a:lnTo>
                    <a:lnTo>
                      <a:pt x="237" y="1459"/>
                    </a:lnTo>
                    <a:lnTo>
                      <a:pt x="237" y="1459"/>
                    </a:lnTo>
                    <a:lnTo>
                      <a:pt x="236" y="1463"/>
                    </a:lnTo>
                    <a:lnTo>
                      <a:pt x="236" y="1467"/>
                    </a:lnTo>
                    <a:lnTo>
                      <a:pt x="234" y="1476"/>
                    </a:lnTo>
                    <a:lnTo>
                      <a:pt x="236" y="1475"/>
                    </a:lnTo>
                    <a:lnTo>
                      <a:pt x="238" y="1475"/>
                    </a:lnTo>
                    <a:lnTo>
                      <a:pt x="238" y="1476"/>
                    </a:lnTo>
                    <a:lnTo>
                      <a:pt x="233" y="1487"/>
                    </a:lnTo>
                    <a:lnTo>
                      <a:pt x="233" y="1490"/>
                    </a:lnTo>
                    <a:lnTo>
                      <a:pt x="232" y="1494"/>
                    </a:lnTo>
                    <a:lnTo>
                      <a:pt x="232" y="1497"/>
                    </a:lnTo>
                    <a:lnTo>
                      <a:pt x="233" y="1498"/>
                    </a:lnTo>
                    <a:lnTo>
                      <a:pt x="234" y="1497"/>
                    </a:lnTo>
                    <a:lnTo>
                      <a:pt x="237" y="1498"/>
                    </a:lnTo>
                    <a:lnTo>
                      <a:pt x="237" y="1498"/>
                    </a:lnTo>
                    <a:lnTo>
                      <a:pt x="241" y="1494"/>
                    </a:lnTo>
                    <a:lnTo>
                      <a:pt x="245" y="1490"/>
                    </a:lnTo>
                    <a:lnTo>
                      <a:pt x="256" y="1491"/>
                    </a:lnTo>
                    <a:lnTo>
                      <a:pt x="260" y="1488"/>
                    </a:lnTo>
                    <a:lnTo>
                      <a:pt x="261" y="1491"/>
                    </a:lnTo>
                    <a:lnTo>
                      <a:pt x="264" y="1484"/>
                    </a:lnTo>
                    <a:lnTo>
                      <a:pt x="267" y="1484"/>
                    </a:lnTo>
                    <a:lnTo>
                      <a:pt x="268" y="1484"/>
                    </a:lnTo>
                    <a:lnTo>
                      <a:pt x="268" y="1488"/>
                    </a:lnTo>
                    <a:lnTo>
                      <a:pt x="271" y="1491"/>
                    </a:lnTo>
                    <a:lnTo>
                      <a:pt x="274" y="1493"/>
                    </a:lnTo>
                    <a:lnTo>
                      <a:pt x="271" y="1494"/>
                    </a:lnTo>
                    <a:lnTo>
                      <a:pt x="267" y="1493"/>
                    </a:lnTo>
                    <a:lnTo>
                      <a:pt x="267" y="1493"/>
                    </a:lnTo>
                    <a:lnTo>
                      <a:pt x="265" y="1493"/>
                    </a:lnTo>
                    <a:lnTo>
                      <a:pt x="264" y="1494"/>
                    </a:lnTo>
                    <a:lnTo>
                      <a:pt x="263" y="1498"/>
                    </a:lnTo>
                    <a:lnTo>
                      <a:pt x="260" y="1498"/>
                    </a:lnTo>
                    <a:lnTo>
                      <a:pt x="259" y="1497"/>
                    </a:lnTo>
                    <a:lnTo>
                      <a:pt x="256" y="1498"/>
                    </a:lnTo>
                    <a:lnTo>
                      <a:pt x="257" y="1499"/>
                    </a:lnTo>
                    <a:lnTo>
                      <a:pt x="256" y="1501"/>
                    </a:lnTo>
                    <a:lnTo>
                      <a:pt x="253" y="1501"/>
                    </a:lnTo>
                    <a:lnTo>
                      <a:pt x="251" y="1503"/>
                    </a:lnTo>
                    <a:lnTo>
                      <a:pt x="244" y="1503"/>
                    </a:lnTo>
                    <a:lnTo>
                      <a:pt x="242" y="1505"/>
                    </a:lnTo>
                    <a:lnTo>
                      <a:pt x="242" y="1507"/>
                    </a:lnTo>
                    <a:lnTo>
                      <a:pt x="244" y="1509"/>
                    </a:lnTo>
                    <a:lnTo>
                      <a:pt x="246" y="1507"/>
                    </a:lnTo>
                    <a:lnTo>
                      <a:pt x="246" y="1507"/>
                    </a:lnTo>
                    <a:lnTo>
                      <a:pt x="249" y="1510"/>
                    </a:lnTo>
                    <a:lnTo>
                      <a:pt x="249" y="1516"/>
                    </a:lnTo>
                    <a:lnTo>
                      <a:pt x="251" y="1517"/>
                    </a:lnTo>
                    <a:lnTo>
                      <a:pt x="251" y="1518"/>
                    </a:lnTo>
                    <a:lnTo>
                      <a:pt x="245" y="1522"/>
                    </a:lnTo>
                    <a:lnTo>
                      <a:pt x="244" y="1524"/>
                    </a:lnTo>
                    <a:lnTo>
                      <a:pt x="246" y="1525"/>
                    </a:lnTo>
                    <a:lnTo>
                      <a:pt x="241" y="1532"/>
                    </a:lnTo>
                    <a:lnTo>
                      <a:pt x="241" y="1535"/>
                    </a:lnTo>
                    <a:lnTo>
                      <a:pt x="238" y="1537"/>
                    </a:lnTo>
                    <a:lnTo>
                      <a:pt x="238" y="1539"/>
                    </a:lnTo>
                    <a:lnTo>
                      <a:pt x="236" y="1540"/>
                    </a:lnTo>
                    <a:lnTo>
                      <a:pt x="234" y="1545"/>
                    </a:lnTo>
                    <a:lnTo>
                      <a:pt x="236" y="1545"/>
                    </a:lnTo>
                    <a:lnTo>
                      <a:pt x="236" y="1548"/>
                    </a:lnTo>
                    <a:lnTo>
                      <a:pt x="232" y="1548"/>
                    </a:lnTo>
                    <a:lnTo>
                      <a:pt x="230" y="1551"/>
                    </a:lnTo>
                    <a:lnTo>
                      <a:pt x="232" y="1554"/>
                    </a:lnTo>
                    <a:lnTo>
                      <a:pt x="229" y="1560"/>
                    </a:lnTo>
                    <a:lnTo>
                      <a:pt x="230" y="1560"/>
                    </a:lnTo>
                    <a:lnTo>
                      <a:pt x="233" y="1556"/>
                    </a:lnTo>
                    <a:lnTo>
                      <a:pt x="234" y="1558"/>
                    </a:lnTo>
                    <a:lnTo>
                      <a:pt x="234" y="1558"/>
                    </a:lnTo>
                    <a:lnTo>
                      <a:pt x="229" y="1563"/>
                    </a:lnTo>
                    <a:lnTo>
                      <a:pt x="225" y="1570"/>
                    </a:lnTo>
                    <a:lnTo>
                      <a:pt x="229" y="1570"/>
                    </a:lnTo>
                    <a:lnTo>
                      <a:pt x="229" y="1570"/>
                    </a:lnTo>
                    <a:lnTo>
                      <a:pt x="232" y="1568"/>
                    </a:lnTo>
                    <a:lnTo>
                      <a:pt x="234" y="1566"/>
                    </a:lnTo>
                    <a:lnTo>
                      <a:pt x="234" y="1563"/>
                    </a:lnTo>
                    <a:lnTo>
                      <a:pt x="238" y="1560"/>
                    </a:lnTo>
                    <a:lnTo>
                      <a:pt x="238" y="1556"/>
                    </a:lnTo>
                    <a:lnTo>
                      <a:pt x="253" y="1541"/>
                    </a:lnTo>
                    <a:lnTo>
                      <a:pt x="253" y="1544"/>
                    </a:lnTo>
                    <a:lnTo>
                      <a:pt x="249" y="1548"/>
                    </a:lnTo>
                    <a:lnTo>
                      <a:pt x="249" y="1550"/>
                    </a:lnTo>
                    <a:lnTo>
                      <a:pt x="251" y="1550"/>
                    </a:lnTo>
                    <a:lnTo>
                      <a:pt x="251" y="1550"/>
                    </a:lnTo>
                    <a:lnTo>
                      <a:pt x="253" y="1545"/>
                    </a:lnTo>
                    <a:lnTo>
                      <a:pt x="256" y="1540"/>
                    </a:lnTo>
                    <a:lnTo>
                      <a:pt x="256" y="1539"/>
                    </a:lnTo>
                    <a:lnTo>
                      <a:pt x="256" y="1539"/>
                    </a:lnTo>
                    <a:lnTo>
                      <a:pt x="259" y="1536"/>
                    </a:lnTo>
                    <a:lnTo>
                      <a:pt x="263" y="1533"/>
                    </a:lnTo>
                    <a:lnTo>
                      <a:pt x="265" y="1536"/>
                    </a:lnTo>
                    <a:lnTo>
                      <a:pt x="267" y="1537"/>
                    </a:lnTo>
                    <a:lnTo>
                      <a:pt x="267" y="1537"/>
                    </a:lnTo>
                    <a:lnTo>
                      <a:pt x="261" y="1540"/>
                    </a:lnTo>
                    <a:lnTo>
                      <a:pt x="260" y="1543"/>
                    </a:lnTo>
                    <a:lnTo>
                      <a:pt x="260" y="1545"/>
                    </a:lnTo>
                    <a:lnTo>
                      <a:pt x="260" y="1547"/>
                    </a:lnTo>
                    <a:lnTo>
                      <a:pt x="260" y="1547"/>
                    </a:lnTo>
                    <a:lnTo>
                      <a:pt x="259" y="1551"/>
                    </a:lnTo>
                    <a:lnTo>
                      <a:pt x="256" y="1555"/>
                    </a:lnTo>
                    <a:lnTo>
                      <a:pt x="253" y="1558"/>
                    </a:lnTo>
                    <a:lnTo>
                      <a:pt x="251" y="1562"/>
                    </a:lnTo>
                    <a:lnTo>
                      <a:pt x="249" y="1563"/>
                    </a:lnTo>
                    <a:lnTo>
                      <a:pt x="249" y="1563"/>
                    </a:lnTo>
                    <a:lnTo>
                      <a:pt x="248" y="1567"/>
                    </a:lnTo>
                    <a:lnTo>
                      <a:pt x="246" y="1573"/>
                    </a:lnTo>
                    <a:lnTo>
                      <a:pt x="241" y="1582"/>
                    </a:lnTo>
                    <a:lnTo>
                      <a:pt x="242" y="1583"/>
                    </a:lnTo>
                    <a:lnTo>
                      <a:pt x="245" y="1585"/>
                    </a:lnTo>
                    <a:lnTo>
                      <a:pt x="249" y="1583"/>
                    </a:lnTo>
                    <a:lnTo>
                      <a:pt x="249" y="1585"/>
                    </a:lnTo>
                    <a:lnTo>
                      <a:pt x="246" y="1589"/>
                    </a:lnTo>
                    <a:lnTo>
                      <a:pt x="249" y="1589"/>
                    </a:lnTo>
                    <a:lnTo>
                      <a:pt x="253" y="1587"/>
                    </a:lnTo>
                    <a:lnTo>
                      <a:pt x="256" y="1590"/>
                    </a:lnTo>
                    <a:lnTo>
                      <a:pt x="256" y="1590"/>
                    </a:lnTo>
                    <a:lnTo>
                      <a:pt x="256" y="1592"/>
                    </a:lnTo>
                    <a:lnTo>
                      <a:pt x="255" y="1594"/>
                    </a:lnTo>
                    <a:lnTo>
                      <a:pt x="251" y="1600"/>
                    </a:lnTo>
                    <a:lnTo>
                      <a:pt x="253" y="1598"/>
                    </a:lnTo>
                    <a:lnTo>
                      <a:pt x="257" y="1600"/>
                    </a:lnTo>
                    <a:lnTo>
                      <a:pt x="255" y="1601"/>
                    </a:lnTo>
                    <a:lnTo>
                      <a:pt x="256" y="1605"/>
                    </a:lnTo>
                    <a:lnTo>
                      <a:pt x="256" y="1605"/>
                    </a:lnTo>
                    <a:lnTo>
                      <a:pt x="251" y="1604"/>
                    </a:lnTo>
                    <a:lnTo>
                      <a:pt x="248" y="1602"/>
                    </a:lnTo>
                    <a:lnTo>
                      <a:pt x="248" y="1598"/>
                    </a:lnTo>
                    <a:lnTo>
                      <a:pt x="246" y="1596"/>
                    </a:lnTo>
                    <a:lnTo>
                      <a:pt x="244" y="1596"/>
                    </a:lnTo>
                    <a:lnTo>
                      <a:pt x="242" y="1597"/>
                    </a:lnTo>
                    <a:lnTo>
                      <a:pt x="238" y="1594"/>
                    </a:lnTo>
                    <a:lnTo>
                      <a:pt x="236" y="1594"/>
                    </a:lnTo>
                    <a:lnTo>
                      <a:pt x="236" y="1597"/>
                    </a:lnTo>
                    <a:lnTo>
                      <a:pt x="232" y="1601"/>
                    </a:lnTo>
                    <a:lnTo>
                      <a:pt x="232" y="1601"/>
                    </a:lnTo>
                    <a:lnTo>
                      <a:pt x="230" y="1604"/>
                    </a:lnTo>
                    <a:lnTo>
                      <a:pt x="229" y="1608"/>
                    </a:lnTo>
                    <a:lnTo>
                      <a:pt x="226" y="1613"/>
                    </a:lnTo>
                    <a:lnTo>
                      <a:pt x="223" y="1613"/>
                    </a:lnTo>
                    <a:lnTo>
                      <a:pt x="222" y="1616"/>
                    </a:lnTo>
                    <a:lnTo>
                      <a:pt x="218" y="1619"/>
                    </a:lnTo>
                    <a:lnTo>
                      <a:pt x="218" y="1619"/>
                    </a:lnTo>
                    <a:lnTo>
                      <a:pt x="218" y="1621"/>
                    </a:lnTo>
                    <a:lnTo>
                      <a:pt x="217" y="1625"/>
                    </a:lnTo>
                    <a:lnTo>
                      <a:pt x="215" y="1631"/>
                    </a:lnTo>
                    <a:lnTo>
                      <a:pt x="217" y="1632"/>
                    </a:lnTo>
                    <a:lnTo>
                      <a:pt x="217" y="1635"/>
                    </a:lnTo>
                    <a:lnTo>
                      <a:pt x="213" y="1634"/>
                    </a:lnTo>
                    <a:lnTo>
                      <a:pt x="210" y="1638"/>
                    </a:lnTo>
                    <a:lnTo>
                      <a:pt x="210" y="1640"/>
                    </a:lnTo>
                    <a:lnTo>
                      <a:pt x="210" y="1643"/>
                    </a:lnTo>
                    <a:lnTo>
                      <a:pt x="206" y="1646"/>
                    </a:lnTo>
                    <a:lnTo>
                      <a:pt x="203" y="1653"/>
                    </a:lnTo>
                    <a:lnTo>
                      <a:pt x="203" y="1653"/>
                    </a:lnTo>
                    <a:lnTo>
                      <a:pt x="200" y="1658"/>
                    </a:lnTo>
                    <a:lnTo>
                      <a:pt x="203" y="1659"/>
                    </a:lnTo>
                    <a:lnTo>
                      <a:pt x="202" y="1659"/>
                    </a:lnTo>
                    <a:lnTo>
                      <a:pt x="202" y="1659"/>
                    </a:lnTo>
                    <a:lnTo>
                      <a:pt x="200" y="1662"/>
                    </a:lnTo>
                    <a:lnTo>
                      <a:pt x="199" y="1663"/>
                    </a:lnTo>
                    <a:lnTo>
                      <a:pt x="196" y="1666"/>
                    </a:lnTo>
                    <a:lnTo>
                      <a:pt x="196" y="1666"/>
                    </a:lnTo>
                    <a:lnTo>
                      <a:pt x="194" y="1672"/>
                    </a:lnTo>
                    <a:lnTo>
                      <a:pt x="192" y="1677"/>
                    </a:lnTo>
                    <a:lnTo>
                      <a:pt x="191" y="1680"/>
                    </a:lnTo>
                    <a:lnTo>
                      <a:pt x="190" y="1684"/>
                    </a:lnTo>
                    <a:lnTo>
                      <a:pt x="195" y="1678"/>
                    </a:lnTo>
                    <a:lnTo>
                      <a:pt x="199" y="1677"/>
                    </a:lnTo>
                    <a:lnTo>
                      <a:pt x="202" y="1674"/>
                    </a:lnTo>
                    <a:lnTo>
                      <a:pt x="199" y="1680"/>
                    </a:lnTo>
                    <a:lnTo>
                      <a:pt x="196" y="1680"/>
                    </a:lnTo>
                    <a:lnTo>
                      <a:pt x="195" y="1680"/>
                    </a:lnTo>
                    <a:lnTo>
                      <a:pt x="195" y="1680"/>
                    </a:lnTo>
                    <a:lnTo>
                      <a:pt x="194" y="1685"/>
                    </a:lnTo>
                    <a:lnTo>
                      <a:pt x="194" y="1692"/>
                    </a:lnTo>
                    <a:lnTo>
                      <a:pt x="195" y="1693"/>
                    </a:lnTo>
                    <a:lnTo>
                      <a:pt x="196" y="1695"/>
                    </a:lnTo>
                    <a:lnTo>
                      <a:pt x="196" y="1695"/>
                    </a:lnTo>
                    <a:lnTo>
                      <a:pt x="202" y="1687"/>
                    </a:lnTo>
                    <a:lnTo>
                      <a:pt x="204" y="1682"/>
                    </a:lnTo>
                    <a:lnTo>
                      <a:pt x="204" y="1680"/>
                    </a:lnTo>
                    <a:lnTo>
                      <a:pt x="202" y="1682"/>
                    </a:lnTo>
                    <a:lnTo>
                      <a:pt x="200" y="1681"/>
                    </a:lnTo>
                    <a:lnTo>
                      <a:pt x="200" y="1681"/>
                    </a:lnTo>
                    <a:lnTo>
                      <a:pt x="203" y="1678"/>
                    </a:lnTo>
                    <a:lnTo>
                      <a:pt x="206" y="1674"/>
                    </a:lnTo>
                    <a:lnTo>
                      <a:pt x="211" y="1668"/>
                    </a:lnTo>
                    <a:lnTo>
                      <a:pt x="206" y="1668"/>
                    </a:lnTo>
                    <a:lnTo>
                      <a:pt x="206" y="1668"/>
                    </a:lnTo>
                    <a:lnTo>
                      <a:pt x="211" y="1657"/>
                    </a:lnTo>
                    <a:lnTo>
                      <a:pt x="214" y="1650"/>
                    </a:lnTo>
                    <a:lnTo>
                      <a:pt x="215" y="1646"/>
                    </a:lnTo>
                    <a:lnTo>
                      <a:pt x="217" y="1644"/>
                    </a:lnTo>
                    <a:lnTo>
                      <a:pt x="217" y="1644"/>
                    </a:lnTo>
                    <a:lnTo>
                      <a:pt x="214" y="1654"/>
                    </a:lnTo>
                    <a:lnTo>
                      <a:pt x="213" y="1659"/>
                    </a:lnTo>
                    <a:lnTo>
                      <a:pt x="210" y="1662"/>
                    </a:lnTo>
                    <a:lnTo>
                      <a:pt x="214" y="1662"/>
                    </a:lnTo>
                    <a:lnTo>
                      <a:pt x="214" y="1662"/>
                    </a:lnTo>
                    <a:lnTo>
                      <a:pt x="218" y="1659"/>
                    </a:lnTo>
                    <a:lnTo>
                      <a:pt x="219" y="1654"/>
                    </a:lnTo>
                    <a:lnTo>
                      <a:pt x="219" y="1653"/>
                    </a:lnTo>
                    <a:lnTo>
                      <a:pt x="219" y="1653"/>
                    </a:lnTo>
                    <a:lnTo>
                      <a:pt x="222" y="1650"/>
                    </a:lnTo>
                    <a:lnTo>
                      <a:pt x="223" y="1647"/>
                    </a:lnTo>
                    <a:lnTo>
                      <a:pt x="225" y="1643"/>
                    </a:lnTo>
                    <a:lnTo>
                      <a:pt x="226" y="1640"/>
                    </a:lnTo>
                    <a:lnTo>
                      <a:pt x="221" y="1639"/>
                    </a:lnTo>
                    <a:lnTo>
                      <a:pt x="223" y="1636"/>
                    </a:lnTo>
                    <a:lnTo>
                      <a:pt x="226" y="1638"/>
                    </a:lnTo>
                    <a:lnTo>
                      <a:pt x="237" y="1619"/>
                    </a:lnTo>
                    <a:lnTo>
                      <a:pt x="238" y="1619"/>
                    </a:lnTo>
                    <a:lnTo>
                      <a:pt x="238" y="1619"/>
                    </a:lnTo>
                    <a:lnTo>
                      <a:pt x="234" y="1628"/>
                    </a:lnTo>
                    <a:lnTo>
                      <a:pt x="232" y="1632"/>
                    </a:lnTo>
                    <a:lnTo>
                      <a:pt x="229" y="1636"/>
                    </a:lnTo>
                    <a:lnTo>
                      <a:pt x="230" y="1638"/>
                    </a:lnTo>
                    <a:lnTo>
                      <a:pt x="236" y="1630"/>
                    </a:lnTo>
                    <a:lnTo>
                      <a:pt x="237" y="1630"/>
                    </a:lnTo>
                    <a:lnTo>
                      <a:pt x="234" y="1632"/>
                    </a:lnTo>
                    <a:lnTo>
                      <a:pt x="236" y="1632"/>
                    </a:lnTo>
                    <a:lnTo>
                      <a:pt x="242" y="1627"/>
                    </a:lnTo>
                    <a:lnTo>
                      <a:pt x="242" y="1627"/>
                    </a:lnTo>
                    <a:lnTo>
                      <a:pt x="232" y="1642"/>
                    </a:lnTo>
                    <a:lnTo>
                      <a:pt x="232" y="1643"/>
                    </a:lnTo>
                    <a:lnTo>
                      <a:pt x="233" y="1643"/>
                    </a:lnTo>
                    <a:lnTo>
                      <a:pt x="237" y="1639"/>
                    </a:lnTo>
                    <a:lnTo>
                      <a:pt x="238" y="1639"/>
                    </a:lnTo>
                    <a:lnTo>
                      <a:pt x="242" y="1635"/>
                    </a:lnTo>
                    <a:lnTo>
                      <a:pt x="242" y="1634"/>
                    </a:lnTo>
                    <a:lnTo>
                      <a:pt x="244" y="1635"/>
                    </a:lnTo>
                    <a:lnTo>
                      <a:pt x="241" y="1638"/>
                    </a:lnTo>
                    <a:lnTo>
                      <a:pt x="241" y="1638"/>
                    </a:lnTo>
                    <a:lnTo>
                      <a:pt x="240" y="1642"/>
                    </a:lnTo>
                    <a:lnTo>
                      <a:pt x="237" y="1644"/>
                    </a:lnTo>
                    <a:lnTo>
                      <a:pt x="237" y="1644"/>
                    </a:lnTo>
                    <a:lnTo>
                      <a:pt x="233" y="1646"/>
                    </a:lnTo>
                    <a:lnTo>
                      <a:pt x="229" y="1647"/>
                    </a:lnTo>
                    <a:lnTo>
                      <a:pt x="229" y="1647"/>
                    </a:lnTo>
                    <a:lnTo>
                      <a:pt x="229" y="1651"/>
                    </a:lnTo>
                    <a:lnTo>
                      <a:pt x="227" y="1654"/>
                    </a:lnTo>
                    <a:lnTo>
                      <a:pt x="225" y="1661"/>
                    </a:lnTo>
                    <a:lnTo>
                      <a:pt x="225" y="1662"/>
                    </a:lnTo>
                    <a:lnTo>
                      <a:pt x="225" y="1662"/>
                    </a:lnTo>
                    <a:lnTo>
                      <a:pt x="221" y="1668"/>
                    </a:lnTo>
                    <a:lnTo>
                      <a:pt x="217" y="1674"/>
                    </a:lnTo>
                    <a:lnTo>
                      <a:pt x="217" y="1674"/>
                    </a:lnTo>
                    <a:lnTo>
                      <a:pt x="207" y="1684"/>
                    </a:lnTo>
                    <a:lnTo>
                      <a:pt x="207" y="1684"/>
                    </a:lnTo>
                    <a:lnTo>
                      <a:pt x="207" y="1687"/>
                    </a:lnTo>
                    <a:lnTo>
                      <a:pt x="206" y="1691"/>
                    </a:lnTo>
                    <a:lnTo>
                      <a:pt x="202" y="1697"/>
                    </a:lnTo>
                    <a:lnTo>
                      <a:pt x="202" y="1701"/>
                    </a:lnTo>
                    <a:lnTo>
                      <a:pt x="202" y="1701"/>
                    </a:lnTo>
                    <a:lnTo>
                      <a:pt x="200" y="1704"/>
                    </a:lnTo>
                    <a:lnTo>
                      <a:pt x="199" y="1708"/>
                    </a:lnTo>
                    <a:lnTo>
                      <a:pt x="202" y="1710"/>
                    </a:lnTo>
                    <a:lnTo>
                      <a:pt x="202" y="1712"/>
                    </a:lnTo>
                    <a:lnTo>
                      <a:pt x="199" y="1716"/>
                    </a:lnTo>
                    <a:lnTo>
                      <a:pt x="199" y="1716"/>
                    </a:lnTo>
                    <a:lnTo>
                      <a:pt x="200" y="1720"/>
                    </a:lnTo>
                    <a:lnTo>
                      <a:pt x="200" y="1723"/>
                    </a:lnTo>
                    <a:lnTo>
                      <a:pt x="203" y="1723"/>
                    </a:lnTo>
                    <a:lnTo>
                      <a:pt x="211" y="1712"/>
                    </a:lnTo>
                    <a:lnTo>
                      <a:pt x="215" y="1714"/>
                    </a:lnTo>
                    <a:lnTo>
                      <a:pt x="217" y="1708"/>
                    </a:lnTo>
                    <a:lnTo>
                      <a:pt x="219" y="1708"/>
                    </a:lnTo>
                    <a:lnTo>
                      <a:pt x="221" y="1704"/>
                    </a:lnTo>
                    <a:lnTo>
                      <a:pt x="223" y="1703"/>
                    </a:lnTo>
                    <a:lnTo>
                      <a:pt x="225" y="1700"/>
                    </a:lnTo>
                    <a:lnTo>
                      <a:pt x="230" y="1696"/>
                    </a:lnTo>
                    <a:lnTo>
                      <a:pt x="233" y="1696"/>
                    </a:lnTo>
                    <a:lnTo>
                      <a:pt x="240" y="1691"/>
                    </a:lnTo>
                    <a:lnTo>
                      <a:pt x="241" y="1692"/>
                    </a:lnTo>
                    <a:lnTo>
                      <a:pt x="241" y="1695"/>
                    </a:lnTo>
                    <a:lnTo>
                      <a:pt x="237" y="1699"/>
                    </a:lnTo>
                    <a:lnTo>
                      <a:pt x="237" y="1703"/>
                    </a:lnTo>
                    <a:lnTo>
                      <a:pt x="230" y="1706"/>
                    </a:lnTo>
                    <a:lnTo>
                      <a:pt x="230" y="1706"/>
                    </a:lnTo>
                    <a:lnTo>
                      <a:pt x="227" y="1711"/>
                    </a:lnTo>
                    <a:lnTo>
                      <a:pt x="223" y="1715"/>
                    </a:lnTo>
                    <a:lnTo>
                      <a:pt x="223" y="1715"/>
                    </a:lnTo>
                    <a:lnTo>
                      <a:pt x="223" y="1722"/>
                    </a:lnTo>
                    <a:lnTo>
                      <a:pt x="221" y="1727"/>
                    </a:lnTo>
                    <a:lnTo>
                      <a:pt x="213" y="1737"/>
                    </a:lnTo>
                    <a:lnTo>
                      <a:pt x="211" y="1743"/>
                    </a:lnTo>
                    <a:lnTo>
                      <a:pt x="209" y="1748"/>
                    </a:lnTo>
                    <a:lnTo>
                      <a:pt x="209" y="1750"/>
                    </a:lnTo>
                    <a:lnTo>
                      <a:pt x="209" y="1752"/>
                    </a:lnTo>
                    <a:lnTo>
                      <a:pt x="209" y="1752"/>
                    </a:lnTo>
                    <a:lnTo>
                      <a:pt x="209" y="1756"/>
                    </a:lnTo>
                    <a:lnTo>
                      <a:pt x="209" y="1760"/>
                    </a:lnTo>
                    <a:lnTo>
                      <a:pt x="206" y="1768"/>
                    </a:lnTo>
                    <a:lnTo>
                      <a:pt x="207" y="1768"/>
                    </a:lnTo>
                    <a:lnTo>
                      <a:pt x="207" y="1772"/>
                    </a:lnTo>
                    <a:lnTo>
                      <a:pt x="207" y="1773"/>
                    </a:lnTo>
                    <a:lnTo>
                      <a:pt x="209" y="1777"/>
                    </a:lnTo>
                    <a:lnTo>
                      <a:pt x="217" y="1784"/>
                    </a:lnTo>
                    <a:lnTo>
                      <a:pt x="219" y="1784"/>
                    </a:lnTo>
                    <a:lnTo>
                      <a:pt x="227" y="1780"/>
                    </a:lnTo>
                    <a:lnTo>
                      <a:pt x="227" y="1784"/>
                    </a:lnTo>
                    <a:lnTo>
                      <a:pt x="223" y="1787"/>
                    </a:lnTo>
                    <a:lnTo>
                      <a:pt x="225" y="1790"/>
                    </a:lnTo>
                    <a:lnTo>
                      <a:pt x="230" y="1791"/>
                    </a:lnTo>
                    <a:lnTo>
                      <a:pt x="230" y="1791"/>
                    </a:lnTo>
                    <a:lnTo>
                      <a:pt x="227" y="1792"/>
                    </a:lnTo>
                    <a:lnTo>
                      <a:pt x="226" y="1794"/>
                    </a:lnTo>
                    <a:lnTo>
                      <a:pt x="226" y="1800"/>
                    </a:lnTo>
                    <a:lnTo>
                      <a:pt x="226" y="1800"/>
                    </a:lnTo>
                    <a:lnTo>
                      <a:pt x="226" y="1800"/>
                    </a:lnTo>
                    <a:lnTo>
                      <a:pt x="234" y="1796"/>
                    </a:lnTo>
                    <a:lnTo>
                      <a:pt x="237" y="1794"/>
                    </a:lnTo>
                    <a:lnTo>
                      <a:pt x="240" y="1790"/>
                    </a:lnTo>
                    <a:lnTo>
                      <a:pt x="241" y="1790"/>
                    </a:lnTo>
                    <a:lnTo>
                      <a:pt x="241" y="1792"/>
                    </a:lnTo>
                    <a:lnTo>
                      <a:pt x="241" y="1792"/>
                    </a:lnTo>
                    <a:lnTo>
                      <a:pt x="245" y="1791"/>
                    </a:lnTo>
                    <a:lnTo>
                      <a:pt x="249" y="1788"/>
                    </a:lnTo>
                    <a:lnTo>
                      <a:pt x="256" y="1781"/>
                    </a:lnTo>
                    <a:lnTo>
                      <a:pt x="256" y="1781"/>
                    </a:lnTo>
                    <a:lnTo>
                      <a:pt x="260" y="1779"/>
                    </a:lnTo>
                    <a:lnTo>
                      <a:pt x="260" y="1779"/>
                    </a:lnTo>
                    <a:lnTo>
                      <a:pt x="270" y="1767"/>
                    </a:lnTo>
                    <a:lnTo>
                      <a:pt x="270" y="1767"/>
                    </a:lnTo>
                    <a:lnTo>
                      <a:pt x="272" y="1765"/>
                    </a:lnTo>
                    <a:lnTo>
                      <a:pt x="275" y="1761"/>
                    </a:lnTo>
                    <a:lnTo>
                      <a:pt x="278" y="1754"/>
                    </a:lnTo>
                    <a:lnTo>
                      <a:pt x="279" y="1753"/>
                    </a:lnTo>
                    <a:lnTo>
                      <a:pt x="280" y="1754"/>
                    </a:lnTo>
                    <a:lnTo>
                      <a:pt x="280" y="1754"/>
                    </a:lnTo>
                    <a:lnTo>
                      <a:pt x="282" y="1753"/>
                    </a:lnTo>
                    <a:lnTo>
                      <a:pt x="283" y="1750"/>
                    </a:lnTo>
                    <a:lnTo>
                      <a:pt x="284" y="1746"/>
                    </a:lnTo>
                    <a:lnTo>
                      <a:pt x="284" y="1746"/>
                    </a:lnTo>
                    <a:lnTo>
                      <a:pt x="291" y="1739"/>
                    </a:lnTo>
                    <a:lnTo>
                      <a:pt x="291" y="1739"/>
                    </a:lnTo>
                    <a:lnTo>
                      <a:pt x="290" y="1742"/>
                    </a:lnTo>
                    <a:lnTo>
                      <a:pt x="290" y="1745"/>
                    </a:lnTo>
                    <a:lnTo>
                      <a:pt x="286" y="1749"/>
                    </a:lnTo>
                    <a:lnTo>
                      <a:pt x="287" y="1750"/>
                    </a:lnTo>
                    <a:lnTo>
                      <a:pt x="287" y="1753"/>
                    </a:lnTo>
                    <a:lnTo>
                      <a:pt x="287" y="1753"/>
                    </a:lnTo>
                    <a:lnTo>
                      <a:pt x="282" y="1758"/>
                    </a:lnTo>
                    <a:lnTo>
                      <a:pt x="279" y="1764"/>
                    </a:lnTo>
                    <a:lnTo>
                      <a:pt x="279" y="1767"/>
                    </a:lnTo>
                    <a:lnTo>
                      <a:pt x="279" y="1767"/>
                    </a:lnTo>
                    <a:lnTo>
                      <a:pt x="276" y="1771"/>
                    </a:lnTo>
                    <a:lnTo>
                      <a:pt x="274" y="1776"/>
                    </a:lnTo>
                    <a:lnTo>
                      <a:pt x="272" y="1775"/>
                    </a:lnTo>
                    <a:lnTo>
                      <a:pt x="272" y="1775"/>
                    </a:lnTo>
                    <a:lnTo>
                      <a:pt x="268" y="1777"/>
                    </a:lnTo>
                    <a:lnTo>
                      <a:pt x="264" y="1780"/>
                    </a:lnTo>
                    <a:lnTo>
                      <a:pt x="264" y="1780"/>
                    </a:lnTo>
                    <a:lnTo>
                      <a:pt x="263" y="1783"/>
                    </a:lnTo>
                    <a:lnTo>
                      <a:pt x="263" y="1784"/>
                    </a:lnTo>
                    <a:lnTo>
                      <a:pt x="248" y="1796"/>
                    </a:lnTo>
                    <a:lnTo>
                      <a:pt x="242" y="1798"/>
                    </a:lnTo>
                    <a:lnTo>
                      <a:pt x="242" y="1798"/>
                    </a:lnTo>
                    <a:lnTo>
                      <a:pt x="240" y="1800"/>
                    </a:lnTo>
                    <a:lnTo>
                      <a:pt x="237" y="1805"/>
                    </a:lnTo>
                    <a:lnTo>
                      <a:pt x="237" y="1807"/>
                    </a:lnTo>
                    <a:lnTo>
                      <a:pt x="234" y="1813"/>
                    </a:lnTo>
                    <a:lnTo>
                      <a:pt x="230" y="1814"/>
                    </a:lnTo>
                    <a:lnTo>
                      <a:pt x="232" y="1815"/>
                    </a:lnTo>
                    <a:lnTo>
                      <a:pt x="232" y="1815"/>
                    </a:lnTo>
                    <a:lnTo>
                      <a:pt x="229" y="1821"/>
                    </a:lnTo>
                    <a:lnTo>
                      <a:pt x="226" y="1825"/>
                    </a:lnTo>
                    <a:lnTo>
                      <a:pt x="226" y="1825"/>
                    </a:lnTo>
                    <a:lnTo>
                      <a:pt x="222" y="1833"/>
                    </a:lnTo>
                    <a:lnTo>
                      <a:pt x="218" y="1838"/>
                    </a:lnTo>
                    <a:lnTo>
                      <a:pt x="211" y="1844"/>
                    </a:lnTo>
                    <a:lnTo>
                      <a:pt x="204" y="1849"/>
                    </a:lnTo>
                    <a:lnTo>
                      <a:pt x="203" y="1851"/>
                    </a:lnTo>
                    <a:lnTo>
                      <a:pt x="207" y="1855"/>
                    </a:lnTo>
                    <a:lnTo>
                      <a:pt x="207" y="1855"/>
                    </a:lnTo>
                    <a:lnTo>
                      <a:pt x="209" y="1857"/>
                    </a:lnTo>
                    <a:lnTo>
                      <a:pt x="207" y="1859"/>
                    </a:lnTo>
                    <a:lnTo>
                      <a:pt x="206" y="1863"/>
                    </a:lnTo>
                    <a:lnTo>
                      <a:pt x="206" y="1863"/>
                    </a:lnTo>
                    <a:lnTo>
                      <a:pt x="206" y="1867"/>
                    </a:lnTo>
                    <a:lnTo>
                      <a:pt x="206" y="1867"/>
                    </a:lnTo>
                    <a:lnTo>
                      <a:pt x="204" y="1870"/>
                    </a:lnTo>
                    <a:lnTo>
                      <a:pt x="204" y="1870"/>
                    </a:lnTo>
                    <a:lnTo>
                      <a:pt x="204" y="1880"/>
                    </a:lnTo>
                    <a:lnTo>
                      <a:pt x="204" y="1880"/>
                    </a:lnTo>
                    <a:lnTo>
                      <a:pt x="203" y="1885"/>
                    </a:lnTo>
                    <a:lnTo>
                      <a:pt x="202" y="1886"/>
                    </a:lnTo>
                    <a:lnTo>
                      <a:pt x="202" y="1889"/>
                    </a:lnTo>
                    <a:lnTo>
                      <a:pt x="200" y="1891"/>
                    </a:lnTo>
                    <a:lnTo>
                      <a:pt x="200" y="1891"/>
                    </a:lnTo>
                    <a:lnTo>
                      <a:pt x="200" y="1895"/>
                    </a:lnTo>
                    <a:lnTo>
                      <a:pt x="199" y="1899"/>
                    </a:lnTo>
                    <a:lnTo>
                      <a:pt x="196" y="1908"/>
                    </a:lnTo>
                    <a:lnTo>
                      <a:pt x="190" y="1912"/>
                    </a:lnTo>
                    <a:lnTo>
                      <a:pt x="188" y="1920"/>
                    </a:lnTo>
                    <a:lnTo>
                      <a:pt x="190" y="1921"/>
                    </a:lnTo>
                    <a:lnTo>
                      <a:pt x="190" y="1921"/>
                    </a:lnTo>
                    <a:lnTo>
                      <a:pt x="191" y="1931"/>
                    </a:lnTo>
                    <a:lnTo>
                      <a:pt x="194" y="1940"/>
                    </a:lnTo>
                    <a:lnTo>
                      <a:pt x="194" y="1940"/>
                    </a:lnTo>
                    <a:lnTo>
                      <a:pt x="190" y="1948"/>
                    </a:lnTo>
                    <a:lnTo>
                      <a:pt x="190" y="1956"/>
                    </a:lnTo>
                    <a:lnTo>
                      <a:pt x="190" y="1956"/>
                    </a:lnTo>
                    <a:lnTo>
                      <a:pt x="190" y="1982"/>
                    </a:lnTo>
                    <a:lnTo>
                      <a:pt x="188" y="1999"/>
                    </a:lnTo>
                    <a:lnTo>
                      <a:pt x="187" y="2004"/>
                    </a:lnTo>
                    <a:lnTo>
                      <a:pt x="184" y="2008"/>
                    </a:lnTo>
                    <a:lnTo>
                      <a:pt x="176" y="2009"/>
                    </a:lnTo>
                    <a:lnTo>
                      <a:pt x="175" y="2012"/>
                    </a:lnTo>
                    <a:lnTo>
                      <a:pt x="168" y="2017"/>
                    </a:lnTo>
                    <a:lnTo>
                      <a:pt x="168" y="2017"/>
                    </a:lnTo>
                    <a:lnTo>
                      <a:pt x="166" y="2022"/>
                    </a:lnTo>
                    <a:lnTo>
                      <a:pt x="164" y="2024"/>
                    </a:lnTo>
                    <a:lnTo>
                      <a:pt x="161" y="2027"/>
                    </a:lnTo>
                    <a:lnTo>
                      <a:pt x="158" y="2030"/>
                    </a:lnTo>
                    <a:lnTo>
                      <a:pt x="161" y="2034"/>
                    </a:lnTo>
                    <a:lnTo>
                      <a:pt x="161" y="2034"/>
                    </a:lnTo>
                    <a:lnTo>
                      <a:pt x="158" y="2038"/>
                    </a:lnTo>
                    <a:lnTo>
                      <a:pt x="158" y="2043"/>
                    </a:lnTo>
                    <a:lnTo>
                      <a:pt x="156" y="2045"/>
                    </a:lnTo>
                    <a:lnTo>
                      <a:pt x="158" y="2046"/>
                    </a:lnTo>
                    <a:lnTo>
                      <a:pt x="158" y="2046"/>
                    </a:lnTo>
                    <a:lnTo>
                      <a:pt x="158" y="2050"/>
                    </a:lnTo>
                    <a:lnTo>
                      <a:pt x="157" y="2054"/>
                    </a:lnTo>
                    <a:lnTo>
                      <a:pt x="157" y="2054"/>
                    </a:lnTo>
                    <a:lnTo>
                      <a:pt x="158" y="2058"/>
                    </a:lnTo>
                    <a:lnTo>
                      <a:pt x="158" y="2062"/>
                    </a:lnTo>
                    <a:lnTo>
                      <a:pt x="158" y="2066"/>
                    </a:lnTo>
                    <a:lnTo>
                      <a:pt x="157" y="2070"/>
                    </a:lnTo>
                    <a:lnTo>
                      <a:pt x="158" y="2073"/>
                    </a:lnTo>
                    <a:lnTo>
                      <a:pt x="158" y="2073"/>
                    </a:lnTo>
                    <a:lnTo>
                      <a:pt x="157" y="2076"/>
                    </a:lnTo>
                    <a:lnTo>
                      <a:pt x="157" y="2079"/>
                    </a:lnTo>
                    <a:lnTo>
                      <a:pt x="157" y="2085"/>
                    </a:lnTo>
                    <a:lnTo>
                      <a:pt x="157" y="2085"/>
                    </a:lnTo>
                    <a:lnTo>
                      <a:pt x="166" y="2089"/>
                    </a:lnTo>
                    <a:lnTo>
                      <a:pt x="172" y="2092"/>
                    </a:lnTo>
                    <a:lnTo>
                      <a:pt x="177" y="2092"/>
                    </a:lnTo>
                    <a:lnTo>
                      <a:pt x="187" y="2091"/>
                    </a:lnTo>
                    <a:lnTo>
                      <a:pt x="187" y="2091"/>
                    </a:lnTo>
                    <a:lnTo>
                      <a:pt x="190" y="2089"/>
                    </a:lnTo>
                    <a:lnTo>
                      <a:pt x="191" y="2087"/>
                    </a:lnTo>
                    <a:lnTo>
                      <a:pt x="202" y="2081"/>
                    </a:lnTo>
                    <a:lnTo>
                      <a:pt x="202" y="2081"/>
                    </a:lnTo>
                    <a:lnTo>
                      <a:pt x="207" y="2081"/>
                    </a:lnTo>
                    <a:lnTo>
                      <a:pt x="213" y="2080"/>
                    </a:lnTo>
                    <a:lnTo>
                      <a:pt x="213" y="2080"/>
                    </a:lnTo>
                    <a:lnTo>
                      <a:pt x="215" y="2080"/>
                    </a:lnTo>
                    <a:lnTo>
                      <a:pt x="219" y="2080"/>
                    </a:lnTo>
                    <a:lnTo>
                      <a:pt x="222" y="2081"/>
                    </a:lnTo>
                    <a:lnTo>
                      <a:pt x="225" y="2083"/>
                    </a:lnTo>
                    <a:lnTo>
                      <a:pt x="225" y="2083"/>
                    </a:lnTo>
                    <a:lnTo>
                      <a:pt x="230" y="2081"/>
                    </a:lnTo>
                    <a:lnTo>
                      <a:pt x="234" y="2077"/>
                    </a:lnTo>
                    <a:lnTo>
                      <a:pt x="240" y="2074"/>
                    </a:lnTo>
                    <a:lnTo>
                      <a:pt x="245" y="2072"/>
                    </a:lnTo>
                    <a:lnTo>
                      <a:pt x="245" y="2068"/>
                    </a:lnTo>
                    <a:lnTo>
                      <a:pt x="245" y="2068"/>
                    </a:lnTo>
                    <a:lnTo>
                      <a:pt x="255" y="2055"/>
                    </a:lnTo>
                    <a:lnTo>
                      <a:pt x="260" y="2047"/>
                    </a:lnTo>
                    <a:lnTo>
                      <a:pt x="261" y="2045"/>
                    </a:lnTo>
                    <a:lnTo>
                      <a:pt x="261" y="2042"/>
                    </a:lnTo>
                    <a:lnTo>
                      <a:pt x="259" y="2034"/>
                    </a:lnTo>
                    <a:lnTo>
                      <a:pt x="259" y="2034"/>
                    </a:lnTo>
                    <a:lnTo>
                      <a:pt x="257" y="2026"/>
                    </a:lnTo>
                    <a:lnTo>
                      <a:pt x="257" y="2026"/>
                    </a:lnTo>
                    <a:lnTo>
                      <a:pt x="252" y="2020"/>
                    </a:lnTo>
                    <a:lnTo>
                      <a:pt x="251" y="2017"/>
                    </a:lnTo>
                    <a:lnTo>
                      <a:pt x="249" y="2012"/>
                    </a:lnTo>
                    <a:lnTo>
                      <a:pt x="246" y="2011"/>
                    </a:lnTo>
                    <a:lnTo>
                      <a:pt x="246" y="2011"/>
                    </a:lnTo>
                    <a:lnTo>
                      <a:pt x="241" y="2013"/>
                    </a:lnTo>
                    <a:lnTo>
                      <a:pt x="238" y="2013"/>
                    </a:lnTo>
                    <a:lnTo>
                      <a:pt x="236" y="2013"/>
                    </a:lnTo>
                    <a:lnTo>
                      <a:pt x="236" y="2013"/>
                    </a:lnTo>
                    <a:lnTo>
                      <a:pt x="229" y="2008"/>
                    </a:lnTo>
                    <a:lnTo>
                      <a:pt x="229" y="2008"/>
                    </a:lnTo>
                    <a:lnTo>
                      <a:pt x="233" y="2007"/>
                    </a:lnTo>
                    <a:lnTo>
                      <a:pt x="237" y="2007"/>
                    </a:lnTo>
                    <a:lnTo>
                      <a:pt x="237" y="2008"/>
                    </a:lnTo>
                    <a:lnTo>
                      <a:pt x="237" y="2008"/>
                    </a:lnTo>
                    <a:lnTo>
                      <a:pt x="242" y="2005"/>
                    </a:lnTo>
                    <a:lnTo>
                      <a:pt x="246" y="2003"/>
                    </a:lnTo>
                    <a:lnTo>
                      <a:pt x="249" y="2001"/>
                    </a:lnTo>
                    <a:lnTo>
                      <a:pt x="248" y="2000"/>
                    </a:lnTo>
                    <a:lnTo>
                      <a:pt x="248" y="1997"/>
                    </a:lnTo>
                    <a:lnTo>
                      <a:pt x="249" y="1996"/>
                    </a:lnTo>
                    <a:lnTo>
                      <a:pt x="249" y="1996"/>
                    </a:lnTo>
                    <a:lnTo>
                      <a:pt x="251" y="1988"/>
                    </a:lnTo>
                    <a:lnTo>
                      <a:pt x="252" y="1981"/>
                    </a:lnTo>
                    <a:lnTo>
                      <a:pt x="252" y="1981"/>
                    </a:lnTo>
                    <a:lnTo>
                      <a:pt x="256" y="1975"/>
                    </a:lnTo>
                    <a:lnTo>
                      <a:pt x="259" y="1975"/>
                    </a:lnTo>
                    <a:lnTo>
                      <a:pt x="259" y="1973"/>
                    </a:lnTo>
                    <a:lnTo>
                      <a:pt x="263" y="1969"/>
                    </a:lnTo>
                    <a:lnTo>
                      <a:pt x="261" y="1967"/>
                    </a:lnTo>
                    <a:lnTo>
                      <a:pt x="261" y="1963"/>
                    </a:lnTo>
                    <a:lnTo>
                      <a:pt x="264" y="1962"/>
                    </a:lnTo>
                    <a:lnTo>
                      <a:pt x="263" y="1958"/>
                    </a:lnTo>
                    <a:lnTo>
                      <a:pt x="265" y="1954"/>
                    </a:lnTo>
                    <a:lnTo>
                      <a:pt x="265" y="1944"/>
                    </a:lnTo>
                    <a:lnTo>
                      <a:pt x="271" y="1943"/>
                    </a:lnTo>
                    <a:lnTo>
                      <a:pt x="271" y="1943"/>
                    </a:lnTo>
                    <a:lnTo>
                      <a:pt x="271" y="1937"/>
                    </a:lnTo>
                    <a:lnTo>
                      <a:pt x="270" y="1932"/>
                    </a:lnTo>
                    <a:lnTo>
                      <a:pt x="271" y="1931"/>
                    </a:lnTo>
                    <a:lnTo>
                      <a:pt x="271" y="1931"/>
                    </a:lnTo>
                    <a:lnTo>
                      <a:pt x="271" y="1927"/>
                    </a:lnTo>
                    <a:lnTo>
                      <a:pt x="271" y="1921"/>
                    </a:lnTo>
                    <a:lnTo>
                      <a:pt x="271" y="1920"/>
                    </a:lnTo>
                    <a:lnTo>
                      <a:pt x="271" y="1917"/>
                    </a:lnTo>
                    <a:lnTo>
                      <a:pt x="272" y="1916"/>
                    </a:lnTo>
                    <a:lnTo>
                      <a:pt x="272" y="1912"/>
                    </a:lnTo>
                    <a:lnTo>
                      <a:pt x="279" y="1912"/>
                    </a:lnTo>
                    <a:lnTo>
                      <a:pt x="279" y="1916"/>
                    </a:lnTo>
                    <a:lnTo>
                      <a:pt x="282" y="1914"/>
                    </a:lnTo>
                    <a:lnTo>
                      <a:pt x="282" y="1909"/>
                    </a:lnTo>
                    <a:lnTo>
                      <a:pt x="282" y="1908"/>
                    </a:lnTo>
                    <a:lnTo>
                      <a:pt x="283" y="1905"/>
                    </a:lnTo>
                    <a:lnTo>
                      <a:pt x="278" y="1902"/>
                    </a:lnTo>
                    <a:lnTo>
                      <a:pt x="278" y="1902"/>
                    </a:lnTo>
                    <a:lnTo>
                      <a:pt x="276" y="1898"/>
                    </a:lnTo>
                    <a:lnTo>
                      <a:pt x="276" y="1894"/>
                    </a:lnTo>
                    <a:lnTo>
                      <a:pt x="276" y="1890"/>
                    </a:lnTo>
                    <a:lnTo>
                      <a:pt x="275" y="1887"/>
                    </a:lnTo>
                    <a:lnTo>
                      <a:pt x="276" y="1885"/>
                    </a:lnTo>
                    <a:lnTo>
                      <a:pt x="276" y="1885"/>
                    </a:lnTo>
                    <a:lnTo>
                      <a:pt x="276" y="1882"/>
                    </a:lnTo>
                    <a:lnTo>
                      <a:pt x="276" y="1878"/>
                    </a:lnTo>
                    <a:lnTo>
                      <a:pt x="275" y="1876"/>
                    </a:lnTo>
                    <a:lnTo>
                      <a:pt x="274" y="1872"/>
                    </a:lnTo>
                    <a:lnTo>
                      <a:pt x="278" y="1868"/>
                    </a:lnTo>
                    <a:lnTo>
                      <a:pt x="278" y="1868"/>
                    </a:lnTo>
                    <a:lnTo>
                      <a:pt x="280" y="1860"/>
                    </a:lnTo>
                    <a:lnTo>
                      <a:pt x="283" y="1851"/>
                    </a:lnTo>
                    <a:lnTo>
                      <a:pt x="282" y="1849"/>
                    </a:lnTo>
                    <a:lnTo>
                      <a:pt x="286" y="1845"/>
                    </a:lnTo>
                    <a:lnTo>
                      <a:pt x="286" y="1845"/>
                    </a:lnTo>
                    <a:lnTo>
                      <a:pt x="287" y="1838"/>
                    </a:lnTo>
                    <a:lnTo>
                      <a:pt x="286" y="1833"/>
                    </a:lnTo>
                    <a:lnTo>
                      <a:pt x="294" y="1822"/>
                    </a:lnTo>
                    <a:lnTo>
                      <a:pt x="295" y="1821"/>
                    </a:lnTo>
                    <a:lnTo>
                      <a:pt x="295" y="1821"/>
                    </a:lnTo>
                    <a:lnTo>
                      <a:pt x="297" y="1818"/>
                    </a:lnTo>
                    <a:lnTo>
                      <a:pt x="301" y="1815"/>
                    </a:lnTo>
                    <a:lnTo>
                      <a:pt x="301" y="1815"/>
                    </a:lnTo>
                    <a:lnTo>
                      <a:pt x="302" y="1813"/>
                    </a:lnTo>
                    <a:lnTo>
                      <a:pt x="303" y="1810"/>
                    </a:lnTo>
                    <a:lnTo>
                      <a:pt x="306" y="1809"/>
                    </a:lnTo>
                    <a:lnTo>
                      <a:pt x="306" y="1806"/>
                    </a:lnTo>
                    <a:lnTo>
                      <a:pt x="309" y="1807"/>
                    </a:lnTo>
                    <a:lnTo>
                      <a:pt x="309" y="1807"/>
                    </a:lnTo>
                    <a:lnTo>
                      <a:pt x="317" y="1803"/>
                    </a:lnTo>
                    <a:lnTo>
                      <a:pt x="321" y="1800"/>
                    </a:lnTo>
                    <a:lnTo>
                      <a:pt x="322" y="1798"/>
                    </a:lnTo>
                    <a:lnTo>
                      <a:pt x="327" y="1798"/>
                    </a:lnTo>
                    <a:lnTo>
                      <a:pt x="329" y="1799"/>
                    </a:lnTo>
                    <a:lnTo>
                      <a:pt x="329" y="1799"/>
                    </a:lnTo>
                    <a:lnTo>
                      <a:pt x="332" y="1798"/>
                    </a:lnTo>
                    <a:lnTo>
                      <a:pt x="333" y="1795"/>
                    </a:lnTo>
                    <a:lnTo>
                      <a:pt x="333" y="1795"/>
                    </a:lnTo>
                    <a:lnTo>
                      <a:pt x="335" y="1791"/>
                    </a:lnTo>
                    <a:lnTo>
                      <a:pt x="335" y="1784"/>
                    </a:lnTo>
                    <a:lnTo>
                      <a:pt x="332" y="1773"/>
                    </a:lnTo>
                    <a:lnTo>
                      <a:pt x="329" y="1769"/>
                    </a:lnTo>
                    <a:lnTo>
                      <a:pt x="327" y="1760"/>
                    </a:lnTo>
                    <a:lnTo>
                      <a:pt x="327" y="1760"/>
                    </a:lnTo>
                    <a:lnTo>
                      <a:pt x="321" y="1756"/>
                    </a:lnTo>
                    <a:lnTo>
                      <a:pt x="318" y="1752"/>
                    </a:lnTo>
                    <a:lnTo>
                      <a:pt x="316" y="1746"/>
                    </a:lnTo>
                    <a:lnTo>
                      <a:pt x="312" y="1742"/>
                    </a:lnTo>
                    <a:lnTo>
                      <a:pt x="310" y="1739"/>
                    </a:lnTo>
                    <a:lnTo>
                      <a:pt x="310" y="1739"/>
                    </a:lnTo>
                    <a:lnTo>
                      <a:pt x="308" y="1737"/>
                    </a:lnTo>
                    <a:lnTo>
                      <a:pt x="303" y="1735"/>
                    </a:lnTo>
                    <a:lnTo>
                      <a:pt x="301" y="1737"/>
                    </a:lnTo>
                    <a:lnTo>
                      <a:pt x="301" y="1735"/>
                    </a:lnTo>
                    <a:lnTo>
                      <a:pt x="302" y="1734"/>
                    </a:lnTo>
                    <a:lnTo>
                      <a:pt x="303" y="1734"/>
                    </a:lnTo>
                    <a:lnTo>
                      <a:pt x="306" y="1733"/>
                    </a:lnTo>
                    <a:lnTo>
                      <a:pt x="306" y="1733"/>
                    </a:lnTo>
                    <a:lnTo>
                      <a:pt x="305" y="1731"/>
                    </a:lnTo>
                    <a:lnTo>
                      <a:pt x="302" y="1729"/>
                    </a:lnTo>
                    <a:lnTo>
                      <a:pt x="301" y="1723"/>
                    </a:lnTo>
                    <a:lnTo>
                      <a:pt x="302" y="1722"/>
                    </a:lnTo>
                    <a:lnTo>
                      <a:pt x="301" y="1719"/>
                    </a:lnTo>
                    <a:lnTo>
                      <a:pt x="299" y="1720"/>
                    </a:lnTo>
                    <a:lnTo>
                      <a:pt x="299" y="1720"/>
                    </a:lnTo>
                    <a:lnTo>
                      <a:pt x="298" y="1719"/>
                    </a:lnTo>
                    <a:lnTo>
                      <a:pt x="298" y="1716"/>
                    </a:lnTo>
                    <a:lnTo>
                      <a:pt x="298" y="1711"/>
                    </a:lnTo>
                    <a:lnTo>
                      <a:pt x="297" y="1710"/>
                    </a:lnTo>
                    <a:lnTo>
                      <a:pt x="294" y="1685"/>
                    </a:lnTo>
                    <a:lnTo>
                      <a:pt x="294" y="1685"/>
                    </a:lnTo>
                    <a:lnTo>
                      <a:pt x="290" y="1681"/>
                    </a:lnTo>
                    <a:lnTo>
                      <a:pt x="289" y="1677"/>
                    </a:lnTo>
                    <a:lnTo>
                      <a:pt x="287" y="1673"/>
                    </a:lnTo>
                    <a:lnTo>
                      <a:pt x="287" y="1669"/>
                    </a:lnTo>
                    <a:lnTo>
                      <a:pt x="289" y="1659"/>
                    </a:lnTo>
                    <a:lnTo>
                      <a:pt x="287" y="1654"/>
                    </a:lnTo>
                    <a:lnTo>
                      <a:pt x="286" y="1647"/>
                    </a:lnTo>
                    <a:lnTo>
                      <a:pt x="286" y="1647"/>
                    </a:lnTo>
                    <a:lnTo>
                      <a:pt x="289" y="1643"/>
                    </a:lnTo>
                    <a:lnTo>
                      <a:pt x="286" y="1640"/>
                    </a:lnTo>
                    <a:lnTo>
                      <a:pt x="286" y="1640"/>
                    </a:lnTo>
                    <a:lnTo>
                      <a:pt x="289" y="1635"/>
                    </a:lnTo>
                    <a:lnTo>
                      <a:pt x="290" y="1632"/>
                    </a:lnTo>
                    <a:lnTo>
                      <a:pt x="291" y="1630"/>
                    </a:lnTo>
                    <a:lnTo>
                      <a:pt x="293" y="1631"/>
                    </a:lnTo>
                    <a:lnTo>
                      <a:pt x="293" y="1631"/>
                    </a:lnTo>
                    <a:lnTo>
                      <a:pt x="291" y="1634"/>
                    </a:lnTo>
                    <a:lnTo>
                      <a:pt x="293" y="1638"/>
                    </a:lnTo>
                    <a:lnTo>
                      <a:pt x="293" y="1640"/>
                    </a:lnTo>
                    <a:lnTo>
                      <a:pt x="293" y="1643"/>
                    </a:lnTo>
                    <a:lnTo>
                      <a:pt x="295" y="1646"/>
                    </a:lnTo>
                    <a:lnTo>
                      <a:pt x="295" y="1646"/>
                    </a:lnTo>
                    <a:lnTo>
                      <a:pt x="299" y="1647"/>
                    </a:lnTo>
                    <a:lnTo>
                      <a:pt x="301" y="1650"/>
                    </a:lnTo>
                    <a:lnTo>
                      <a:pt x="303" y="1651"/>
                    </a:lnTo>
                    <a:lnTo>
                      <a:pt x="305" y="1654"/>
                    </a:lnTo>
                    <a:lnTo>
                      <a:pt x="306" y="1653"/>
                    </a:lnTo>
                    <a:lnTo>
                      <a:pt x="306" y="1650"/>
                    </a:lnTo>
                    <a:lnTo>
                      <a:pt x="309" y="1649"/>
                    </a:lnTo>
                    <a:lnTo>
                      <a:pt x="310" y="1650"/>
                    </a:lnTo>
                    <a:lnTo>
                      <a:pt x="316" y="1643"/>
                    </a:lnTo>
                    <a:lnTo>
                      <a:pt x="316" y="1639"/>
                    </a:lnTo>
                    <a:lnTo>
                      <a:pt x="317" y="1638"/>
                    </a:lnTo>
                    <a:lnTo>
                      <a:pt x="320" y="1636"/>
                    </a:lnTo>
                    <a:lnTo>
                      <a:pt x="322" y="1639"/>
                    </a:lnTo>
                    <a:lnTo>
                      <a:pt x="324" y="1638"/>
                    </a:lnTo>
                    <a:lnTo>
                      <a:pt x="324" y="1635"/>
                    </a:lnTo>
                    <a:lnTo>
                      <a:pt x="325" y="1634"/>
                    </a:lnTo>
                    <a:lnTo>
                      <a:pt x="327" y="1619"/>
                    </a:lnTo>
                    <a:lnTo>
                      <a:pt x="331" y="1616"/>
                    </a:lnTo>
                    <a:lnTo>
                      <a:pt x="328" y="1613"/>
                    </a:lnTo>
                    <a:lnTo>
                      <a:pt x="327" y="1611"/>
                    </a:lnTo>
                    <a:lnTo>
                      <a:pt x="327" y="1611"/>
                    </a:lnTo>
                    <a:lnTo>
                      <a:pt x="329" y="1608"/>
                    </a:lnTo>
                    <a:lnTo>
                      <a:pt x="331" y="1609"/>
                    </a:lnTo>
                    <a:lnTo>
                      <a:pt x="332" y="1613"/>
                    </a:lnTo>
                    <a:lnTo>
                      <a:pt x="332" y="1615"/>
                    </a:lnTo>
                    <a:lnTo>
                      <a:pt x="336" y="1616"/>
                    </a:lnTo>
                    <a:lnTo>
                      <a:pt x="336" y="1616"/>
                    </a:lnTo>
                    <a:lnTo>
                      <a:pt x="337" y="1615"/>
                    </a:lnTo>
                    <a:lnTo>
                      <a:pt x="339" y="1612"/>
                    </a:lnTo>
                    <a:lnTo>
                      <a:pt x="340" y="1612"/>
                    </a:lnTo>
                    <a:lnTo>
                      <a:pt x="340" y="1612"/>
                    </a:lnTo>
                    <a:lnTo>
                      <a:pt x="341" y="1609"/>
                    </a:lnTo>
                    <a:lnTo>
                      <a:pt x="343" y="1605"/>
                    </a:lnTo>
                    <a:lnTo>
                      <a:pt x="344" y="1600"/>
                    </a:lnTo>
                    <a:lnTo>
                      <a:pt x="346" y="1597"/>
                    </a:lnTo>
                    <a:lnTo>
                      <a:pt x="346" y="1597"/>
                    </a:lnTo>
                    <a:lnTo>
                      <a:pt x="350" y="1596"/>
                    </a:lnTo>
                    <a:lnTo>
                      <a:pt x="351" y="1593"/>
                    </a:lnTo>
                    <a:lnTo>
                      <a:pt x="355" y="1593"/>
                    </a:lnTo>
                    <a:lnTo>
                      <a:pt x="356" y="1590"/>
                    </a:lnTo>
                    <a:lnTo>
                      <a:pt x="355" y="1589"/>
                    </a:lnTo>
                    <a:lnTo>
                      <a:pt x="356" y="1587"/>
                    </a:lnTo>
                    <a:lnTo>
                      <a:pt x="356" y="1587"/>
                    </a:lnTo>
                    <a:lnTo>
                      <a:pt x="356" y="1583"/>
                    </a:lnTo>
                    <a:lnTo>
                      <a:pt x="358" y="1579"/>
                    </a:lnTo>
                    <a:lnTo>
                      <a:pt x="360" y="1577"/>
                    </a:lnTo>
                    <a:lnTo>
                      <a:pt x="363" y="1574"/>
                    </a:lnTo>
                    <a:lnTo>
                      <a:pt x="363" y="1573"/>
                    </a:lnTo>
                    <a:lnTo>
                      <a:pt x="367" y="1570"/>
                    </a:lnTo>
                    <a:lnTo>
                      <a:pt x="369" y="1567"/>
                    </a:lnTo>
                    <a:lnTo>
                      <a:pt x="369" y="1567"/>
                    </a:lnTo>
                    <a:lnTo>
                      <a:pt x="371" y="1566"/>
                    </a:lnTo>
                    <a:lnTo>
                      <a:pt x="375" y="1562"/>
                    </a:lnTo>
                    <a:lnTo>
                      <a:pt x="379" y="1559"/>
                    </a:lnTo>
                    <a:lnTo>
                      <a:pt x="384" y="1558"/>
                    </a:lnTo>
                    <a:lnTo>
                      <a:pt x="388" y="1558"/>
                    </a:lnTo>
                    <a:lnTo>
                      <a:pt x="388" y="1556"/>
                    </a:lnTo>
                    <a:lnTo>
                      <a:pt x="388" y="1556"/>
                    </a:lnTo>
                    <a:lnTo>
                      <a:pt x="393" y="1555"/>
                    </a:lnTo>
                    <a:lnTo>
                      <a:pt x="398" y="1552"/>
                    </a:lnTo>
                    <a:lnTo>
                      <a:pt x="404" y="1550"/>
                    </a:lnTo>
                    <a:lnTo>
                      <a:pt x="407" y="1545"/>
                    </a:lnTo>
                    <a:lnTo>
                      <a:pt x="407" y="1543"/>
                    </a:lnTo>
                    <a:lnTo>
                      <a:pt x="409" y="1540"/>
                    </a:lnTo>
                    <a:lnTo>
                      <a:pt x="411" y="1533"/>
                    </a:lnTo>
                    <a:lnTo>
                      <a:pt x="409" y="1531"/>
                    </a:lnTo>
                    <a:lnTo>
                      <a:pt x="411" y="1529"/>
                    </a:lnTo>
                    <a:lnTo>
                      <a:pt x="412" y="1526"/>
                    </a:lnTo>
                    <a:lnTo>
                      <a:pt x="415" y="1524"/>
                    </a:lnTo>
                    <a:lnTo>
                      <a:pt x="415" y="1524"/>
                    </a:lnTo>
                    <a:lnTo>
                      <a:pt x="415" y="1521"/>
                    </a:lnTo>
                    <a:lnTo>
                      <a:pt x="417" y="1516"/>
                    </a:lnTo>
                    <a:lnTo>
                      <a:pt x="423" y="1509"/>
                    </a:lnTo>
                    <a:lnTo>
                      <a:pt x="423" y="1507"/>
                    </a:lnTo>
                    <a:lnTo>
                      <a:pt x="423" y="1507"/>
                    </a:lnTo>
                    <a:lnTo>
                      <a:pt x="426" y="1503"/>
                    </a:lnTo>
                    <a:lnTo>
                      <a:pt x="430" y="1499"/>
                    </a:lnTo>
                    <a:lnTo>
                      <a:pt x="432" y="1499"/>
                    </a:lnTo>
                    <a:lnTo>
                      <a:pt x="431" y="1506"/>
                    </a:lnTo>
                    <a:lnTo>
                      <a:pt x="434" y="1507"/>
                    </a:lnTo>
                    <a:lnTo>
                      <a:pt x="434" y="1507"/>
                    </a:lnTo>
                    <a:lnTo>
                      <a:pt x="436" y="1506"/>
                    </a:lnTo>
                    <a:lnTo>
                      <a:pt x="438" y="1505"/>
                    </a:lnTo>
                    <a:lnTo>
                      <a:pt x="442" y="1503"/>
                    </a:lnTo>
                    <a:lnTo>
                      <a:pt x="442" y="1503"/>
                    </a:lnTo>
                    <a:lnTo>
                      <a:pt x="449" y="1502"/>
                    </a:lnTo>
                    <a:lnTo>
                      <a:pt x="449" y="1502"/>
                    </a:lnTo>
                    <a:lnTo>
                      <a:pt x="450" y="1501"/>
                    </a:lnTo>
                    <a:lnTo>
                      <a:pt x="450" y="1501"/>
                    </a:lnTo>
                    <a:lnTo>
                      <a:pt x="460" y="1495"/>
                    </a:lnTo>
                    <a:lnTo>
                      <a:pt x="460" y="1495"/>
                    </a:lnTo>
                    <a:lnTo>
                      <a:pt x="466" y="1493"/>
                    </a:lnTo>
                    <a:lnTo>
                      <a:pt x="466" y="1493"/>
                    </a:lnTo>
                    <a:lnTo>
                      <a:pt x="469" y="1490"/>
                    </a:lnTo>
                    <a:lnTo>
                      <a:pt x="470" y="1487"/>
                    </a:lnTo>
                    <a:lnTo>
                      <a:pt x="473" y="1484"/>
                    </a:lnTo>
                    <a:lnTo>
                      <a:pt x="477" y="1483"/>
                    </a:lnTo>
                    <a:lnTo>
                      <a:pt x="479" y="1484"/>
                    </a:lnTo>
                    <a:lnTo>
                      <a:pt x="470" y="1494"/>
                    </a:lnTo>
                    <a:lnTo>
                      <a:pt x="469" y="1493"/>
                    </a:lnTo>
                    <a:lnTo>
                      <a:pt x="468" y="1493"/>
                    </a:lnTo>
                    <a:lnTo>
                      <a:pt x="466" y="1497"/>
                    </a:lnTo>
                    <a:lnTo>
                      <a:pt x="464" y="1498"/>
                    </a:lnTo>
                    <a:lnTo>
                      <a:pt x="464" y="1499"/>
                    </a:lnTo>
                    <a:lnTo>
                      <a:pt x="462" y="1499"/>
                    </a:lnTo>
                    <a:lnTo>
                      <a:pt x="462" y="1499"/>
                    </a:lnTo>
                    <a:lnTo>
                      <a:pt x="458" y="1503"/>
                    </a:lnTo>
                    <a:lnTo>
                      <a:pt x="454" y="1506"/>
                    </a:lnTo>
                    <a:lnTo>
                      <a:pt x="451" y="1506"/>
                    </a:lnTo>
                    <a:lnTo>
                      <a:pt x="451" y="1506"/>
                    </a:lnTo>
                    <a:lnTo>
                      <a:pt x="450" y="1507"/>
                    </a:lnTo>
                    <a:lnTo>
                      <a:pt x="450" y="1507"/>
                    </a:lnTo>
                    <a:lnTo>
                      <a:pt x="439" y="1513"/>
                    </a:lnTo>
                    <a:lnTo>
                      <a:pt x="434" y="1517"/>
                    </a:lnTo>
                    <a:lnTo>
                      <a:pt x="428" y="1522"/>
                    </a:lnTo>
                    <a:lnTo>
                      <a:pt x="422" y="1532"/>
                    </a:lnTo>
                    <a:lnTo>
                      <a:pt x="422" y="1532"/>
                    </a:lnTo>
                    <a:lnTo>
                      <a:pt x="419" y="1540"/>
                    </a:lnTo>
                    <a:lnTo>
                      <a:pt x="419" y="1545"/>
                    </a:lnTo>
                    <a:lnTo>
                      <a:pt x="419" y="1550"/>
                    </a:lnTo>
                    <a:lnTo>
                      <a:pt x="419" y="1550"/>
                    </a:lnTo>
                    <a:lnTo>
                      <a:pt x="411" y="1555"/>
                    </a:lnTo>
                    <a:lnTo>
                      <a:pt x="411" y="1555"/>
                    </a:lnTo>
                    <a:lnTo>
                      <a:pt x="393" y="1567"/>
                    </a:lnTo>
                    <a:lnTo>
                      <a:pt x="393" y="1567"/>
                    </a:lnTo>
                    <a:lnTo>
                      <a:pt x="390" y="1566"/>
                    </a:lnTo>
                    <a:lnTo>
                      <a:pt x="388" y="1566"/>
                    </a:lnTo>
                    <a:lnTo>
                      <a:pt x="382" y="1567"/>
                    </a:lnTo>
                    <a:lnTo>
                      <a:pt x="377" y="1571"/>
                    </a:lnTo>
                    <a:lnTo>
                      <a:pt x="373" y="1575"/>
                    </a:lnTo>
                    <a:lnTo>
                      <a:pt x="374" y="1578"/>
                    </a:lnTo>
                    <a:lnTo>
                      <a:pt x="371" y="1579"/>
                    </a:lnTo>
                    <a:lnTo>
                      <a:pt x="373" y="1581"/>
                    </a:lnTo>
                    <a:lnTo>
                      <a:pt x="373" y="1583"/>
                    </a:lnTo>
                    <a:lnTo>
                      <a:pt x="375" y="1586"/>
                    </a:lnTo>
                    <a:lnTo>
                      <a:pt x="371" y="1587"/>
                    </a:lnTo>
                    <a:lnTo>
                      <a:pt x="369" y="1593"/>
                    </a:lnTo>
                    <a:lnTo>
                      <a:pt x="369" y="1593"/>
                    </a:lnTo>
                    <a:lnTo>
                      <a:pt x="365" y="1596"/>
                    </a:lnTo>
                    <a:lnTo>
                      <a:pt x="360" y="1600"/>
                    </a:lnTo>
                    <a:lnTo>
                      <a:pt x="360" y="1602"/>
                    </a:lnTo>
                    <a:lnTo>
                      <a:pt x="360" y="1602"/>
                    </a:lnTo>
                    <a:lnTo>
                      <a:pt x="355" y="1606"/>
                    </a:lnTo>
                    <a:lnTo>
                      <a:pt x="351" y="1612"/>
                    </a:lnTo>
                    <a:lnTo>
                      <a:pt x="351" y="1613"/>
                    </a:lnTo>
                    <a:lnTo>
                      <a:pt x="351" y="1613"/>
                    </a:lnTo>
                    <a:lnTo>
                      <a:pt x="347" y="1617"/>
                    </a:lnTo>
                    <a:lnTo>
                      <a:pt x="344" y="1621"/>
                    </a:lnTo>
                    <a:lnTo>
                      <a:pt x="343" y="1625"/>
                    </a:lnTo>
                    <a:lnTo>
                      <a:pt x="343" y="1631"/>
                    </a:lnTo>
                    <a:lnTo>
                      <a:pt x="339" y="1635"/>
                    </a:lnTo>
                    <a:lnTo>
                      <a:pt x="339" y="1639"/>
                    </a:lnTo>
                    <a:lnTo>
                      <a:pt x="333" y="1646"/>
                    </a:lnTo>
                    <a:lnTo>
                      <a:pt x="331" y="1647"/>
                    </a:lnTo>
                    <a:lnTo>
                      <a:pt x="328" y="1650"/>
                    </a:lnTo>
                    <a:lnTo>
                      <a:pt x="328" y="1654"/>
                    </a:lnTo>
                    <a:lnTo>
                      <a:pt x="325" y="1655"/>
                    </a:lnTo>
                    <a:lnTo>
                      <a:pt x="328" y="1663"/>
                    </a:lnTo>
                    <a:lnTo>
                      <a:pt x="324" y="1669"/>
                    </a:lnTo>
                    <a:lnTo>
                      <a:pt x="324" y="1673"/>
                    </a:lnTo>
                    <a:lnTo>
                      <a:pt x="331" y="1678"/>
                    </a:lnTo>
                    <a:lnTo>
                      <a:pt x="331" y="1678"/>
                    </a:lnTo>
                    <a:lnTo>
                      <a:pt x="331" y="1681"/>
                    </a:lnTo>
                    <a:lnTo>
                      <a:pt x="329" y="1684"/>
                    </a:lnTo>
                    <a:lnTo>
                      <a:pt x="325" y="1689"/>
                    </a:lnTo>
                    <a:lnTo>
                      <a:pt x="325" y="1696"/>
                    </a:lnTo>
                    <a:lnTo>
                      <a:pt x="324" y="1697"/>
                    </a:lnTo>
                    <a:lnTo>
                      <a:pt x="324" y="1701"/>
                    </a:lnTo>
                    <a:lnTo>
                      <a:pt x="327" y="1701"/>
                    </a:lnTo>
                    <a:lnTo>
                      <a:pt x="327" y="1701"/>
                    </a:lnTo>
                    <a:lnTo>
                      <a:pt x="324" y="1706"/>
                    </a:lnTo>
                    <a:lnTo>
                      <a:pt x="324" y="1710"/>
                    </a:lnTo>
                    <a:lnTo>
                      <a:pt x="325" y="1712"/>
                    </a:lnTo>
                    <a:lnTo>
                      <a:pt x="322" y="1715"/>
                    </a:lnTo>
                    <a:lnTo>
                      <a:pt x="322" y="1715"/>
                    </a:lnTo>
                    <a:lnTo>
                      <a:pt x="324" y="1719"/>
                    </a:lnTo>
                    <a:lnTo>
                      <a:pt x="324" y="1723"/>
                    </a:lnTo>
                    <a:lnTo>
                      <a:pt x="327" y="1722"/>
                    </a:lnTo>
                    <a:lnTo>
                      <a:pt x="328" y="1723"/>
                    </a:lnTo>
                    <a:lnTo>
                      <a:pt x="331" y="1724"/>
                    </a:lnTo>
                    <a:lnTo>
                      <a:pt x="332" y="1727"/>
                    </a:lnTo>
                    <a:lnTo>
                      <a:pt x="335" y="1729"/>
                    </a:lnTo>
                    <a:lnTo>
                      <a:pt x="335" y="1731"/>
                    </a:lnTo>
                    <a:lnTo>
                      <a:pt x="337" y="1731"/>
                    </a:lnTo>
                    <a:lnTo>
                      <a:pt x="337" y="1731"/>
                    </a:lnTo>
                    <a:lnTo>
                      <a:pt x="336" y="1737"/>
                    </a:lnTo>
                    <a:lnTo>
                      <a:pt x="335" y="1741"/>
                    </a:lnTo>
                    <a:lnTo>
                      <a:pt x="339" y="1742"/>
                    </a:lnTo>
                    <a:lnTo>
                      <a:pt x="339" y="1743"/>
                    </a:lnTo>
                    <a:lnTo>
                      <a:pt x="337" y="1743"/>
                    </a:lnTo>
                    <a:lnTo>
                      <a:pt x="340" y="1745"/>
                    </a:lnTo>
                    <a:lnTo>
                      <a:pt x="344" y="1741"/>
                    </a:lnTo>
                    <a:lnTo>
                      <a:pt x="346" y="1742"/>
                    </a:lnTo>
                    <a:lnTo>
                      <a:pt x="346" y="1746"/>
                    </a:lnTo>
                    <a:lnTo>
                      <a:pt x="352" y="1746"/>
                    </a:lnTo>
                    <a:lnTo>
                      <a:pt x="354" y="1743"/>
                    </a:lnTo>
                    <a:lnTo>
                      <a:pt x="356" y="1745"/>
                    </a:lnTo>
                    <a:lnTo>
                      <a:pt x="358" y="1746"/>
                    </a:lnTo>
                    <a:lnTo>
                      <a:pt x="358" y="1746"/>
                    </a:lnTo>
                    <a:lnTo>
                      <a:pt x="359" y="1749"/>
                    </a:lnTo>
                    <a:lnTo>
                      <a:pt x="360" y="1752"/>
                    </a:lnTo>
                    <a:lnTo>
                      <a:pt x="367" y="1753"/>
                    </a:lnTo>
                    <a:lnTo>
                      <a:pt x="367" y="1753"/>
                    </a:lnTo>
                    <a:lnTo>
                      <a:pt x="369" y="1757"/>
                    </a:lnTo>
                    <a:lnTo>
                      <a:pt x="371" y="1760"/>
                    </a:lnTo>
                    <a:lnTo>
                      <a:pt x="375" y="1761"/>
                    </a:lnTo>
                    <a:lnTo>
                      <a:pt x="377" y="1757"/>
                    </a:lnTo>
                    <a:lnTo>
                      <a:pt x="377" y="1752"/>
                    </a:lnTo>
                    <a:lnTo>
                      <a:pt x="377" y="1752"/>
                    </a:lnTo>
                    <a:lnTo>
                      <a:pt x="375" y="1750"/>
                    </a:lnTo>
                    <a:lnTo>
                      <a:pt x="374" y="1748"/>
                    </a:lnTo>
                    <a:lnTo>
                      <a:pt x="374" y="1742"/>
                    </a:lnTo>
                    <a:lnTo>
                      <a:pt x="373" y="1742"/>
                    </a:lnTo>
                    <a:lnTo>
                      <a:pt x="373" y="1742"/>
                    </a:lnTo>
                    <a:lnTo>
                      <a:pt x="371" y="1737"/>
                    </a:lnTo>
                    <a:lnTo>
                      <a:pt x="369" y="1731"/>
                    </a:lnTo>
                    <a:lnTo>
                      <a:pt x="369" y="1731"/>
                    </a:lnTo>
                    <a:lnTo>
                      <a:pt x="365" y="1724"/>
                    </a:lnTo>
                    <a:lnTo>
                      <a:pt x="363" y="1720"/>
                    </a:lnTo>
                    <a:lnTo>
                      <a:pt x="362" y="1716"/>
                    </a:lnTo>
                    <a:lnTo>
                      <a:pt x="362" y="1716"/>
                    </a:lnTo>
                    <a:lnTo>
                      <a:pt x="365" y="1714"/>
                    </a:lnTo>
                    <a:lnTo>
                      <a:pt x="367" y="1710"/>
                    </a:lnTo>
                    <a:lnTo>
                      <a:pt x="371" y="1706"/>
                    </a:lnTo>
                    <a:lnTo>
                      <a:pt x="374" y="1704"/>
                    </a:lnTo>
                    <a:lnTo>
                      <a:pt x="379" y="1692"/>
                    </a:lnTo>
                    <a:lnTo>
                      <a:pt x="377" y="1689"/>
                    </a:lnTo>
                    <a:lnTo>
                      <a:pt x="377" y="1689"/>
                    </a:lnTo>
                    <a:lnTo>
                      <a:pt x="378" y="1676"/>
                    </a:lnTo>
                    <a:lnTo>
                      <a:pt x="379" y="1668"/>
                    </a:lnTo>
                    <a:lnTo>
                      <a:pt x="381" y="1663"/>
                    </a:lnTo>
                    <a:lnTo>
                      <a:pt x="382" y="1665"/>
                    </a:lnTo>
                    <a:lnTo>
                      <a:pt x="384" y="1670"/>
                    </a:lnTo>
                    <a:lnTo>
                      <a:pt x="382" y="1673"/>
                    </a:lnTo>
                    <a:lnTo>
                      <a:pt x="382" y="1673"/>
                    </a:lnTo>
                    <a:lnTo>
                      <a:pt x="382" y="1680"/>
                    </a:lnTo>
                    <a:lnTo>
                      <a:pt x="381" y="1687"/>
                    </a:lnTo>
                    <a:lnTo>
                      <a:pt x="384" y="1691"/>
                    </a:lnTo>
                    <a:lnTo>
                      <a:pt x="385" y="1692"/>
                    </a:lnTo>
                    <a:lnTo>
                      <a:pt x="386" y="1695"/>
                    </a:lnTo>
                    <a:lnTo>
                      <a:pt x="389" y="1695"/>
                    </a:lnTo>
                    <a:lnTo>
                      <a:pt x="411" y="1715"/>
                    </a:lnTo>
                    <a:lnTo>
                      <a:pt x="411" y="1715"/>
                    </a:lnTo>
                    <a:lnTo>
                      <a:pt x="416" y="1716"/>
                    </a:lnTo>
                    <a:lnTo>
                      <a:pt x="422" y="1716"/>
                    </a:lnTo>
                    <a:lnTo>
                      <a:pt x="423" y="1716"/>
                    </a:lnTo>
                    <a:lnTo>
                      <a:pt x="423" y="1716"/>
                    </a:lnTo>
                    <a:lnTo>
                      <a:pt x="424" y="1712"/>
                    </a:lnTo>
                    <a:lnTo>
                      <a:pt x="423" y="1708"/>
                    </a:lnTo>
                    <a:lnTo>
                      <a:pt x="420" y="1699"/>
                    </a:lnTo>
                    <a:lnTo>
                      <a:pt x="420" y="1699"/>
                    </a:lnTo>
                    <a:lnTo>
                      <a:pt x="420" y="1691"/>
                    </a:lnTo>
                    <a:lnTo>
                      <a:pt x="419" y="1687"/>
                    </a:lnTo>
                    <a:lnTo>
                      <a:pt x="416" y="1681"/>
                    </a:lnTo>
                    <a:lnTo>
                      <a:pt x="413" y="1680"/>
                    </a:lnTo>
                    <a:lnTo>
                      <a:pt x="413" y="1680"/>
                    </a:lnTo>
                    <a:lnTo>
                      <a:pt x="412" y="1676"/>
                    </a:lnTo>
                    <a:lnTo>
                      <a:pt x="409" y="1673"/>
                    </a:lnTo>
                    <a:lnTo>
                      <a:pt x="409" y="1673"/>
                    </a:lnTo>
                    <a:lnTo>
                      <a:pt x="408" y="1670"/>
                    </a:lnTo>
                    <a:lnTo>
                      <a:pt x="408" y="1668"/>
                    </a:lnTo>
                    <a:lnTo>
                      <a:pt x="407" y="1662"/>
                    </a:lnTo>
                    <a:lnTo>
                      <a:pt x="407" y="1662"/>
                    </a:lnTo>
                    <a:lnTo>
                      <a:pt x="403" y="1655"/>
                    </a:lnTo>
                    <a:lnTo>
                      <a:pt x="403" y="1655"/>
                    </a:lnTo>
                    <a:lnTo>
                      <a:pt x="403" y="1647"/>
                    </a:lnTo>
                    <a:lnTo>
                      <a:pt x="405" y="1644"/>
                    </a:lnTo>
                    <a:lnTo>
                      <a:pt x="405" y="1649"/>
                    </a:lnTo>
                    <a:lnTo>
                      <a:pt x="407" y="1650"/>
                    </a:lnTo>
                    <a:lnTo>
                      <a:pt x="405" y="1653"/>
                    </a:lnTo>
                    <a:lnTo>
                      <a:pt x="405" y="1653"/>
                    </a:lnTo>
                    <a:lnTo>
                      <a:pt x="407" y="1655"/>
                    </a:lnTo>
                    <a:lnTo>
                      <a:pt x="407" y="1655"/>
                    </a:lnTo>
                    <a:lnTo>
                      <a:pt x="412" y="1672"/>
                    </a:lnTo>
                    <a:lnTo>
                      <a:pt x="412" y="1672"/>
                    </a:lnTo>
                    <a:lnTo>
                      <a:pt x="415" y="1674"/>
                    </a:lnTo>
                    <a:lnTo>
                      <a:pt x="417" y="1676"/>
                    </a:lnTo>
                    <a:lnTo>
                      <a:pt x="422" y="1678"/>
                    </a:lnTo>
                    <a:lnTo>
                      <a:pt x="424" y="1682"/>
                    </a:lnTo>
                    <a:lnTo>
                      <a:pt x="424" y="1682"/>
                    </a:lnTo>
                    <a:lnTo>
                      <a:pt x="427" y="1691"/>
                    </a:lnTo>
                    <a:lnTo>
                      <a:pt x="430" y="1701"/>
                    </a:lnTo>
                    <a:lnTo>
                      <a:pt x="432" y="1722"/>
                    </a:lnTo>
                    <a:lnTo>
                      <a:pt x="432" y="1722"/>
                    </a:lnTo>
                    <a:lnTo>
                      <a:pt x="435" y="1724"/>
                    </a:lnTo>
                    <a:lnTo>
                      <a:pt x="434" y="1733"/>
                    </a:lnTo>
                    <a:lnTo>
                      <a:pt x="436" y="1735"/>
                    </a:lnTo>
                    <a:lnTo>
                      <a:pt x="441" y="1734"/>
                    </a:lnTo>
                    <a:lnTo>
                      <a:pt x="443" y="1735"/>
                    </a:lnTo>
                    <a:lnTo>
                      <a:pt x="458" y="1738"/>
                    </a:lnTo>
                    <a:lnTo>
                      <a:pt x="458" y="1738"/>
                    </a:lnTo>
                    <a:lnTo>
                      <a:pt x="458" y="1733"/>
                    </a:lnTo>
                    <a:lnTo>
                      <a:pt x="462" y="1726"/>
                    </a:lnTo>
                    <a:lnTo>
                      <a:pt x="465" y="1720"/>
                    </a:lnTo>
                    <a:lnTo>
                      <a:pt x="469" y="1715"/>
                    </a:lnTo>
                    <a:lnTo>
                      <a:pt x="469" y="1715"/>
                    </a:lnTo>
                    <a:lnTo>
                      <a:pt x="469" y="1708"/>
                    </a:lnTo>
                    <a:lnTo>
                      <a:pt x="470" y="1704"/>
                    </a:lnTo>
                    <a:lnTo>
                      <a:pt x="473" y="1699"/>
                    </a:lnTo>
                    <a:lnTo>
                      <a:pt x="473" y="1699"/>
                    </a:lnTo>
                    <a:lnTo>
                      <a:pt x="474" y="1688"/>
                    </a:lnTo>
                    <a:lnTo>
                      <a:pt x="479" y="1687"/>
                    </a:lnTo>
                    <a:lnTo>
                      <a:pt x="479" y="1687"/>
                    </a:lnTo>
                    <a:lnTo>
                      <a:pt x="479" y="1682"/>
                    </a:lnTo>
                    <a:lnTo>
                      <a:pt x="481" y="1680"/>
                    </a:lnTo>
                    <a:lnTo>
                      <a:pt x="483" y="1676"/>
                    </a:lnTo>
                    <a:lnTo>
                      <a:pt x="484" y="1670"/>
                    </a:lnTo>
                    <a:lnTo>
                      <a:pt x="484" y="1670"/>
                    </a:lnTo>
                    <a:lnTo>
                      <a:pt x="481" y="1668"/>
                    </a:lnTo>
                    <a:lnTo>
                      <a:pt x="476" y="1665"/>
                    </a:lnTo>
                    <a:lnTo>
                      <a:pt x="468" y="1663"/>
                    </a:lnTo>
                    <a:lnTo>
                      <a:pt x="468" y="1662"/>
                    </a:lnTo>
                    <a:lnTo>
                      <a:pt x="464" y="1659"/>
                    </a:lnTo>
                    <a:lnTo>
                      <a:pt x="464" y="1658"/>
                    </a:lnTo>
                    <a:lnTo>
                      <a:pt x="466" y="1655"/>
                    </a:lnTo>
                    <a:lnTo>
                      <a:pt x="466" y="1653"/>
                    </a:lnTo>
                    <a:lnTo>
                      <a:pt x="466" y="1653"/>
                    </a:lnTo>
                    <a:lnTo>
                      <a:pt x="472" y="1657"/>
                    </a:lnTo>
                    <a:lnTo>
                      <a:pt x="476" y="1659"/>
                    </a:lnTo>
                    <a:lnTo>
                      <a:pt x="487" y="1665"/>
                    </a:lnTo>
                    <a:lnTo>
                      <a:pt x="487" y="1663"/>
                    </a:lnTo>
                    <a:lnTo>
                      <a:pt x="487" y="1663"/>
                    </a:lnTo>
                    <a:lnTo>
                      <a:pt x="488" y="1658"/>
                    </a:lnTo>
                    <a:lnTo>
                      <a:pt x="488" y="1653"/>
                    </a:lnTo>
                    <a:lnTo>
                      <a:pt x="484" y="1643"/>
                    </a:lnTo>
                    <a:lnTo>
                      <a:pt x="485" y="1639"/>
                    </a:lnTo>
                    <a:lnTo>
                      <a:pt x="485" y="1639"/>
                    </a:lnTo>
                    <a:lnTo>
                      <a:pt x="485" y="1636"/>
                    </a:lnTo>
                    <a:lnTo>
                      <a:pt x="483" y="1632"/>
                    </a:lnTo>
                    <a:lnTo>
                      <a:pt x="483" y="1632"/>
                    </a:lnTo>
                    <a:lnTo>
                      <a:pt x="483" y="1623"/>
                    </a:lnTo>
                    <a:lnTo>
                      <a:pt x="483" y="1623"/>
                    </a:lnTo>
                    <a:lnTo>
                      <a:pt x="480" y="1620"/>
                    </a:lnTo>
                    <a:lnTo>
                      <a:pt x="483" y="1617"/>
                    </a:lnTo>
                    <a:lnTo>
                      <a:pt x="485" y="1617"/>
                    </a:lnTo>
                    <a:lnTo>
                      <a:pt x="492" y="1600"/>
                    </a:lnTo>
                    <a:lnTo>
                      <a:pt x="495" y="1600"/>
                    </a:lnTo>
                    <a:lnTo>
                      <a:pt x="495" y="1600"/>
                    </a:lnTo>
                    <a:lnTo>
                      <a:pt x="495" y="1597"/>
                    </a:lnTo>
                    <a:lnTo>
                      <a:pt x="493" y="1594"/>
                    </a:lnTo>
                    <a:lnTo>
                      <a:pt x="488" y="1589"/>
                    </a:lnTo>
                    <a:lnTo>
                      <a:pt x="485" y="1586"/>
                    </a:lnTo>
                    <a:lnTo>
                      <a:pt x="483" y="1583"/>
                    </a:lnTo>
                    <a:lnTo>
                      <a:pt x="481" y="1578"/>
                    </a:lnTo>
                    <a:lnTo>
                      <a:pt x="481" y="1573"/>
                    </a:lnTo>
                    <a:lnTo>
                      <a:pt x="481" y="1573"/>
                    </a:lnTo>
                    <a:lnTo>
                      <a:pt x="483" y="1570"/>
                    </a:lnTo>
                    <a:lnTo>
                      <a:pt x="485" y="1568"/>
                    </a:lnTo>
                    <a:lnTo>
                      <a:pt x="485" y="1560"/>
                    </a:lnTo>
                    <a:lnTo>
                      <a:pt x="480" y="1554"/>
                    </a:lnTo>
                    <a:lnTo>
                      <a:pt x="480" y="1550"/>
                    </a:lnTo>
                    <a:lnTo>
                      <a:pt x="483" y="1544"/>
                    </a:lnTo>
                    <a:lnTo>
                      <a:pt x="484" y="1545"/>
                    </a:lnTo>
                    <a:lnTo>
                      <a:pt x="487" y="1554"/>
                    </a:lnTo>
                    <a:lnTo>
                      <a:pt x="487" y="1554"/>
                    </a:lnTo>
                    <a:lnTo>
                      <a:pt x="488" y="1556"/>
                    </a:lnTo>
                    <a:lnTo>
                      <a:pt x="488" y="1556"/>
                    </a:lnTo>
                    <a:lnTo>
                      <a:pt x="491" y="1562"/>
                    </a:lnTo>
                    <a:lnTo>
                      <a:pt x="491" y="1567"/>
                    </a:lnTo>
                    <a:lnTo>
                      <a:pt x="489" y="1573"/>
                    </a:lnTo>
                    <a:lnTo>
                      <a:pt x="488" y="1578"/>
                    </a:lnTo>
                    <a:lnTo>
                      <a:pt x="491" y="1586"/>
                    </a:lnTo>
                    <a:lnTo>
                      <a:pt x="492" y="1587"/>
                    </a:lnTo>
                    <a:lnTo>
                      <a:pt x="495" y="1586"/>
                    </a:lnTo>
                    <a:lnTo>
                      <a:pt x="496" y="1589"/>
                    </a:lnTo>
                    <a:lnTo>
                      <a:pt x="499" y="1589"/>
                    </a:lnTo>
                    <a:lnTo>
                      <a:pt x="499" y="1589"/>
                    </a:lnTo>
                    <a:lnTo>
                      <a:pt x="500" y="1585"/>
                    </a:lnTo>
                    <a:lnTo>
                      <a:pt x="502" y="1581"/>
                    </a:lnTo>
                    <a:lnTo>
                      <a:pt x="506" y="1577"/>
                    </a:lnTo>
                    <a:lnTo>
                      <a:pt x="510" y="1574"/>
                    </a:lnTo>
                    <a:lnTo>
                      <a:pt x="510" y="1574"/>
                    </a:lnTo>
                    <a:lnTo>
                      <a:pt x="511" y="1566"/>
                    </a:lnTo>
                    <a:lnTo>
                      <a:pt x="512" y="1562"/>
                    </a:lnTo>
                    <a:lnTo>
                      <a:pt x="514" y="1559"/>
                    </a:lnTo>
                    <a:lnTo>
                      <a:pt x="514" y="1556"/>
                    </a:lnTo>
                    <a:lnTo>
                      <a:pt x="523" y="1541"/>
                    </a:lnTo>
                    <a:lnTo>
                      <a:pt x="523" y="1539"/>
                    </a:lnTo>
                    <a:lnTo>
                      <a:pt x="525" y="1537"/>
                    </a:lnTo>
                    <a:lnTo>
                      <a:pt x="529" y="1536"/>
                    </a:lnTo>
                    <a:lnTo>
                      <a:pt x="527" y="1533"/>
                    </a:lnTo>
                    <a:lnTo>
                      <a:pt x="537" y="1528"/>
                    </a:lnTo>
                    <a:lnTo>
                      <a:pt x="538" y="1524"/>
                    </a:lnTo>
                    <a:lnTo>
                      <a:pt x="540" y="1524"/>
                    </a:lnTo>
                    <a:lnTo>
                      <a:pt x="540" y="1525"/>
                    </a:lnTo>
                    <a:lnTo>
                      <a:pt x="538" y="1531"/>
                    </a:lnTo>
                    <a:lnTo>
                      <a:pt x="530" y="1537"/>
                    </a:lnTo>
                    <a:lnTo>
                      <a:pt x="530" y="1537"/>
                    </a:lnTo>
                    <a:lnTo>
                      <a:pt x="529" y="1540"/>
                    </a:lnTo>
                    <a:lnTo>
                      <a:pt x="526" y="1543"/>
                    </a:lnTo>
                    <a:lnTo>
                      <a:pt x="526" y="1543"/>
                    </a:lnTo>
                    <a:lnTo>
                      <a:pt x="525" y="1550"/>
                    </a:lnTo>
                    <a:lnTo>
                      <a:pt x="521" y="1556"/>
                    </a:lnTo>
                    <a:lnTo>
                      <a:pt x="514" y="1568"/>
                    </a:lnTo>
                    <a:lnTo>
                      <a:pt x="514" y="1568"/>
                    </a:lnTo>
                    <a:lnTo>
                      <a:pt x="514" y="1571"/>
                    </a:lnTo>
                    <a:lnTo>
                      <a:pt x="512" y="1573"/>
                    </a:lnTo>
                    <a:lnTo>
                      <a:pt x="511" y="1577"/>
                    </a:lnTo>
                    <a:lnTo>
                      <a:pt x="507" y="1581"/>
                    </a:lnTo>
                    <a:lnTo>
                      <a:pt x="507" y="1581"/>
                    </a:lnTo>
                    <a:lnTo>
                      <a:pt x="503" y="1589"/>
                    </a:lnTo>
                    <a:lnTo>
                      <a:pt x="499" y="1596"/>
                    </a:lnTo>
                    <a:lnTo>
                      <a:pt x="499" y="1596"/>
                    </a:lnTo>
                    <a:lnTo>
                      <a:pt x="497" y="1601"/>
                    </a:lnTo>
                    <a:lnTo>
                      <a:pt x="496" y="1605"/>
                    </a:lnTo>
                    <a:lnTo>
                      <a:pt x="496" y="1605"/>
                    </a:lnTo>
                    <a:lnTo>
                      <a:pt x="491" y="1617"/>
                    </a:lnTo>
                    <a:lnTo>
                      <a:pt x="491" y="1617"/>
                    </a:lnTo>
                    <a:lnTo>
                      <a:pt x="492" y="1623"/>
                    </a:lnTo>
                    <a:lnTo>
                      <a:pt x="495" y="1625"/>
                    </a:lnTo>
                    <a:lnTo>
                      <a:pt x="495" y="1625"/>
                    </a:lnTo>
                    <a:lnTo>
                      <a:pt x="496" y="1630"/>
                    </a:lnTo>
                    <a:lnTo>
                      <a:pt x="496" y="1634"/>
                    </a:lnTo>
                    <a:lnTo>
                      <a:pt x="496" y="1643"/>
                    </a:lnTo>
                    <a:lnTo>
                      <a:pt x="496" y="1643"/>
                    </a:lnTo>
                    <a:lnTo>
                      <a:pt x="500" y="1647"/>
                    </a:lnTo>
                    <a:lnTo>
                      <a:pt x="502" y="1650"/>
                    </a:lnTo>
                    <a:lnTo>
                      <a:pt x="502" y="1654"/>
                    </a:lnTo>
                    <a:lnTo>
                      <a:pt x="502" y="1658"/>
                    </a:lnTo>
                    <a:lnTo>
                      <a:pt x="503" y="1661"/>
                    </a:lnTo>
                    <a:lnTo>
                      <a:pt x="503" y="1661"/>
                    </a:lnTo>
                    <a:lnTo>
                      <a:pt x="508" y="1663"/>
                    </a:lnTo>
                    <a:lnTo>
                      <a:pt x="512" y="1663"/>
                    </a:lnTo>
                    <a:lnTo>
                      <a:pt x="516" y="1662"/>
                    </a:lnTo>
                    <a:lnTo>
                      <a:pt x="519" y="1663"/>
                    </a:lnTo>
                    <a:lnTo>
                      <a:pt x="519" y="1663"/>
                    </a:lnTo>
                    <a:lnTo>
                      <a:pt x="527" y="1661"/>
                    </a:lnTo>
                    <a:lnTo>
                      <a:pt x="534" y="1659"/>
                    </a:lnTo>
                    <a:lnTo>
                      <a:pt x="533" y="1658"/>
                    </a:lnTo>
                    <a:lnTo>
                      <a:pt x="531" y="1658"/>
                    </a:lnTo>
                    <a:lnTo>
                      <a:pt x="533" y="1654"/>
                    </a:lnTo>
                    <a:lnTo>
                      <a:pt x="531" y="1650"/>
                    </a:lnTo>
                    <a:lnTo>
                      <a:pt x="530" y="1649"/>
                    </a:lnTo>
                    <a:lnTo>
                      <a:pt x="526" y="1651"/>
                    </a:lnTo>
                    <a:lnTo>
                      <a:pt x="523" y="1650"/>
                    </a:lnTo>
                    <a:lnTo>
                      <a:pt x="522" y="1646"/>
                    </a:lnTo>
                    <a:lnTo>
                      <a:pt x="522" y="1643"/>
                    </a:lnTo>
                    <a:lnTo>
                      <a:pt x="518" y="1643"/>
                    </a:lnTo>
                    <a:lnTo>
                      <a:pt x="518" y="1643"/>
                    </a:lnTo>
                    <a:lnTo>
                      <a:pt x="511" y="1630"/>
                    </a:lnTo>
                    <a:lnTo>
                      <a:pt x="507" y="1621"/>
                    </a:lnTo>
                    <a:lnTo>
                      <a:pt x="506" y="1615"/>
                    </a:lnTo>
                    <a:lnTo>
                      <a:pt x="506" y="1615"/>
                    </a:lnTo>
                    <a:lnTo>
                      <a:pt x="507" y="1608"/>
                    </a:lnTo>
                    <a:lnTo>
                      <a:pt x="507" y="1602"/>
                    </a:lnTo>
                    <a:lnTo>
                      <a:pt x="508" y="1602"/>
                    </a:lnTo>
                    <a:lnTo>
                      <a:pt x="508" y="1602"/>
                    </a:lnTo>
                    <a:lnTo>
                      <a:pt x="510" y="1605"/>
                    </a:lnTo>
                    <a:lnTo>
                      <a:pt x="510" y="1608"/>
                    </a:lnTo>
                    <a:lnTo>
                      <a:pt x="514" y="1612"/>
                    </a:lnTo>
                    <a:lnTo>
                      <a:pt x="514" y="1612"/>
                    </a:lnTo>
                    <a:lnTo>
                      <a:pt x="514" y="1615"/>
                    </a:lnTo>
                    <a:lnTo>
                      <a:pt x="514" y="1617"/>
                    </a:lnTo>
                    <a:lnTo>
                      <a:pt x="518" y="1625"/>
                    </a:lnTo>
                    <a:lnTo>
                      <a:pt x="525" y="1638"/>
                    </a:lnTo>
                    <a:lnTo>
                      <a:pt x="525" y="1642"/>
                    </a:lnTo>
                    <a:lnTo>
                      <a:pt x="527" y="1642"/>
                    </a:lnTo>
                    <a:lnTo>
                      <a:pt x="530" y="1644"/>
                    </a:lnTo>
                    <a:lnTo>
                      <a:pt x="533" y="1644"/>
                    </a:lnTo>
                    <a:lnTo>
                      <a:pt x="533" y="1644"/>
                    </a:lnTo>
                    <a:lnTo>
                      <a:pt x="535" y="1647"/>
                    </a:lnTo>
                    <a:lnTo>
                      <a:pt x="540" y="1649"/>
                    </a:lnTo>
                    <a:lnTo>
                      <a:pt x="546" y="1651"/>
                    </a:lnTo>
                    <a:lnTo>
                      <a:pt x="548" y="1650"/>
                    </a:lnTo>
                    <a:lnTo>
                      <a:pt x="554" y="1657"/>
                    </a:lnTo>
                    <a:lnTo>
                      <a:pt x="557" y="1658"/>
                    </a:lnTo>
                    <a:lnTo>
                      <a:pt x="557" y="1658"/>
                    </a:lnTo>
                    <a:lnTo>
                      <a:pt x="559" y="1661"/>
                    </a:lnTo>
                    <a:lnTo>
                      <a:pt x="560" y="1665"/>
                    </a:lnTo>
                    <a:lnTo>
                      <a:pt x="563" y="1668"/>
                    </a:lnTo>
                    <a:lnTo>
                      <a:pt x="560" y="1669"/>
                    </a:lnTo>
                    <a:lnTo>
                      <a:pt x="557" y="1669"/>
                    </a:lnTo>
                    <a:lnTo>
                      <a:pt x="557" y="1673"/>
                    </a:lnTo>
                    <a:lnTo>
                      <a:pt x="559" y="1673"/>
                    </a:lnTo>
                    <a:lnTo>
                      <a:pt x="563" y="1672"/>
                    </a:lnTo>
                    <a:lnTo>
                      <a:pt x="565" y="1672"/>
                    </a:lnTo>
                    <a:lnTo>
                      <a:pt x="567" y="1677"/>
                    </a:lnTo>
                    <a:lnTo>
                      <a:pt x="567" y="1677"/>
                    </a:lnTo>
                    <a:lnTo>
                      <a:pt x="572" y="1677"/>
                    </a:lnTo>
                    <a:lnTo>
                      <a:pt x="575" y="1678"/>
                    </a:lnTo>
                    <a:lnTo>
                      <a:pt x="582" y="1682"/>
                    </a:lnTo>
                    <a:lnTo>
                      <a:pt x="582" y="1682"/>
                    </a:lnTo>
                    <a:lnTo>
                      <a:pt x="587" y="1684"/>
                    </a:lnTo>
                    <a:lnTo>
                      <a:pt x="587" y="1684"/>
                    </a:lnTo>
                    <a:lnTo>
                      <a:pt x="597" y="1689"/>
                    </a:lnTo>
                    <a:lnTo>
                      <a:pt x="602" y="1691"/>
                    </a:lnTo>
                    <a:lnTo>
                      <a:pt x="605" y="1692"/>
                    </a:lnTo>
                    <a:lnTo>
                      <a:pt x="606" y="1691"/>
                    </a:lnTo>
                    <a:lnTo>
                      <a:pt x="607" y="1692"/>
                    </a:lnTo>
                    <a:lnTo>
                      <a:pt x="607" y="1692"/>
                    </a:lnTo>
                    <a:lnTo>
                      <a:pt x="621" y="1695"/>
                    </a:lnTo>
                    <a:lnTo>
                      <a:pt x="635" y="1697"/>
                    </a:lnTo>
                    <a:lnTo>
                      <a:pt x="628" y="1700"/>
                    </a:lnTo>
                    <a:lnTo>
                      <a:pt x="625" y="1699"/>
                    </a:lnTo>
                    <a:lnTo>
                      <a:pt x="625" y="1699"/>
                    </a:lnTo>
                    <a:lnTo>
                      <a:pt x="621" y="1700"/>
                    </a:lnTo>
                    <a:lnTo>
                      <a:pt x="617" y="1700"/>
                    </a:lnTo>
                    <a:lnTo>
                      <a:pt x="611" y="1699"/>
                    </a:lnTo>
                    <a:lnTo>
                      <a:pt x="606" y="1699"/>
                    </a:lnTo>
                    <a:lnTo>
                      <a:pt x="606" y="1699"/>
                    </a:lnTo>
                    <a:lnTo>
                      <a:pt x="597" y="1697"/>
                    </a:lnTo>
                    <a:lnTo>
                      <a:pt x="586" y="1695"/>
                    </a:lnTo>
                    <a:lnTo>
                      <a:pt x="586" y="1695"/>
                    </a:lnTo>
                    <a:lnTo>
                      <a:pt x="578" y="1695"/>
                    </a:lnTo>
                    <a:lnTo>
                      <a:pt x="572" y="1695"/>
                    </a:lnTo>
                    <a:lnTo>
                      <a:pt x="560" y="1692"/>
                    </a:lnTo>
                    <a:lnTo>
                      <a:pt x="560" y="1692"/>
                    </a:lnTo>
                    <a:lnTo>
                      <a:pt x="550" y="1689"/>
                    </a:lnTo>
                    <a:lnTo>
                      <a:pt x="552" y="1688"/>
                    </a:lnTo>
                    <a:lnTo>
                      <a:pt x="552" y="1688"/>
                    </a:lnTo>
                    <a:lnTo>
                      <a:pt x="545" y="1687"/>
                    </a:lnTo>
                    <a:lnTo>
                      <a:pt x="538" y="1685"/>
                    </a:lnTo>
                    <a:lnTo>
                      <a:pt x="538" y="1685"/>
                    </a:lnTo>
                    <a:lnTo>
                      <a:pt x="534" y="1681"/>
                    </a:lnTo>
                    <a:lnTo>
                      <a:pt x="530" y="1678"/>
                    </a:lnTo>
                    <a:lnTo>
                      <a:pt x="526" y="1677"/>
                    </a:lnTo>
                    <a:lnTo>
                      <a:pt x="523" y="1676"/>
                    </a:lnTo>
                    <a:lnTo>
                      <a:pt x="521" y="1677"/>
                    </a:lnTo>
                    <a:lnTo>
                      <a:pt x="519" y="1680"/>
                    </a:lnTo>
                    <a:lnTo>
                      <a:pt x="516" y="1678"/>
                    </a:lnTo>
                    <a:lnTo>
                      <a:pt x="515" y="1677"/>
                    </a:lnTo>
                    <a:lnTo>
                      <a:pt x="515" y="1677"/>
                    </a:lnTo>
                    <a:lnTo>
                      <a:pt x="510" y="1680"/>
                    </a:lnTo>
                    <a:lnTo>
                      <a:pt x="504" y="1682"/>
                    </a:lnTo>
                    <a:lnTo>
                      <a:pt x="499" y="1685"/>
                    </a:lnTo>
                    <a:lnTo>
                      <a:pt x="493" y="1688"/>
                    </a:lnTo>
                    <a:lnTo>
                      <a:pt x="493" y="1695"/>
                    </a:lnTo>
                    <a:lnTo>
                      <a:pt x="495" y="1696"/>
                    </a:lnTo>
                    <a:lnTo>
                      <a:pt x="495" y="1703"/>
                    </a:lnTo>
                    <a:lnTo>
                      <a:pt x="492" y="1704"/>
                    </a:lnTo>
                    <a:lnTo>
                      <a:pt x="492" y="1707"/>
                    </a:lnTo>
                    <a:lnTo>
                      <a:pt x="495" y="1710"/>
                    </a:lnTo>
                    <a:lnTo>
                      <a:pt x="487" y="1719"/>
                    </a:lnTo>
                    <a:lnTo>
                      <a:pt x="487" y="1724"/>
                    </a:lnTo>
                    <a:lnTo>
                      <a:pt x="489" y="1726"/>
                    </a:lnTo>
                    <a:lnTo>
                      <a:pt x="489" y="1726"/>
                    </a:lnTo>
                    <a:lnTo>
                      <a:pt x="489" y="1731"/>
                    </a:lnTo>
                    <a:lnTo>
                      <a:pt x="489" y="1734"/>
                    </a:lnTo>
                    <a:lnTo>
                      <a:pt x="489" y="1734"/>
                    </a:lnTo>
                    <a:lnTo>
                      <a:pt x="489" y="1748"/>
                    </a:lnTo>
                    <a:lnTo>
                      <a:pt x="489" y="1748"/>
                    </a:lnTo>
                    <a:lnTo>
                      <a:pt x="488" y="1753"/>
                    </a:lnTo>
                    <a:lnTo>
                      <a:pt x="488" y="1753"/>
                    </a:lnTo>
                    <a:lnTo>
                      <a:pt x="489" y="1762"/>
                    </a:lnTo>
                    <a:lnTo>
                      <a:pt x="492" y="1772"/>
                    </a:lnTo>
                    <a:lnTo>
                      <a:pt x="493" y="1773"/>
                    </a:lnTo>
                    <a:lnTo>
                      <a:pt x="493" y="1775"/>
                    </a:lnTo>
                    <a:lnTo>
                      <a:pt x="495" y="1781"/>
                    </a:lnTo>
                    <a:lnTo>
                      <a:pt x="500" y="1790"/>
                    </a:lnTo>
                    <a:lnTo>
                      <a:pt x="500" y="1790"/>
                    </a:lnTo>
                    <a:lnTo>
                      <a:pt x="502" y="1799"/>
                    </a:lnTo>
                    <a:lnTo>
                      <a:pt x="500" y="1810"/>
                    </a:lnTo>
                    <a:lnTo>
                      <a:pt x="500" y="1810"/>
                    </a:lnTo>
                    <a:lnTo>
                      <a:pt x="495" y="1810"/>
                    </a:lnTo>
                    <a:lnTo>
                      <a:pt x="493" y="1815"/>
                    </a:lnTo>
                    <a:lnTo>
                      <a:pt x="495" y="1817"/>
                    </a:lnTo>
                    <a:lnTo>
                      <a:pt x="492" y="1819"/>
                    </a:lnTo>
                    <a:lnTo>
                      <a:pt x="492" y="1819"/>
                    </a:lnTo>
                    <a:lnTo>
                      <a:pt x="489" y="1821"/>
                    </a:lnTo>
                    <a:lnTo>
                      <a:pt x="485" y="1824"/>
                    </a:lnTo>
                    <a:lnTo>
                      <a:pt x="484" y="1838"/>
                    </a:lnTo>
                    <a:lnTo>
                      <a:pt x="485" y="1841"/>
                    </a:lnTo>
                    <a:lnTo>
                      <a:pt x="488" y="1841"/>
                    </a:lnTo>
                    <a:lnTo>
                      <a:pt x="491" y="1841"/>
                    </a:lnTo>
                    <a:lnTo>
                      <a:pt x="491" y="1841"/>
                    </a:lnTo>
                    <a:lnTo>
                      <a:pt x="500" y="1851"/>
                    </a:lnTo>
                    <a:lnTo>
                      <a:pt x="500" y="1853"/>
                    </a:lnTo>
                    <a:lnTo>
                      <a:pt x="502" y="1855"/>
                    </a:lnTo>
                    <a:lnTo>
                      <a:pt x="503" y="1855"/>
                    </a:lnTo>
                    <a:lnTo>
                      <a:pt x="503" y="1855"/>
                    </a:lnTo>
                    <a:lnTo>
                      <a:pt x="510" y="1862"/>
                    </a:lnTo>
                    <a:lnTo>
                      <a:pt x="512" y="1866"/>
                    </a:lnTo>
                    <a:lnTo>
                      <a:pt x="514" y="1871"/>
                    </a:lnTo>
                    <a:lnTo>
                      <a:pt x="510" y="1874"/>
                    </a:lnTo>
                    <a:lnTo>
                      <a:pt x="511" y="1875"/>
                    </a:lnTo>
                    <a:lnTo>
                      <a:pt x="512" y="1878"/>
                    </a:lnTo>
                    <a:lnTo>
                      <a:pt x="515" y="1878"/>
                    </a:lnTo>
                    <a:lnTo>
                      <a:pt x="519" y="1876"/>
                    </a:lnTo>
                    <a:lnTo>
                      <a:pt x="521" y="1878"/>
                    </a:lnTo>
                    <a:lnTo>
                      <a:pt x="522" y="1879"/>
                    </a:lnTo>
                    <a:lnTo>
                      <a:pt x="522" y="1882"/>
                    </a:lnTo>
                    <a:lnTo>
                      <a:pt x="525" y="1883"/>
                    </a:lnTo>
                    <a:lnTo>
                      <a:pt x="529" y="1879"/>
                    </a:lnTo>
                    <a:lnTo>
                      <a:pt x="529" y="1879"/>
                    </a:lnTo>
                    <a:lnTo>
                      <a:pt x="540" y="1882"/>
                    </a:lnTo>
                    <a:lnTo>
                      <a:pt x="540" y="1883"/>
                    </a:lnTo>
                    <a:lnTo>
                      <a:pt x="540" y="1885"/>
                    </a:lnTo>
                    <a:lnTo>
                      <a:pt x="540" y="1885"/>
                    </a:lnTo>
                    <a:lnTo>
                      <a:pt x="544" y="1885"/>
                    </a:lnTo>
                    <a:lnTo>
                      <a:pt x="549" y="1889"/>
                    </a:lnTo>
                    <a:lnTo>
                      <a:pt x="559" y="1895"/>
                    </a:lnTo>
                    <a:lnTo>
                      <a:pt x="560" y="1894"/>
                    </a:lnTo>
                    <a:lnTo>
                      <a:pt x="560" y="1893"/>
                    </a:lnTo>
                    <a:lnTo>
                      <a:pt x="560" y="1893"/>
                    </a:lnTo>
                    <a:lnTo>
                      <a:pt x="554" y="1885"/>
                    </a:lnTo>
                    <a:lnTo>
                      <a:pt x="553" y="1880"/>
                    </a:lnTo>
                    <a:lnTo>
                      <a:pt x="552" y="1876"/>
                    </a:lnTo>
                    <a:lnTo>
                      <a:pt x="554" y="1875"/>
                    </a:lnTo>
                    <a:lnTo>
                      <a:pt x="553" y="1879"/>
                    </a:lnTo>
                    <a:lnTo>
                      <a:pt x="553" y="1879"/>
                    </a:lnTo>
                    <a:lnTo>
                      <a:pt x="557" y="1886"/>
                    </a:lnTo>
                    <a:lnTo>
                      <a:pt x="560" y="1889"/>
                    </a:lnTo>
                    <a:lnTo>
                      <a:pt x="563" y="1891"/>
                    </a:lnTo>
                    <a:lnTo>
                      <a:pt x="564" y="1893"/>
                    </a:lnTo>
                    <a:lnTo>
                      <a:pt x="563" y="1894"/>
                    </a:lnTo>
                    <a:lnTo>
                      <a:pt x="560" y="1897"/>
                    </a:lnTo>
                    <a:lnTo>
                      <a:pt x="560" y="1897"/>
                    </a:lnTo>
                    <a:lnTo>
                      <a:pt x="564" y="1901"/>
                    </a:lnTo>
                    <a:lnTo>
                      <a:pt x="567" y="1906"/>
                    </a:lnTo>
                    <a:lnTo>
                      <a:pt x="572" y="1917"/>
                    </a:lnTo>
                    <a:lnTo>
                      <a:pt x="572" y="1917"/>
                    </a:lnTo>
                    <a:lnTo>
                      <a:pt x="572" y="1931"/>
                    </a:lnTo>
                    <a:lnTo>
                      <a:pt x="572" y="1931"/>
                    </a:lnTo>
                    <a:lnTo>
                      <a:pt x="568" y="1935"/>
                    </a:lnTo>
                    <a:lnTo>
                      <a:pt x="564" y="1931"/>
                    </a:lnTo>
                    <a:lnTo>
                      <a:pt x="563" y="1931"/>
                    </a:lnTo>
                    <a:lnTo>
                      <a:pt x="563" y="1933"/>
                    </a:lnTo>
                    <a:lnTo>
                      <a:pt x="563" y="1933"/>
                    </a:lnTo>
                    <a:lnTo>
                      <a:pt x="564" y="1936"/>
                    </a:lnTo>
                    <a:lnTo>
                      <a:pt x="567" y="1937"/>
                    </a:lnTo>
                    <a:lnTo>
                      <a:pt x="569" y="1936"/>
                    </a:lnTo>
                    <a:lnTo>
                      <a:pt x="572" y="1939"/>
                    </a:lnTo>
                    <a:lnTo>
                      <a:pt x="572" y="1939"/>
                    </a:lnTo>
                    <a:lnTo>
                      <a:pt x="575" y="1943"/>
                    </a:lnTo>
                    <a:lnTo>
                      <a:pt x="576" y="1944"/>
                    </a:lnTo>
                    <a:lnTo>
                      <a:pt x="579" y="1947"/>
                    </a:lnTo>
                    <a:lnTo>
                      <a:pt x="582" y="1950"/>
                    </a:lnTo>
                    <a:lnTo>
                      <a:pt x="582" y="1950"/>
                    </a:lnTo>
                    <a:lnTo>
                      <a:pt x="584" y="1954"/>
                    </a:lnTo>
                    <a:lnTo>
                      <a:pt x="586" y="1959"/>
                    </a:lnTo>
                    <a:lnTo>
                      <a:pt x="586" y="1965"/>
                    </a:lnTo>
                    <a:lnTo>
                      <a:pt x="586" y="1967"/>
                    </a:lnTo>
                    <a:lnTo>
                      <a:pt x="583" y="1969"/>
                    </a:lnTo>
                    <a:lnTo>
                      <a:pt x="583" y="1977"/>
                    </a:lnTo>
                    <a:lnTo>
                      <a:pt x="579" y="1981"/>
                    </a:lnTo>
                    <a:lnTo>
                      <a:pt x="579" y="1981"/>
                    </a:lnTo>
                    <a:lnTo>
                      <a:pt x="578" y="1990"/>
                    </a:lnTo>
                    <a:lnTo>
                      <a:pt x="576" y="1996"/>
                    </a:lnTo>
                    <a:lnTo>
                      <a:pt x="575" y="1997"/>
                    </a:lnTo>
                    <a:lnTo>
                      <a:pt x="572" y="1999"/>
                    </a:lnTo>
                    <a:lnTo>
                      <a:pt x="565" y="2000"/>
                    </a:lnTo>
                    <a:lnTo>
                      <a:pt x="563" y="2003"/>
                    </a:lnTo>
                    <a:lnTo>
                      <a:pt x="563" y="2003"/>
                    </a:lnTo>
                    <a:lnTo>
                      <a:pt x="556" y="2003"/>
                    </a:lnTo>
                    <a:lnTo>
                      <a:pt x="553" y="2004"/>
                    </a:lnTo>
                    <a:lnTo>
                      <a:pt x="550" y="2007"/>
                    </a:lnTo>
                    <a:lnTo>
                      <a:pt x="546" y="2007"/>
                    </a:lnTo>
                    <a:lnTo>
                      <a:pt x="546" y="2007"/>
                    </a:lnTo>
                    <a:lnTo>
                      <a:pt x="541" y="2012"/>
                    </a:lnTo>
                    <a:lnTo>
                      <a:pt x="538" y="2015"/>
                    </a:lnTo>
                    <a:lnTo>
                      <a:pt x="537" y="2017"/>
                    </a:lnTo>
                    <a:lnTo>
                      <a:pt x="534" y="2020"/>
                    </a:lnTo>
                    <a:lnTo>
                      <a:pt x="534" y="2020"/>
                    </a:lnTo>
                    <a:lnTo>
                      <a:pt x="531" y="2031"/>
                    </a:lnTo>
                    <a:lnTo>
                      <a:pt x="531" y="2031"/>
                    </a:lnTo>
                    <a:lnTo>
                      <a:pt x="533" y="2041"/>
                    </a:lnTo>
                    <a:lnTo>
                      <a:pt x="531" y="2046"/>
                    </a:lnTo>
                    <a:lnTo>
                      <a:pt x="530" y="2047"/>
                    </a:lnTo>
                    <a:lnTo>
                      <a:pt x="527" y="2050"/>
                    </a:lnTo>
                    <a:lnTo>
                      <a:pt x="518" y="2055"/>
                    </a:lnTo>
                    <a:lnTo>
                      <a:pt x="518" y="2061"/>
                    </a:lnTo>
                    <a:lnTo>
                      <a:pt x="515" y="2064"/>
                    </a:lnTo>
                    <a:lnTo>
                      <a:pt x="515" y="2064"/>
                    </a:lnTo>
                    <a:lnTo>
                      <a:pt x="511" y="2065"/>
                    </a:lnTo>
                    <a:lnTo>
                      <a:pt x="508" y="2066"/>
                    </a:lnTo>
                    <a:lnTo>
                      <a:pt x="504" y="2072"/>
                    </a:lnTo>
                    <a:lnTo>
                      <a:pt x="504" y="2072"/>
                    </a:lnTo>
                    <a:lnTo>
                      <a:pt x="507" y="2074"/>
                    </a:lnTo>
                    <a:lnTo>
                      <a:pt x="507" y="2079"/>
                    </a:lnTo>
                    <a:lnTo>
                      <a:pt x="507" y="2087"/>
                    </a:lnTo>
                    <a:lnTo>
                      <a:pt x="507" y="2087"/>
                    </a:lnTo>
                    <a:lnTo>
                      <a:pt x="508" y="2093"/>
                    </a:lnTo>
                    <a:lnTo>
                      <a:pt x="507" y="2100"/>
                    </a:lnTo>
                    <a:lnTo>
                      <a:pt x="507" y="2100"/>
                    </a:lnTo>
                    <a:lnTo>
                      <a:pt x="506" y="2103"/>
                    </a:lnTo>
                    <a:lnTo>
                      <a:pt x="506" y="2103"/>
                    </a:lnTo>
                    <a:lnTo>
                      <a:pt x="503" y="2112"/>
                    </a:lnTo>
                    <a:lnTo>
                      <a:pt x="503" y="2112"/>
                    </a:lnTo>
                    <a:lnTo>
                      <a:pt x="500" y="2115"/>
                    </a:lnTo>
                    <a:lnTo>
                      <a:pt x="500" y="2115"/>
                    </a:lnTo>
                    <a:lnTo>
                      <a:pt x="500" y="2130"/>
                    </a:lnTo>
                    <a:lnTo>
                      <a:pt x="496" y="2137"/>
                    </a:lnTo>
                    <a:lnTo>
                      <a:pt x="496" y="2137"/>
                    </a:lnTo>
                    <a:lnTo>
                      <a:pt x="491" y="2140"/>
                    </a:lnTo>
                    <a:lnTo>
                      <a:pt x="484" y="2146"/>
                    </a:lnTo>
                    <a:lnTo>
                      <a:pt x="476" y="2159"/>
                    </a:lnTo>
                    <a:lnTo>
                      <a:pt x="476" y="2159"/>
                    </a:lnTo>
                    <a:lnTo>
                      <a:pt x="474" y="2164"/>
                    </a:lnTo>
                    <a:lnTo>
                      <a:pt x="472" y="2168"/>
                    </a:lnTo>
                    <a:lnTo>
                      <a:pt x="472" y="2168"/>
                    </a:lnTo>
                    <a:lnTo>
                      <a:pt x="469" y="2169"/>
                    </a:lnTo>
                    <a:lnTo>
                      <a:pt x="468" y="2171"/>
                    </a:lnTo>
                    <a:lnTo>
                      <a:pt x="451" y="2186"/>
                    </a:lnTo>
                    <a:lnTo>
                      <a:pt x="451" y="2186"/>
                    </a:lnTo>
                    <a:lnTo>
                      <a:pt x="450" y="2192"/>
                    </a:lnTo>
                    <a:lnTo>
                      <a:pt x="451" y="2199"/>
                    </a:lnTo>
                    <a:lnTo>
                      <a:pt x="451" y="2199"/>
                    </a:lnTo>
                    <a:lnTo>
                      <a:pt x="447" y="2206"/>
                    </a:lnTo>
                    <a:lnTo>
                      <a:pt x="446" y="2207"/>
                    </a:lnTo>
                    <a:lnTo>
                      <a:pt x="446" y="2213"/>
                    </a:lnTo>
                    <a:lnTo>
                      <a:pt x="447" y="2213"/>
                    </a:lnTo>
                    <a:lnTo>
                      <a:pt x="447" y="2214"/>
                    </a:lnTo>
                    <a:lnTo>
                      <a:pt x="447" y="2214"/>
                    </a:lnTo>
                    <a:lnTo>
                      <a:pt x="443" y="2218"/>
                    </a:lnTo>
                    <a:lnTo>
                      <a:pt x="439" y="2222"/>
                    </a:lnTo>
                    <a:lnTo>
                      <a:pt x="439" y="2222"/>
                    </a:lnTo>
                    <a:lnTo>
                      <a:pt x="431" y="2243"/>
                    </a:lnTo>
                    <a:lnTo>
                      <a:pt x="431" y="2243"/>
                    </a:lnTo>
                    <a:lnTo>
                      <a:pt x="430" y="2247"/>
                    </a:lnTo>
                    <a:lnTo>
                      <a:pt x="430" y="2247"/>
                    </a:lnTo>
                    <a:lnTo>
                      <a:pt x="428" y="2252"/>
                    </a:lnTo>
                    <a:lnTo>
                      <a:pt x="428" y="2256"/>
                    </a:lnTo>
                    <a:lnTo>
                      <a:pt x="428" y="2256"/>
                    </a:lnTo>
                    <a:lnTo>
                      <a:pt x="430" y="2264"/>
                    </a:lnTo>
                    <a:lnTo>
                      <a:pt x="432" y="2266"/>
                    </a:lnTo>
                    <a:lnTo>
                      <a:pt x="432" y="2266"/>
                    </a:lnTo>
                    <a:lnTo>
                      <a:pt x="432" y="2268"/>
                    </a:lnTo>
                    <a:lnTo>
                      <a:pt x="434" y="2271"/>
                    </a:lnTo>
                    <a:lnTo>
                      <a:pt x="436" y="2274"/>
                    </a:lnTo>
                    <a:lnTo>
                      <a:pt x="436" y="2274"/>
                    </a:lnTo>
                    <a:lnTo>
                      <a:pt x="436" y="2281"/>
                    </a:lnTo>
                    <a:lnTo>
                      <a:pt x="436" y="2281"/>
                    </a:lnTo>
                    <a:lnTo>
                      <a:pt x="438" y="2283"/>
                    </a:lnTo>
                    <a:lnTo>
                      <a:pt x="439" y="2287"/>
                    </a:lnTo>
                    <a:lnTo>
                      <a:pt x="445" y="2292"/>
                    </a:lnTo>
                    <a:lnTo>
                      <a:pt x="445" y="2296"/>
                    </a:lnTo>
                    <a:lnTo>
                      <a:pt x="445" y="2296"/>
                    </a:lnTo>
                    <a:lnTo>
                      <a:pt x="446" y="2298"/>
                    </a:lnTo>
                    <a:lnTo>
                      <a:pt x="447" y="2301"/>
                    </a:lnTo>
                    <a:lnTo>
                      <a:pt x="449" y="2304"/>
                    </a:lnTo>
                    <a:lnTo>
                      <a:pt x="447" y="2306"/>
                    </a:lnTo>
                    <a:lnTo>
                      <a:pt x="447" y="2306"/>
                    </a:lnTo>
                    <a:lnTo>
                      <a:pt x="450" y="2311"/>
                    </a:lnTo>
                    <a:lnTo>
                      <a:pt x="453" y="2315"/>
                    </a:lnTo>
                    <a:lnTo>
                      <a:pt x="453" y="2320"/>
                    </a:lnTo>
                    <a:lnTo>
                      <a:pt x="451" y="2324"/>
                    </a:lnTo>
                    <a:lnTo>
                      <a:pt x="446" y="2329"/>
                    </a:lnTo>
                    <a:lnTo>
                      <a:pt x="446" y="2329"/>
                    </a:lnTo>
                    <a:lnTo>
                      <a:pt x="442" y="2329"/>
                    </a:lnTo>
                    <a:lnTo>
                      <a:pt x="438" y="2328"/>
                    </a:lnTo>
                    <a:lnTo>
                      <a:pt x="438" y="2328"/>
                    </a:lnTo>
                    <a:lnTo>
                      <a:pt x="431" y="2321"/>
                    </a:lnTo>
                    <a:lnTo>
                      <a:pt x="428" y="2319"/>
                    </a:lnTo>
                    <a:lnTo>
                      <a:pt x="427" y="2315"/>
                    </a:lnTo>
                    <a:lnTo>
                      <a:pt x="424" y="2302"/>
                    </a:lnTo>
                    <a:lnTo>
                      <a:pt x="424" y="2302"/>
                    </a:lnTo>
                    <a:lnTo>
                      <a:pt x="426" y="2300"/>
                    </a:lnTo>
                    <a:lnTo>
                      <a:pt x="424" y="2296"/>
                    </a:lnTo>
                    <a:lnTo>
                      <a:pt x="424" y="2293"/>
                    </a:lnTo>
                    <a:lnTo>
                      <a:pt x="426" y="2292"/>
                    </a:lnTo>
                    <a:lnTo>
                      <a:pt x="430" y="2294"/>
                    </a:lnTo>
                    <a:lnTo>
                      <a:pt x="427" y="2290"/>
                    </a:lnTo>
                    <a:lnTo>
                      <a:pt x="427" y="2290"/>
                    </a:lnTo>
                    <a:lnTo>
                      <a:pt x="426" y="2287"/>
                    </a:lnTo>
                    <a:lnTo>
                      <a:pt x="424" y="2285"/>
                    </a:lnTo>
                    <a:lnTo>
                      <a:pt x="426" y="2279"/>
                    </a:lnTo>
                    <a:lnTo>
                      <a:pt x="423" y="2278"/>
                    </a:lnTo>
                    <a:lnTo>
                      <a:pt x="423" y="2275"/>
                    </a:lnTo>
                    <a:lnTo>
                      <a:pt x="423" y="2275"/>
                    </a:lnTo>
                    <a:lnTo>
                      <a:pt x="420" y="2274"/>
                    </a:lnTo>
                    <a:lnTo>
                      <a:pt x="419" y="2271"/>
                    </a:lnTo>
                    <a:lnTo>
                      <a:pt x="419" y="2268"/>
                    </a:lnTo>
                    <a:lnTo>
                      <a:pt x="419" y="2268"/>
                    </a:lnTo>
                    <a:lnTo>
                      <a:pt x="417" y="2267"/>
                    </a:lnTo>
                    <a:lnTo>
                      <a:pt x="416" y="2264"/>
                    </a:lnTo>
                    <a:lnTo>
                      <a:pt x="416" y="2263"/>
                    </a:lnTo>
                    <a:lnTo>
                      <a:pt x="415" y="2262"/>
                    </a:lnTo>
                    <a:lnTo>
                      <a:pt x="415" y="2262"/>
                    </a:lnTo>
                    <a:lnTo>
                      <a:pt x="409" y="2262"/>
                    </a:lnTo>
                    <a:lnTo>
                      <a:pt x="405" y="2263"/>
                    </a:lnTo>
                    <a:lnTo>
                      <a:pt x="403" y="2266"/>
                    </a:lnTo>
                    <a:lnTo>
                      <a:pt x="398" y="2267"/>
                    </a:lnTo>
                    <a:lnTo>
                      <a:pt x="398" y="2267"/>
                    </a:lnTo>
                    <a:lnTo>
                      <a:pt x="394" y="2267"/>
                    </a:lnTo>
                    <a:lnTo>
                      <a:pt x="392" y="2267"/>
                    </a:lnTo>
                    <a:lnTo>
                      <a:pt x="390" y="2268"/>
                    </a:lnTo>
                    <a:lnTo>
                      <a:pt x="390" y="2268"/>
                    </a:lnTo>
                    <a:lnTo>
                      <a:pt x="390" y="2273"/>
                    </a:lnTo>
                    <a:lnTo>
                      <a:pt x="388" y="2277"/>
                    </a:lnTo>
                    <a:lnTo>
                      <a:pt x="388" y="2278"/>
                    </a:lnTo>
                    <a:lnTo>
                      <a:pt x="382" y="2287"/>
                    </a:lnTo>
                    <a:lnTo>
                      <a:pt x="384" y="2289"/>
                    </a:lnTo>
                    <a:lnTo>
                      <a:pt x="385" y="2290"/>
                    </a:lnTo>
                    <a:lnTo>
                      <a:pt x="385" y="2290"/>
                    </a:lnTo>
                    <a:lnTo>
                      <a:pt x="386" y="2293"/>
                    </a:lnTo>
                    <a:lnTo>
                      <a:pt x="385" y="2296"/>
                    </a:lnTo>
                    <a:lnTo>
                      <a:pt x="382" y="2301"/>
                    </a:lnTo>
                    <a:lnTo>
                      <a:pt x="382" y="2301"/>
                    </a:lnTo>
                    <a:lnTo>
                      <a:pt x="382" y="2312"/>
                    </a:lnTo>
                    <a:lnTo>
                      <a:pt x="384" y="2323"/>
                    </a:lnTo>
                    <a:lnTo>
                      <a:pt x="384" y="2327"/>
                    </a:lnTo>
                    <a:lnTo>
                      <a:pt x="388" y="2331"/>
                    </a:lnTo>
                    <a:lnTo>
                      <a:pt x="388" y="2334"/>
                    </a:lnTo>
                    <a:lnTo>
                      <a:pt x="388" y="2334"/>
                    </a:lnTo>
                    <a:lnTo>
                      <a:pt x="389" y="2335"/>
                    </a:lnTo>
                    <a:lnTo>
                      <a:pt x="390" y="2336"/>
                    </a:lnTo>
                    <a:lnTo>
                      <a:pt x="393" y="2343"/>
                    </a:lnTo>
                    <a:lnTo>
                      <a:pt x="394" y="2348"/>
                    </a:lnTo>
                    <a:lnTo>
                      <a:pt x="397" y="2351"/>
                    </a:lnTo>
                    <a:lnTo>
                      <a:pt x="397" y="2361"/>
                    </a:lnTo>
                    <a:lnTo>
                      <a:pt x="400" y="2362"/>
                    </a:lnTo>
                    <a:lnTo>
                      <a:pt x="400" y="2365"/>
                    </a:lnTo>
                    <a:lnTo>
                      <a:pt x="401" y="2365"/>
                    </a:lnTo>
                    <a:lnTo>
                      <a:pt x="403" y="2365"/>
                    </a:lnTo>
                    <a:lnTo>
                      <a:pt x="404" y="2367"/>
                    </a:lnTo>
                    <a:lnTo>
                      <a:pt x="407" y="2370"/>
                    </a:lnTo>
                    <a:lnTo>
                      <a:pt x="408" y="2369"/>
                    </a:lnTo>
                    <a:lnTo>
                      <a:pt x="408" y="2372"/>
                    </a:lnTo>
                    <a:lnTo>
                      <a:pt x="412" y="2374"/>
                    </a:lnTo>
                    <a:lnTo>
                      <a:pt x="412" y="2377"/>
                    </a:lnTo>
                    <a:lnTo>
                      <a:pt x="415" y="2378"/>
                    </a:lnTo>
                    <a:lnTo>
                      <a:pt x="417" y="2378"/>
                    </a:lnTo>
                    <a:lnTo>
                      <a:pt x="417" y="2378"/>
                    </a:lnTo>
                    <a:lnTo>
                      <a:pt x="420" y="2381"/>
                    </a:lnTo>
                    <a:lnTo>
                      <a:pt x="422" y="2385"/>
                    </a:lnTo>
                    <a:lnTo>
                      <a:pt x="422" y="2385"/>
                    </a:lnTo>
                    <a:lnTo>
                      <a:pt x="426" y="2388"/>
                    </a:lnTo>
                    <a:lnTo>
                      <a:pt x="430" y="2389"/>
                    </a:lnTo>
                    <a:lnTo>
                      <a:pt x="435" y="2396"/>
                    </a:lnTo>
                    <a:lnTo>
                      <a:pt x="435" y="2400"/>
                    </a:lnTo>
                    <a:lnTo>
                      <a:pt x="435" y="2400"/>
                    </a:lnTo>
                    <a:lnTo>
                      <a:pt x="441" y="2403"/>
                    </a:lnTo>
                    <a:lnTo>
                      <a:pt x="445" y="2407"/>
                    </a:lnTo>
                    <a:lnTo>
                      <a:pt x="446" y="2405"/>
                    </a:lnTo>
                    <a:lnTo>
                      <a:pt x="446" y="2405"/>
                    </a:lnTo>
                    <a:lnTo>
                      <a:pt x="447" y="2411"/>
                    </a:lnTo>
                    <a:lnTo>
                      <a:pt x="451" y="2415"/>
                    </a:lnTo>
                    <a:lnTo>
                      <a:pt x="450" y="2419"/>
                    </a:lnTo>
                    <a:lnTo>
                      <a:pt x="449" y="2419"/>
                    </a:lnTo>
                    <a:lnTo>
                      <a:pt x="449" y="2420"/>
                    </a:lnTo>
                    <a:lnTo>
                      <a:pt x="450" y="2423"/>
                    </a:lnTo>
                    <a:lnTo>
                      <a:pt x="455" y="2426"/>
                    </a:lnTo>
                    <a:lnTo>
                      <a:pt x="455" y="2426"/>
                    </a:lnTo>
                    <a:lnTo>
                      <a:pt x="454" y="2430"/>
                    </a:lnTo>
                    <a:lnTo>
                      <a:pt x="454" y="2434"/>
                    </a:lnTo>
                    <a:lnTo>
                      <a:pt x="453" y="2435"/>
                    </a:lnTo>
                    <a:lnTo>
                      <a:pt x="455" y="2438"/>
                    </a:lnTo>
                    <a:lnTo>
                      <a:pt x="458" y="2437"/>
                    </a:lnTo>
                    <a:lnTo>
                      <a:pt x="458" y="2437"/>
                    </a:lnTo>
                    <a:lnTo>
                      <a:pt x="462" y="2438"/>
                    </a:lnTo>
                    <a:lnTo>
                      <a:pt x="465" y="2439"/>
                    </a:lnTo>
                    <a:lnTo>
                      <a:pt x="466" y="2441"/>
                    </a:lnTo>
                    <a:lnTo>
                      <a:pt x="466" y="2442"/>
                    </a:lnTo>
                    <a:lnTo>
                      <a:pt x="464" y="2442"/>
                    </a:lnTo>
                    <a:lnTo>
                      <a:pt x="462" y="2446"/>
                    </a:lnTo>
                    <a:lnTo>
                      <a:pt x="462" y="2446"/>
                    </a:lnTo>
                    <a:lnTo>
                      <a:pt x="465" y="2449"/>
                    </a:lnTo>
                    <a:lnTo>
                      <a:pt x="466" y="2453"/>
                    </a:lnTo>
                    <a:lnTo>
                      <a:pt x="470" y="2457"/>
                    </a:lnTo>
                    <a:lnTo>
                      <a:pt x="470" y="2457"/>
                    </a:lnTo>
                    <a:lnTo>
                      <a:pt x="464" y="2460"/>
                    </a:lnTo>
                    <a:lnTo>
                      <a:pt x="461" y="2462"/>
                    </a:lnTo>
                    <a:lnTo>
                      <a:pt x="460" y="2465"/>
                    </a:lnTo>
                    <a:lnTo>
                      <a:pt x="462" y="2471"/>
                    </a:lnTo>
                    <a:lnTo>
                      <a:pt x="464" y="2472"/>
                    </a:lnTo>
                    <a:lnTo>
                      <a:pt x="462" y="2475"/>
                    </a:lnTo>
                    <a:lnTo>
                      <a:pt x="464" y="2477"/>
                    </a:lnTo>
                    <a:lnTo>
                      <a:pt x="462" y="2479"/>
                    </a:lnTo>
                    <a:lnTo>
                      <a:pt x="462" y="2479"/>
                    </a:lnTo>
                    <a:lnTo>
                      <a:pt x="466" y="2481"/>
                    </a:lnTo>
                    <a:lnTo>
                      <a:pt x="470" y="2484"/>
                    </a:lnTo>
                    <a:lnTo>
                      <a:pt x="477" y="2492"/>
                    </a:lnTo>
                    <a:lnTo>
                      <a:pt x="477" y="2492"/>
                    </a:lnTo>
                    <a:lnTo>
                      <a:pt x="483" y="2492"/>
                    </a:lnTo>
                    <a:lnTo>
                      <a:pt x="488" y="2495"/>
                    </a:lnTo>
                    <a:lnTo>
                      <a:pt x="493" y="2495"/>
                    </a:lnTo>
                    <a:lnTo>
                      <a:pt x="493" y="2498"/>
                    </a:lnTo>
                    <a:lnTo>
                      <a:pt x="496" y="2499"/>
                    </a:lnTo>
                    <a:lnTo>
                      <a:pt x="496" y="2499"/>
                    </a:lnTo>
                    <a:lnTo>
                      <a:pt x="503" y="2498"/>
                    </a:lnTo>
                    <a:lnTo>
                      <a:pt x="503" y="2496"/>
                    </a:lnTo>
                    <a:lnTo>
                      <a:pt x="502" y="2495"/>
                    </a:lnTo>
                    <a:lnTo>
                      <a:pt x="499" y="2495"/>
                    </a:lnTo>
                    <a:lnTo>
                      <a:pt x="495" y="2495"/>
                    </a:lnTo>
                    <a:lnTo>
                      <a:pt x="495" y="2495"/>
                    </a:lnTo>
                    <a:lnTo>
                      <a:pt x="495" y="2490"/>
                    </a:lnTo>
                    <a:lnTo>
                      <a:pt x="492" y="2484"/>
                    </a:lnTo>
                    <a:lnTo>
                      <a:pt x="492" y="2484"/>
                    </a:lnTo>
                    <a:lnTo>
                      <a:pt x="493" y="2480"/>
                    </a:lnTo>
                    <a:lnTo>
                      <a:pt x="493" y="2476"/>
                    </a:lnTo>
                    <a:lnTo>
                      <a:pt x="493" y="2476"/>
                    </a:lnTo>
                    <a:lnTo>
                      <a:pt x="499" y="2468"/>
                    </a:lnTo>
                    <a:lnTo>
                      <a:pt x="496" y="2467"/>
                    </a:lnTo>
                    <a:lnTo>
                      <a:pt x="493" y="2467"/>
                    </a:lnTo>
                    <a:lnTo>
                      <a:pt x="492" y="2464"/>
                    </a:lnTo>
                    <a:lnTo>
                      <a:pt x="492" y="2462"/>
                    </a:lnTo>
                    <a:lnTo>
                      <a:pt x="488" y="2461"/>
                    </a:lnTo>
                    <a:lnTo>
                      <a:pt x="488" y="2458"/>
                    </a:lnTo>
                    <a:lnTo>
                      <a:pt x="485" y="2456"/>
                    </a:lnTo>
                    <a:lnTo>
                      <a:pt x="485" y="2456"/>
                    </a:lnTo>
                    <a:lnTo>
                      <a:pt x="485" y="2453"/>
                    </a:lnTo>
                    <a:lnTo>
                      <a:pt x="485" y="2450"/>
                    </a:lnTo>
                    <a:lnTo>
                      <a:pt x="485" y="2450"/>
                    </a:lnTo>
                    <a:lnTo>
                      <a:pt x="484" y="2448"/>
                    </a:lnTo>
                    <a:lnTo>
                      <a:pt x="484" y="2445"/>
                    </a:lnTo>
                    <a:lnTo>
                      <a:pt x="483" y="2442"/>
                    </a:lnTo>
                    <a:lnTo>
                      <a:pt x="481" y="2439"/>
                    </a:lnTo>
                    <a:lnTo>
                      <a:pt x="483" y="2435"/>
                    </a:lnTo>
                    <a:lnTo>
                      <a:pt x="480" y="2433"/>
                    </a:lnTo>
                    <a:lnTo>
                      <a:pt x="480" y="2430"/>
                    </a:lnTo>
                    <a:lnTo>
                      <a:pt x="480" y="2430"/>
                    </a:lnTo>
                    <a:lnTo>
                      <a:pt x="477" y="2426"/>
                    </a:lnTo>
                    <a:lnTo>
                      <a:pt x="476" y="2420"/>
                    </a:lnTo>
                    <a:lnTo>
                      <a:pt x="473" y="2418"/>
                    </a:lnTo>
                    <a:lnTo>
                      <a:pt x="473" y="2410"/>
                    </a:lnTo>
                    <a:lnTo>
                      <a:pt x="473" y="2410"/>
                    </a:lnTo>
                    <a:lnTo>
                      <a:pt x="470" y="2404"/>
                    </a:lnTo>
                    <a:lnTo>
                      <a:pt x="469" y="2399"/>
                    </a:lnTo>
                    <a:lnTo>
                      <a:pt x="469" y="2399"/>
                    </a:lnTo>
                    <a:lnTo>
                      <a:pt x="466" y="2395"/>
                    </a:lnTo>
                    <a:lnTo>
                      <a:pt x="465" y="2393"/>
                    </a:lnTo>
                    <a:lnTo>
                      <a:pt x="465" y="2391"/>
                    </a:lnTo>
                    <a:lnTo>
                      <a:pt x="465" y="2391"/>
                    </a:lnTo>
                    <a:lnTo>
                      <a:pt x="469" y="2384"/>
                    </a:lnTo>
                    <a:lnTo>
                      <a:pt x="472" y="2380"/>
                    </a:lnTo>
                    <a:lnTo>
                      <a:pt x="473" y="2377"/>
                    </a:lnTo>
                    <a:lnTo>
                      <a:pt x="473" y="2377"/>
                    </a:lnTo>
                    <a:lnTo>
                      <a:pt x="477" y="2374"/>
                    </a:lnTo>
                    <a:lnTo>
                      <a:pt x="481" y="2372"/>
                    </a:lnTo>
                    <a:lnTo>
                      <a:pt x="489" y="2366"/>
                    </a:lnTo>
                    <a:lnTo>
                      <a:pt x="489" y="2366"/>
                    </a:lnTo>
                    <a:lnTo>
                      <a:pt x="497" y="2363"/>
                    </a:lnTo>
                    <a:lnTo>
                      <a:pt x="502" y="2362"/>
                    </a:lnTo>
                    <a:lnTo>
                      <a:pt x="503" y="2359"/>
                    </a:lnTo>
                    <a:lnTo>
                      <a:pt x="503" y="2359"/>
                    </a:lnTo>
                    <a:lnTo>
                      <a:pt x="504" y="2357"/>
                    </a:lnTo>
                    <a:lnTo>
                      <a:pt x="503" y="2354"/>
                    </a:lnTo>
                    <a:lnTo>
                      <a:pt x="502" y="2354"/>
                    </a:lnTo>
                    <a:lnTo>
                      <a:pt x="504" y="2353"/>
                    </a:lnTo>
                    <a:lnTo>
                      <a:pt x="504" y="2353"/>
                    </a:lnTo>
                    <a:lnTo>
                      <a:pt x="510" y="2355"/>
                    </a:lnTo>
                    <a:lnTo>
                      <a:pt x="512" y="2357"/>
                    </a:lnTo>
                    <a:lnTo>
                      <a:pt x="516" y="2355"/>
                    </a:lnTo>
                    <a:lnTo>
                      <a:pt x="518" y="2358"/>
                    </a:lnTo>
                    <a:lnTo>
                      <a:pt x="519" y="2359"/>
                    </a:lnTo>
                    <a:lnTo>
                      <a:pt x="521" y="2363"/>
                    </a:lnTo>
                    <a:lnTo>
                      <a:pt x="525" y="2367"/>
                    </a:lnTo>
                    <a:lnTo>
                      <a:pt x="525" y="2367"/>
                    </a:lnTo>
                    <a:lnTo>
                      <a:pt x="526" y="2372"/>
                    </a:lnTo>
                    <a:lnTo>
                      <a:pt x="529" y="2374"/>
                    </a:lnTo>
                    <a:lnTo>
                      <a:pt x="531" y="2377"/>
                    </a:lnTo>
                    <a:lnTo>
                      <a:pt x="535" y="2378"/>
                    </a:lnTo>
                    <a:lnTo>
                      <a:pt x="540" y="2377"/>
                    </a:lnTo>
                    <a:lnTo>
                      <a:pt x="540" y="2377"/>
                    </a:lnTo>
                    <a:lnTo>
                      <a:pt x="546" y="2378"/>
                    </a:lnTo>
                    <a:lnTo>
                      <a:pt x="553" y="2380"/>
                    </a:lnTo>
                    <a:lnTo>
                      <a:pt x="553" y="2380"/>
                    </a:lnTo>
                    <a:lnTo>
                      <a:pt x="565" y="2393"/>
                    </a:lnTo>
                    <a:lnTo>
                      <a:pt x="565" y="2393"/>
                    </a:lnTo>
                    <a:lnTo>
                      <a:pt x="578" y="2400"/>
                    </a:lnTo>
                    <a:lnTo>
                      <a:pt x="578" y="2400"/>
                    </a:lnTo>
                    <a:lnTo>
                      <a:pt x="583" y="2405"/>
                    </a:lnTo>
                    <a:lnTo>
                      <a:pt x="583" y="2405"/>
                    </a:lnTo>
                    <a:lnTo>
                      <a:pt x="587" y="2407"/>
                    </a:lnTo>
                    <a:lnTo>
                      <a:pt x="590" y="2407"/>
                    </a:lnTo>
                    <a:lnTo>
                      <a:pt x="592" y="2410"/>
                    </a:lnTo>
                    <a:lnTo>
                      <a:pt x="594" y="2410"/>
                    </a:lnTo>
                    <a:lnTo>
                      <a:pt x="594" y="2410"/>
                    </a:lnTo>
                    <a:lnTo>
                      <a:pt x="595" y="2412"/>
                    </a:lnTo>
                    <a:lnTo>
                      <a:pt x="598" y="2416"/>
                    </a:lnTo>
                    <a:lnTo>
                      <a:pt x="599" y="2419"/>
                    </a:lnTo>
                    <a:lnTo>
                      <a:pt x="598" y="2420"/>
                    </a:lnTo>
                    <a:lnTo>
                      <a:pt x="598" y="2420"/>
                    </a:lnTo>
                    <a:lnTo>
                      <a:pt x="599" y="2423"/>
                    </a:lnTo>
                    <a:lnTo>
                      <a:pt x="602" y="2426"/>
                    </a:lnTo>
                    <a:lnTo>
                      <a:pt x="602" y="2426"/>
                    </a:lnTo>
                    <a:lnTo>
                      <a:pt x="602" y="2430"/>
                    </a:lnTo>
                    <a:lnTo>
                      <a:pt x="605" y="2434"/>
                    </a:lnTo>
                    <a:lnTo>
                      <a:pt x="605" y="2434"/>
                    </a:lnTo>
                    <a:lnTo>
                      <a:pt x="609" y="2434"/>
                    </a:lnTo>
                    <a:lnTo>
                      <a:pt x="613" y="2435"/>
                    </a:lnTo>
                    <a:lnTo>
                      <a:pt x="616" y="2441"/>
                    </a:lnTo>
                    <a:lnTo>
                      <a:pt x="616" y="2442"/>
                    </a:lnTo>
                    <a:lnTo>
                      <a:pt x="620" y="2442"/>
                    </a:lnTo>
                    <a:lnTo>
                      <a:pt x="620" y="2442"/>
                    </a:lnTo>
                    <a:lnTo>
                      <a:pt x="625" y="2449"/>
                    </a:lnTo>
                    <a:lnTo>
                      <a:pt x="632" y="2454"/>
                    </a:lnTo>
                    <a:lnTo>
                      <a:pt x="632" y="2454"/>
                    </a:lnTo>
                    <a:lnTo>
                      <a:pt x="640" y="2458"/>
                    </a:lnTo>
                    <a:lnTo>
                      <a:pt x="648" y="2460"/>
                    </a:lnTo>
                    <a:lnTo>
                      <a:pt x="648" y="2460"/>
                    </a:lnTo>
                    <a:lnTo>
                      <a:pt x="654" y="2464"/>
                    </a:lnTo>
                    <a:lnTo>
                      <a:pt x="659" y="2467"/>
                    </a:lnTo>
                    <a:lnTo>
                      <a:pt x="663" y="2469"/>
                    </a:lnTo>
                    <a:lnTo>
                      <a:pt x="666" y="2471"/>
                    </a:lnTo>
                    <a:lnTo>
                      <a:pt x="670" y="2471"/>
                    </a:lnTo>
                    <a:lnTo>
                      <a:pt x="670" y="2471"/>
                    </a:lnTo>
                    <a:lnTo>
                      <a:pt x="675" y="2467"/>
                    </a:lnTo>
                    <a:lnTo>
                      <a:pt x="679" y="2462"/>
                    </a:lnTo>
                    <a:lnTo>
                      <a:pt x="679" y="2457"/>
                    </a:lnTo>
                    <a:lnTo>
                      <a:pt x="682" y="2458"/>
                    </a:lnTo>
                    <a:lnTo>
                      <a:pt x="682" y="2456"/>
                    </a:lnTo>
                    <a:lnTo>
                      <a:pt x="683" y="2454"/>
                    </a:lnTo>
                    <a:lnTo>
                      <a:pt x="683" y="2454"/>
                    </a:lnTo>
                    <a:lnTo>
                      <a:pt x="685" y="2449"/>
                    </a:lnTo>
                    <a:lnTo>
                      <a:pt x="683" y="2445"/>
                    </a:lnTo>
                    <a:lnTo>
                      <a:pt x="681" y="2445"/>
                    </a:lnTo>
                    <a:lnTo>
                      <a:pt x="681" y="2445"/>
                    </a:lnTo>
                    <a:lnTo>
                      <a:pt x="679" y="2441"/>
                    </a:lnTo>
                    <a:lnTo>
                      <a:pt x="679" y="2438"/>
                    </a:lnTo>
                    <a:lnTo>
                      <a:pt x="681" y="2437"/>
                    </a:lnTo>
                    <a:lnTo>
                      <a:pt x="679" y="2430"/>
                    </a:lnTo>
                    <a:lnTo>
                      <a:pt x="679" y="2430"/>
                    </a:lnTo>
                    <a:lnTo>
                      <a:pt x="681" y="2427"/>
                    </a:lnTo>
                    <a:lnTo>
                      <a:pt x="682" y="2423"/>
                    </a:lnTo>
                    <a:lnTo>
                      <a:pt x="683" y="2422"/>
                    </a:lnTo>
                    <a:lnTo>
                      <a:pt x="683" y="2422"/>
                    </a:lnTo>
                    <a:lnTo>
                      <a:pt x="682" y="2418"/>
                    </a:lnTo>
                    <a:lnTo>
                      <a:pt x="683" y="2415"/>
                    </a:lnTo>
                    <a:lnTo>
                      <a:pt x="678" y="2414"/>
                    </a:lnTo>
                    <a:lnTo>
                      <a:pt x="678" y="2412"/>
                    </a:lnTo>
                    <a:lnTo>
                      <a:pt x="678" y="2411"/>
                    </a:lnTo>
                    <a:lnTo>
                      <a:pt x="681" y="2410"/>
                    </a:lnTo>
                    <a:lnTo>
                      <a:pt x="682" y="2404"/>
                    </a:lnTo>
                    <a:lnTo>
                      <a:pt x="679" y="2401"/>
                    </a:lnTo>
                    <a:lnTo>
                      <a:pt x="679" y="2399"/>
                    </a:lnTo>
                    <a:lnTo>
                      <a:pt x="681" y="2397"/>
                    </a:lnTo>
                    <a:lnTo>
                      <a:pt x="686" y="2401"/>
                    </a:lnTo>
                    <a:lnTo>
                      <a:pt x="687" y="2400"/>
                    </a:lnTo>
                    <a:lnTo>
                      <a:pt x="687" y="2395"/>
                    </a:lnTo>
                    <a:lnTo>
                      <a:pt x="683" y="2388"/>
                    </a:lnTo>
                    <a:lnTo>
                      <a:pt x="683" y="2388"/>
                    </a:lnTo>
                    <a:lnTo>
                      <a:pt x="678" y="2385"/>
                    </a:lnTo>
                    <a:lnTo>
                      <a:pt x="673" y="2382"/>
                    </a:lnTo>
                    <a:lnTo>
                      <a:pt x="670" y="2382"/>
                    </a:lnTo>
                    <a:lnTo>
                      <a:pt x="670" y="2382"/>
                    </a:lnTo>
                    <a:lnTo>
                      <a:pt x="666" y="2381"/>
                    </a:lnTo>
                    <a:lnTo>
                      <a:pt x="663" y="2380"/>
                    </a:lnTo>
                    <a:lnTo>
                      <a:pt x="663" y="2380"/>
                    </a:lnTo>
                    <a:lnTo>
                      <a:pt x="662" y="2376"/>
                    </a:lnTo>
                    <a:lnTo>
                      <a:pt x="660" y="2369"/>
                    </a:lnTo>
                    <a:lnTo>
                      <a:pt x="658" y="2358"/>
                    </a:lnTo>
                    <a:lnTo>
                      <a:pt x="656" y="2357"/>
                    </a:lnTo>
                    <a:lnTo>
                      <a:pt x="656" y="2357"/>
                    </a:lnTo>
                    <a:lnTo>
                      <a:pt x="655" y="2348"/>
                    </a:lnTo>
                    <a:lnTo>
                      <a:pt x="656" y="2346"/>
                    </a:lnTo>
                    <a:lnTo>
                      <a:pt x="656" y="2344"/>
                    </a:lnTo>
                    <a:lnTo>
                      <a:pt x="656" y="2344"/>
                    </a:lnTo>
                    <a:lnTo>
                      <a:pt x="659" y="2342"/>
                    </a:lnTo>
                    <a:lnTo>
                      <a:pt x="662" y="2340"/>
                    </a:lnTo>
                    <a:lnTo>
                      <a:pt x="668" y="2338"/>
                    </a:lnTo>
                    <a:lnTo>
                      <a:pt x="664" y="2335"/>
                    </a:lnTo>
                    <a:lnTo>
                      <a:pt x="664" y="2334"/>
                    </a:lnTo>
                    <a:lnTo>
                      <a:pt x="667" y="2325"/>
                    </a:lnTo>
                    <a:lnTo>
                      <a:pt x="659" y="2321"/>
                    </a:lnTo>
                    <a:lnTo>
                      <a:pt x="659" y="2321"/>
                    </a:lnTo>
                    <a:lnTo>
                      <a:pt x="658" y="2319"/>
                    </a:lnTo>
                    <a:lnTo>
                      <a:pt x="658" y="2315"/>
                    </a:lnTo>
                    <a:lnTo>
                      <a:pt x="656" y="2313"/>
                    </a:lnTo>
                    <a:lnTo>
                      <a:pt x="651" y="2315"/>
                    </a:lnTo>
                    <a:lnTo>
                      <a:pt x="647" y="2311"/>
                    </a:lnTo>
                    <a:lnTo>
                      <a:pt x="649" y="2311"/>
                    </a:lnTo>
                    <a:lnTo>
                      <a:pt x="649" y="2308"/>
                    </a:lnTo>
                    <a:lnTo>
                      <a:pt x="647" y="2306"/>
                    </a:lnTo>
                    <a:lnTo>
                      <a:pt x="649" y="2306"/>
                    </a:lnTo>
                    <a:lnTo>
                      <a:pt x="652" y="2308"/>
                    </a:lnTo>
                    <a:lnTo>
                      <a:pt x="652" y="2311"/>
                    </a:lnTo>
                    <a:lnTo>
                      <a:pt x="651" y="2313"/>
                    </a:lnTo>
                    <a:lnTo>
                      <a:pt x="651" y="2313"/>
                    </a:lnTo>
                    <a:lnTo>
                      <a:pt x="656" y="2313"/>
                    </a:lnTo>
                    <a:lnTo>
                      <a:pt x="662" y="2315"/>
                    </a:lnTo>
                    <a:lnTo>
                      <a:pt x="659" y="2317"/>
                    </a:lnTo>
                    <a:lnTo>
                      <a:pt x="660" y="2321"/>
                    </a:lnTo>
                    <a:lnTo>
                      <a:pt x="667" y="2323"/>
                    </a:lnTo>
                    <a:lnTo>
                      <a:pt x="668" y="2325"/>
                    </a:lnTo>
                    <a:lnTo>
                      <a:pt x="668" y="2329"/>
                    </a:lnTo>
                    <a:lnTo>
                      <a:pt x="670" y="2329"/>
                    </a:lnTo>
                    <a:lnTo>
                      <a:pt x="673" y="2334"/>
                    </a:lnTo>
                    <a:lnTo>
                      <a:pt x="671" y="2339"/>
                    </a:lnTo>
                    <a:lnTo>
                      <a:pt x="673" y="2340"/>
                    </a:lnTo>
                    <a:lnTo>
                      <a:pt x="673" y="2340"/>
                    </a:lnTo>
                    <a:lnTo>
                      <a:pt x="673" y="2344"/>
                    </a:lnTo>
                    <a:lnTo>
                      <a:pt x="674" y="2347"/>
                    </a:lnTo>
                    <a:lnTo>
                      <a:pt x="677" y="2348"/>
                    </a:lnTo>
                    <a:lnTo>
                      <a:pt x="679" y="2355"/>
                    </a:lnTo>
                    <a:lnTo>
                      <a:pt x="679" y="2355"/>
                    </a:lnTo>
                    <a:lnTo>
                      <a:pt x="686" y="2359"/>
                    </a:lnTo>
                    <a:lnTo>
                      <a:pt x="693" y="2363"/>
                    </a:lnTo>
                    <a:lnTo>
                      <a:pt x="698" y="2366"/>
                    </a:lnTo>
                    <a:lnTo>
                      <a:pt x="702" y="2369"/>
                    </a:lnTo>
                    <a:lnTo>
                      <a:pt x="702" y="2369"/>
                    </a:lnTo>
                    <a:lnTo>
                      <a:pt x="705" y="2369"/>
                    </a:lnTo>
                    <a:lnTo>
                      <a:pt x="709" y="2369"/>
                    </a:lnTo>
                    <a:lnTo>
                      <a:pt x="712" y="2370"/>
                    </a:lnTo>
                    <a:lnTo>
                      <a:pt x="715" y="2373"/>
                    </a:lnTo>
                    <a:lnTo>
                      <a:pt x="717" y="2373"/>
                    </a:lnTo>
                    <a:lnTo>
                      <a:pt x="719" y="2372"/>
                    </a:lnTo>
                    <a:lnTo>
                      <a:pt x="719" y="2369"/>
                    </a:lnTo>
                    <a:lnTo>
                      <a:pt x="720" y="2367"/>
                    </a:lnTo>
                    <a:lnTo>
                      <a:pt x="723" y="2366"/>
                    </a:lnTo>
                    <a:lnTo>
                      <a:pt x="725" y="2363"/>
                    </a:lnTo>
                    <a:lnTo>
                      <a:pt x="728" y="2363"/>
                    </a:lnTo>
                    <a:lnTo>
                      <a:pt x="728" y="2363"/>
                    </a:lnTo>
                    <a:lnTo>
                      <a:pt x="730" y="2359"/>
                    </a:lnTo>
                    <a:lnTo>
                      <a:pt x="730" y="2357"/>
                    </a:lnTo>
                    <a:lnTo>
                      <a:pt x="732" y="2355"/>
                    </a:lnTo>
                    <a:lnTo>
                      <a:pt x="734" y="2355"/>
                    </a:lnTo>
                    <a:lnTo>
                      <a:pt x="739" y="2354"/>
                    </a:lnTo>
                    <a:lnTo>
                      <a:pt x="732" y="2365"/>
                    </a:lnTo>
                    <a:lnTo>
                      <a:pt x="734" y="2367"/>
                    </a:lnTo>
                    <a:lnTo>
                      <a:pt x="731" y="2370"/>
                    </a:lnTo>
                    <a:lnTo>
                      <a:pt x="731" y="2372"/>
                    </a:lnTo>
                    <a:lnTo>
                      <a:pt x="735" y="2372"/>
                    </a:lnTo>
                    <a:lnTo>
                      <a:pt x="732" y="2378"/>
                    </a:lnTo>
                    <a:lnTo>
                      <a:pt x="734" y="2381"/>
                    </a:lnTo>
                    <a:lnTo>
                      <a:pt x="736" y="2382"/>
                    </a:lnTo>
                    <a:lnTo>
                      <a:pt x="736" y="2385"/>
                    </a:lnTo>
                    <a:lnTo>
                      <a:pt x="742" y="2391"/>
                    </a:lnTo>
                    <a:lnTo>
                      <a:pt x="743" y="2389"/>
                    </a:lnTo>
                    <a:lnTo>
                      <a:pt x="744" y="2391"/>
                    </a:lnTo>
                    <a:lnTo>
                      <a:pt x="747" y="2389"/>
                    </a:lnTo>
                    <a:lnTo>
                      <a:pt x="746" y="2393"/>
                    </a:lnTo>
                    <a:lnTo>
                      <a:pt x="746" y="2393"/>
                    </a:lnTo>
                    <a:lnTo>
                      <a:pt x="747" y="2399"/>
                    </a:lnTo>
                    <a:lnTo>
                      <a:pt x="750" y="2401"/>
                    </a:lnTo>
                    <a:lnTo>
                      <a:pt x="750" y="2403"/>
                    </a:lnTo>
                    <a:lnTo>
                      <a:pt x="753" y="2403"/>
                    </a:lnTo>
                    <a:lnTo>
                      <a:pt x="754" y="2404"/>
                    </a:lnTo>
                    <a:lnTo>
                      <a:pt x="754" y="2407"/>
                    </a:lnTo>
                    <a:lnTo>
                      <a:pt x="754" y="2407"/>
                    </a:lnTo>
                    <a:lnTo>
                      <a:pt x="758" y="2408"/>
                    </a:lnTo>
                    <a:lnTo>
                      <a:pt x="763" y="2410"/>
                    </a:lnTo>
                    <a:lnTo>
                      <a:pt x="763" y="2410"/>
                    </a:lnTo>
                    <a:lnTo>
                      <a:pt x="765" y="2407"/>
                    </a:lnTo>
                    <a:lnTo>
                      <a:pt x="766" y="2404"/>
                    </a:lnTo>
                    <a:lnTo>
                      <a:pt x="767" y="2403"/>
                    </a:lnTo>
                    <a:lnTo>
                      <a:pt x="769" y="2403"/>
                    </a:lnTo>
                    <a:lnTo>
                      <a:pt x="769" y="2404"/>
                    </a:lnTo>
                    <a:lnTo>
                      <a:pt x="767" y="2408"/>
                    </a:lnTo>
                    <a:lnTo>
                      <a:pt x="770" y="2410"/>
                    </a:lnTo>
                    <a:lnTo>
                      <a:pt x="773" y="2410"/>
                    </a:lnTo>
                    <a:lnTo>
                      <a:pt x="773" y="2414"/>
                    </a:lnTo>
                    <a:lnTo>
                      <a:pt x="774" y="2415"/>
                    </a:lnTo>
                    <a:lnTo>
                      <a:pt x="778" y="2416"/>
                    </a:lnTo>
                    <a:lnTo>
                      <a:pt x="780" y="2415"/>
                    </a:lnTo>
                    <a:lnTo>
                      <a:pt x="780" y="2411"/>
                    </a:lnTo>
                    <a:lnTo>
                      <a:pt x="778" y="2410"/>
                    </a:lnTo>
                    <a:lnTo>
                      <a:pt x="776" y="2410"/>
                    </a:lnTo>
                    <a:lnTo>
                      <a:pt x="774" y="2410"/>
                    </a:lnTo>
                    <a:lnTo>
                      <a:pt x="774" y="2408"/>
                    </a:lnTo>
                    <a:lnTo>
                      <a:pt x="777" y="2407"/>
                    </a:lnTo>
                    <a:lnTo>
                      <a:pt x="780" y="2407"/>
                    </a:lnTo>
                    <a:lnTo>
                      <a:pt x="780" y="2404"/>
                    </a:lnTo>
                    <a:lnTo>
                      <a:pt x="780" y="2404"/>
                    </a:lnTo>
                    <a:lnTo>
                      <a:pt x="781" y="2396"/>
                    </a:lnTo>
                    <a:lnTo>
                      <a:pt x="781" y="2391"/>
                    </a:lnTo>
                    <a:lnTo>
                      <a:pt x="781" y="2386"/>
                    </a:lnTo>
                    <a:lnTo>
                      <a:pt x="781" y="2386"/>
                    </a:lnTo>
                    <a:lnTo>
                      <a:pt x="784" y="2382"/>
                    </a:lnTo>
                    <a:lnTo>
                      <a:pt x="786" y="2378"/>
                    </a:lnTo>
                    <a:lnTo>
                      <a:pt x="788" y="2373"/>
                    </a:lnTo>
                    <a:lnTo>
                      <a:pt x="791" y="2369"/>
                    </a:lnTo>
                    <a:lnTo>
                      <a:pt x="793" y="2370"/>
                    </a:lnTo>
                    <a:lnTo>
                      <a:pt x="793" y="2370"/>
                    </a:lnTo>
                    <a:lnTo>
                      <a:pt x="796" y="2366"/>
                    </a:lnTo>
                    <a:lnTo>
                      <a:pt x="793" y="2363"/>
                    </a:lnTo>
                    <a:lnTo>
                      <a:pt x="795" y="2358"/>
                    </a:lnTo>
                    <a:lnTo>
                      <a:pt x="799" y="2361"/>
                    </a:lnTo>
                    <a:lnTo>
                      <a:pt x="796" y="2362"/>
                    </a:lnTo>
                    <a:lnTo>
                      <a:pt x="797" y="2366"/>
                    </a:lnTo>
                    <a:lnTo>
                      <a:pt x="795" y="2372"/>
                    </a:lnTo>
                    <a:lnTo>
                      <a:pt x="791" y="2373"/>
                    </a:lnTo>
                    <a:lnTo>
                      <a:pt x="791" y="2378"/>
                    </a:lnTo>
                    <a:lnTo>
                      <a:pt x="791" y="2378"/>
                    </a:lnTo>
                    <a:lnTo>
                      <a:pt x="788" y="2382"/>
                    </a:lnTo>
                    <a:lnTo>
                      <a:pt x="786" y="2386"/>
                    </a:lnTo>
                    <a:lnTo>
                      <a:pt x="788" y="2388"/>
                    </a:lnTo>
                    <a:lnTo>
                      <a:pt x="788" y="2388"/>
                    </a:lnTo>
                    <a:lnTo>
                      <a:pt x="791" y="2382"/>
                    </a:lnTo>
                    <a:lnTo>
                      <a:pt x="793" y="2380"/>
                    </a:lnTo>
                    <a:lnTo>
                      <a:pt x="796" y="2382"/>
                    </a:lnTo>
                    <a:lnTo>
                      <a:pt x="795" y="2385"/>
                    </a:lnTo>
                    <a:lnTo>
                      <a:pt x="796" y="2388"/>
                    </a:lnTo>
                    <a:lnTo>
                      <a:pt x="796" y="2388"/>
                    </a:lnTo>
                    <a:lnTo>
                      <a:pt x="793" y="2393"/>
                    </a:lnTo>
                    <a:lnTo>
                      <a:pt x="792" y="2397"/>
                    </a:lnTo>
                    <a:lnTo>
                      <a:pt x="789" y="2399"/>
                    </a:lnTo>
                    <a:lnTo>
                      <a:pt x="789" y="2405"/>
                    </a:lnTo>
                    <a:lnTo>
                      <a:pt x="789" y="2405"/>
                    </a:lnTo>
                    <a:lnTo>
                      <a:pt x="793" y="2410"/>
                    </a:lnTo>
                    <a:lnTo>
                      <a:pt x="799" y="2414"/>
                    </a:lnTo>
                    <a:lnTo>
                      <a:pt x="803" y="2412"/>
                    </a:lnTo>
                    <a:lnTo>
                      <a:pt x="808" y="2414"/>
                    </a:lnTo>
                    <a:lnTo>
                      <a:pt x="811" y="2412"/>
                    </a:lnTo>
                    <a:lnTo>
                      <a:pt x="819" y="2415"/>
                    </a:lnTo>
                    <a:lnTo>
                      <a:pt x="827" y="2412"/>
                    </a:lnTo>
                    <a:lnTo>
                      <a:pt x="829" y="2408"/>
                    </a:lnTo>
                    <a:lnTo>
                      <a:pt x="835" y="2401"/>
                    </a:lnTo>
                    <a:lnTo>
                      <a:pt x="837" y="2403"/>
                    </a:lnTo>
                    <a:lnTo>
                      <a:pt x="837" y="2403"/>
                    </a:lnTo>
                    <a:lnTo>
                      <a:pt x="845" y="2399"/>
                    </a:lnTo>
                    <a:lnTo>
                      <a:pt x="845" y="2399"/>
                    </a:lnTo>
                    <a:lnTo>
                      <a:pt x="846" y="2397"/>
                    </a:lnTo>
                    <a:lnTo>
                      <a:pt x="846" y="2397"/>
                    </a:lnTo>
                    <a:lnTo>
                      <a:pt x="860" y="2393"/>
                    </a:lnTo>
                    <a:lnTo>
                      <a:pt x="860" y="2389"/>
                    </a:lnTo>
                    <a:lnTo>
                      <a:pt x="864" y="2385"/>
                    </a:lnTo>
                    <a:lnTo>
                      <a:pt x="864" y="2385"/>
                    </a:lnTo>
                    <a:lnTo>
                      <a:pt x="868" y="2386"/>
                    </a:lnTo>
                    <a:lnTo>
                      <a:pt x="871" y="2386"/>
                    </a:lnTo>
                    <a:lnTo>
                      <a:pt x="876" y="2381"/>
                    </a:lnTo>
                    <a:lnTo>
                      <a:pt x="876" y="2380"/>
                    </a:lnTo>
                    <a:lnTo>
                      <a:pt x="872" y="2378"/>
                    </a:lnTo>
                    <a:lnTo>
                      <a:pt x="872" y="2378"/>
                    </a:lnTo>
                    <a:lnTo>
                      <a:pt x="869" y="2374"/>
                    </a:lnTo>
                    <a:lnTo>
                      <a:pt x="868" y="2373"/>
                    </a:lnTo>
                    <a:lnTo>
                      <a:pt x="865" y="2372"/>
                    </a:lnTo>
                    <a:lnTo>
                      <a:pt x="862" y="2369"/>
                    </a:lnTo>
                    <a:lnTo>
                      <a:pt x="862" y="2366"/>
                    </a:lnTo>
                    <a:lnTo>
                      <a:pt x="865" y="2365"/>
                    </a:lnTo>
                    <a:lnTo>
                      <a:pt x="869" y="2367"/>
                    </a:lnTo>
                    <a:lnTo>
                      <a:pt x="872" y="2367"/>
                    </a:lnTo>
                    <a:lnTo>
                      <a:pt x="867" y="2359"/>
                    </a:lnTo>
                    <a:lnTo>
                      <a:pt x="867" y="2357"/>
                    </a:lnTo>
                    <a:lnTo>
                      <a:pt x="869" y="2355"/>
                    </a:lnTo>
                    <a:lnTo>
                      <a:pt x="871" y="2357"/>
                    </a:lnTo>
                    <a:lnTo>
                      <a:pt x="871" y="2357"/>
                    </a:lnTo>
                    <a:lnTo>
                      <a:pt x="875" y="2363"/>
                    </a:lnTo>
                    <a:lnTo>
                      <a:pt x="877" y="2367"/>
                    </a:lnTo>
                    <a:lnTo>
                      <a:pt x="880" y="2369"/>
                    </a:lnTo>
                    <a:lnTo>
                      <a:pt x="883" y="2367"/>
                    </a:lnTo>
                    <a:lnTo>
                      <a:pt x="881" y="2363"/>
                    </a:lnTo>
                    <a:lnTo>
                      <a:pt x="879" y="2363"/>
                    </a:lnTo>
                    <a:lnTo>
                      <a:pt x="879" y="2363"/>
                    </a:lnTo>
                    <a:lnTo>
                      <a:pt x="879" y="2361"/>
                    </a:lnTo>
                    <a:lnTo>
                      <a:pt x="876" y="2358"/>
                    </a:lnTo>
                    <a:lnTo>
                      <a:pt x="876" y="2358"/>
                    </a:lnTo>
                    <a:lnTo>
                      <a:pt x="876" y="2354"/>
                    </a:lnTo>
                    <a:lnTo>
                      <a:pt x="875" y="2350"/>
                    </a:lnTo>
                    <a:lnTo>
                      <a:pt x="876" y="2350"/>
                    </a:lnTo>
                    <a:lnTo>
                      <a:pt x="877" y="2351"/>
                    </a:lnTo>
                    <a:lnTo>
                      <a:pt x="877" y="2351"/>
                    </a:lnTo>
                    <a:lnTo>
                      <a:pt x="877" y="2346"/>
                    </a:lnTo>
                    <a:lnTo>
                      <a:pt x="877" y="2340"/>
                    </a:lnTo>
                    <a:lnTo>
                      <a:pt x="879" y="2340"/>
                    </a:lnTo>
                    <a:lnTo>
                      <a:pt x="880" y="2351"/>
                    </a:lnTo>
                    <a:lnTo>
                      <a:pt x="888" y="2358"/>
                    </a:lnTo>
                    <a:lnTo>
                      <a:pt x="890" y="2361"/>
                    </a:lnTo>
                    <a:lnTo>
                      <a:pt x="888" y="2363"/>
                    </a:lnTo>
                    <a:lnTo>
                      <a:pt x="890" y="2363"/>
                    </a:lnTo>
                    <a:lnTo>
                      <a:pt x="890" y="2363"/>
                    </a:lnTo>
                    <a:lnTo>
                      <a:pt x="898" y="2361"/>
                    </a:lnTo>
                    <a:lnTo>
                      <a:pt x="906" y="2357"/>
                    </a:lnTo>
                    <a:lnTo>
                      <a:pt x="906" y="2354"/>
                    </a:lnTo>
                    <a:lnTo>
                      <a:pt x="910" y="2351"/>
                    </a:lnTo>
                    <a:lnTo>
                      <a:pt x="910" y="2348"/>
                    </a:lnTo>
                    <a:lnTo>
                      <a:pt x="911" y="2346"/>
                    </a:lnTo>
                    <a:lnTo>
                      <a:pt x="917" y="2347"/>
                    </a:lnTo>
                    <a:lnTo>
                      <a:pt x="924" y="2343"/>
                    </a:lnTo>
                    <a:lnTo>
                      <a:pt x="928" y="2347"/>
                    </a:lnTo>
                    <a:lnTo>
                      <a:pt x="928" y="2347"/>
                    </a:lnTo>
                    <a:lnTo>
                      <a:pt x="933" y="2346"/>
                    </a:lnTo>
                    <a:lnTo>
                      <a:pt x="943" y="2347"/>
                    </a:lnTo>
                    <a:lnTo>
                      <a:pt x="952" y="2350"/>
                    </a:lnTo>
                    <a:lnTo>
                      <a:pt x="957" y="2353"/>
                    </a:lnTo>
                    <a:lnTo>
                      <a:pt x="960" y="2350"/>
                    </a:lnTo>
                    <a:lnTo>
                      <a:pt x="960" y="2344"/>
                    </a:lnTo>
                    <a:lnTo>
                      <a:pt x="968" y="2338"/>
                    </a:lnTo>
                    <a:lnTo>
                      <a:pt x="968" y="2335"/>
                    </a:lnTo>
                    <a:lnTo>
                      <a:pt x="972" y="2331"/>
                    </a:lnTo>
                    <a:lnTo>
                      <a:pt x="972" y="2331"/>
                    </a:lnTo>
                    <a:lnTo>
                      <a:pt x="968" y="2325"/>
                    </a:lnTo>
                    <a:lnTo>
                      <a:pt x="967" y="2319"/>
                    </a:lnTo>
                    <a:lnTo>
                      <a:pt x="964" y="2317"/>
                    </a:lnTo>
                    <a:lnTo>
                      <a:pt x="964" y="2317"/>
                    </a:lnTo>
                    <a:lnTo>
                      <a:pt x="963" y="2316"/>
                    </a:lnTo>
                    <a:lnTo>
                      <a:pt x="963" y="2312"/>
                    </a:lnTo>
                    <a:lnTo>
                      <a:pt x="963" y="2306"/>
                    </a:lnTo>
                    <a:lnTo>
                      <a:pt x="963" y="2306"/>
                    </a:lnTo>
                    <a:lnTo>
                      <a:pt x="966" y="2301"/>
                    </a:lnTo>
                    <a:lnTo>
                      <a:pt x="966" y="2301"/>
                    </a:lnTo>
                    <a:lnTo>
                      <a:pt x="967" y="2296"/>
                    </a:lnTo>
                    <a:lnTo>
                      <a:pt x="964" y="2293"/>
                    </a:lnTo>
                    <a:lnTo>
                      <a:pt x="964" y="2287"/>
                    </a:lnTo>
                    <a:lnTo>
                      <a:pt x="966" y="2286"/>
                    </a:lnTo>
                    <a:lnTo>
                      <a:pt x="967" y="2282"/>
                    </a:lnTo>
                    <a:lnTo>
                      <a:pt x="967" y="2282"/>
                    </a:lnTo>
                    <a:lnTo>
                      <a:pt x="966" y="2278"/>
                    </a:lnTo>
                    <a:lnTo>
                      <a:pt x="966" y="2274"/>
                    </a:lnTo>
                    <a:lnTo>
                      <a:pt x="966" y="2271"/>
                    </a:lnTo>
                    <a:lnTo>
                      <a:pt x="966" y="2268"/>
                    </a:lnTo>
                    <a:lnTo>
                      <a:pt x="966" y="2268"/>
                    </a:lnTo>
                    <a:lnTo>
                      <a:pt x="963" y="2262"/>
                    </a:lnTo>
                    <a:lnTo>
                      <a:pt x="959" y="2256"/>
                    </a:lnTo>
                    <a:lnTo>
                      <a:pt x="959" y="2256"/>
                    </a:lnTo>
                    <a:lnTo>
                      <a:pt x="962" y="2256"/>
                    </a:lnTo>
                    <a:lnTo>
                      <a:pt x="963" y="2258"/>
                    </a:lnTo>
                    <a:lnTo>
                      <a:pt x="966" y="2264"/>
                    </a:lnTo>
                    <a:lnTo>
                      <a:pt x="968" y="2275"/>
                    </a:lnTo>
                    <a:lnTo>
                      <a:pt x="968" y="2275"/>
                    </a:lnTo>
                    <a:lnTo>
                      <a:pt x="971" y="2281"/>
                    </a:lnTo>
                    <a:lnTo>
                      <a:pt x="974" y="2287"/>
                    </a:lnTo>
                    <a:lnTo>
                      <a:pt x="974" y="2287"/>
                    </a:lnTo>
                    <a:lnTo>
                      <a:pt x="979" y="2292"/>
                    </a:lnTo>
                    <a:lnTo>
                      <a:pt x="985" y="2294"/>
                    </a:lnTo>
                    <a:lnTo>
                      <a:pt x="1001" y="2294"/>
                    </a:lnTo>
                    <a:lnTo>
                      <a:pt x="1001" y="2294"/>
                    </a:lnTo>
                    <a:lnTo>
                      <a:pt x="1005" y="2292"/>
                    </a:lnTo>
                    <a:lnTo>
                      <a:pt x="1010" y="2289"/>
                    </a:lnTo>
                    <a:lnTo>
                      <a:pt x="1016" y="2285"/>
                    </a:lnTo>
                    <a:lnTo>
                      <a:pt x="1017" y="2281"/>
                    </a:lnTo>
                    <a:lnTo>
                      <a:pt x="1016" y="2279"/>
                    </a:lnTo>
                    <a:lnTo>
                      <a:pt x="1012" y="2281"/>
                    </a:lnTo>
                    <a:lnTo>
                      <a:pt x="1013" y="2278"/>
                    </a:lnTo>
                    <a:lnTo>
                      <a:pt x="1013" y="2278"/>
                    </a:lnTo>
                    <a:lnTo>
                      <a:pt x="1016" y="2277"/>
                    </a:lnTo>
                    <a:lnTo>
                      <a:pt x="1020" y="2278"/>
                    </a:lnTo>
                    <a:lnTo>
                      <a:pt x="1020" y="2278"/>
                    </a:lnTo>
                    <a:lnTo>
                      <a:pt x="1024" y="2285"/>
                    </a:lnTo>
                    <a:lnTo>
                      <a:pt x="1027" y="2287"/>
                    </a:lnTo>
                    <a:lnTo>
                      <a:pt x="1029" y="2289"/>
                    </a:lnTo>
                    <a:lnTo>
                      <a:pt x="1029" y="2289"/>
                    </a:lnTo>
                    <a:lnTo>
                      <a:pt x="1033" y="2287"/>
                    </a:lnTo>
                    <a:lnTo>
                      <a:pt x="1036" y="2289"/>
                    </a:lnTo>
                    <a:lnTo>
                      <a:pt x="1042" y="2290"/>
                    </a:lnTo>
                    <a:lnTo>
                      <a:pt x="1042" y="2290"/>
                    </a:lnTo>
                    <a:lnTo>
                      <a:pt x="1047" y="2290"/>
                    </a:lnTo>
                    <a:lnTo>
                      <a:pt x="1051" y="2289"/>
                    </a:lnTo>
                    <a:lnTo>
                      <a:pt x="1054" y="2289"/>
                    </a:lnTo>
                    <a:lnTo>
                      <a:pt x="1056" y="2286"/>
                    </a:lnTo>
                    <a:lnTo>
                      <a:pt x="1058" y="2286"/>
                    </a:lnTo>
                    <a:lnTo>
                      <a:pt x="1058" y="2286"/>
                    </a:lnTo>
                    <a:lnTo>
                      <a:pt x="1063" y="2287"/>
                    </a:lnTo>
                    <a:lnTo>
                      <a:pt x="1067" y="2290"/>
                    </a:lnTo>
                    <a:lnTo>
                      <a:pt x="1074" y="2293"/>
                    </a:lnTo>
                    <a:lnTo>
                      <a:pt x="1080" y="2294"/>
                    </a:lnTo>
                    <a:lnTo>
                      <a:pt x="1080" y="2294"/>
                    </a:lnTo>
                    <a:lnTo>
                      <a:pt x="1082" y="2292"/>
                    </a:lnTo>
                    <a:lnTo>
                      <a:pt x="1085" y="2290"/>
                    </a:lnTo>
                    <a:lnTo>
                      <a:pt x="1089" y="2292"/>
                    </a:lnTo>
                    <a:lnTo>
                      <a:pt x="1089" y="2292"/>
                    </a:lnTo>
                    <a:lnTo>
                      <a:pt x="1093" y="2289"/>
                    </a:lnTo>
                    <a:lnTo>
                      <a:pt x="1097" y="2289"/>
                    </a:lnTo>
                    <a:lnTo>
                      <a:pt x="1107" y="2289"/>
                    </a:lnTo>
                    <a:lnTo>
                      <a:pt x="1116" y="2290"/>
                    </a:lnTo>
                    <a:lnTo>
                      <a:pt x="1123" y="2296"/>
                    </a:lnTo>
                    <a:lnTo>
                      <a:pt x="1123" y="2296"/>
                    </a:lnTo>
                    <a:lnTo>
                      <a:pt x="1128" y="2292"/>
                    </a:lnTo>
                    <a:lnTo>
                      <a:pt x="1134" y="2287"/>
                    </a:lnTo>
                    <a:lnTo>
                      <a:pt x="1134" y="2287"/>
                    </a:lnTo>
                    <a:lnTo>
                      <a:pt x="1139" y="2286"/>
                    </a:lnTo>
                    <a:lnTo>
                      <a:pt x="1143" y="2287"/>
                    </a:lnTo>
                    <a:lnTo>
                      <a:pt x="1143" y="2287"/>
                    </a:lnTo>
                    <a:lnTo>
                      <a:pt x="1154" y="2281"/>
                    </a:lnTo>
                    <a:lnTo>
                      <a:pt x="1154" y="2281"/>
                    </a:lnTo>
                    <a:lnTo>
                      <a:pt x="1157" y="2279"/>
                    </a:lnTo>
                    <a:lnTo>
                      <a:pt x="1157" y="2278"/>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0" name="Freeform 380">
                <a:extLst>
                  <a:ext uri="{FF2B5EF4-FFF2-40B4-BE49-F238E27FC236}">
                    <a16:creationId xmlns:a16="http://schemas.microsoft.com/office/drawing/2014/main" id="{5DA32A7D-621E-4EFF-9B1D-5D33FA1F1021}"/>
                  </a:ext>
                </a:extLst>
              </p:cNvPr>
              <p:cNvSpPr>
                <a:spLocks/>
              </p:cNvSpPr>
              <p:nvPr/>
            </p:nvSpPr>
            <p:spPr bwMode="auto">
              <a:xfrm>
                <a:off x="2560638" y="3136969"/>
                <a:ext cx="50800" cy="130175"/>
              </a:xfrm>
              <a:custGeom>
                <a:avLst/>
                <a:gdLst>
                  <a:gd name="T0" fmla="*/ 15 w 65"/>
                  <a:gd name="T1" fmla="*/ 60 h 164"/>
                  <a:gd name="T2" fmla="*/ 16 w 65"/>
                  <a:gd name="T3" fmla="*/ 67 h 164"/>
                  <a:gd name="T4" fmla="*/ 19 w 65"/>
                  <a:gd name="T5" fmla="*/ 69 h 164"/>
                  <a:gd name="T6" fmla="*/ 22 w 65"/>
                  <a:gd name="T7" fmla="*/ 76 h 164"/>
                  <a:gd name="T8" fmla="*/ 23 w 65"/>
                  <a:gd name="T9" fmla="*/ 81 h 164"/>
                  <a:gd name="T10" fmla="*/ 29 w 65"/>
                  <a:gd name="T11" fmla="*/ 87 h 164"/>
                  <a:gd name="T12" fmla="*/ 30 w 65"/>
                  <a:gd name="T13" fmla="*/ 90 h 164"/>
                  <a:gd name="T14" fmla="*/ 31 w 65"/>
                  <a:gd name="T15" fmla="*/ 92 h 164"/>
                  <a:gd name="T16" fmla="*/ 41 w 65"/>
                  <a:gd name="T17" fmla="*/ 96 h 164"/>
                  <a:gd name="T18" fmla="*/ 44 w 65"/>
                  <a:gd name="T19" fmla="*/ 98 h 164"/>
                  <a:gd name="T20" fmla="*/ 46 w 65"/>
                  <a:gd name="T21" fmla="*/ 103 h 164"/>
                  <a:gd name="T22" fmla="*/ 46 w 65"/>
                  <a:gd name="T23" fmla="*/ 109 h 164"/>
                  <a:gd name="T24" fmla="*/ 53 w 65"/>
                  <a:gd name="T25" fmla="*/ 111 h 164"/>
                  <a:gd name="T26" fmla="*/ 54 w 65"/>
                  <a:gd name="T27" fmla="*/ 114 h 164"/>
                  <a:gd name="T28" fmla="*/ 56 w 65"/>
                  <a:gd name="T29" fmla="*/ 117 h 164"/>
                  <a:gd name="T30" fmla="*/ 63 w 65"/>
                  <a:gd name="T31" fmla="*/ 119 h 164"/>
                  <a:gd name="T32" fmla="*/ 64 w 65"/>
                  <a:gd name="T33" fmla="*/ 119 h 164"/>
                  <a:gd name="T34" fmla="*/ 64 w 65"/>
                  <a:gd name="T35" fmla="*/ 123 h 164"/>
                  <a:gd name="T36" fmla="*/ 65 w 65"/>
                  <a:gd name="T37" fmla="*/ 129 h 164"/>
                  <a:gd name="T38" fmla="*/ 64 w 65"/>
                  <a:gd name="T39" fmla="*/ 133 h 164"/>
                  <a:gd name="T40" fmla="*/ 61 w 65"/>
                  <a:gd name="T41" fmla="*/ 136 h 164"/>
                  <a:gd name="T42" fmla="*/ 50 w 65"/>
                  <a:gd name="T43" fmla="*/ 136 h 164"/>
                  <a:gd name="T44" fmla="*/ 48 w 65"/>
                  <a:gd name="T45" fmla="*/ 140 h 164"/>
                  <a:gd name="T46" fmla="*/ 41 w 65"/>
                  <a:gd name="T47" fmla="*/ 147 h 164"/>
                  <a:gd name="T48" fmla="*/ 40 w 65"/>
                  <a:gd name="T49" fmla="*/ 151 h 164"/>
                  <a:gd name="T50" fmla="*/ 44 w 65"/>
                  <a:gd name="T51" fmla="*/ 160 h 164"/>
                  <a:gd name="T52" fmla="*/ 41 w 65"/>
                  <a:gd name="T53" fmla="*/ 164 h 164"/>
                  <a:gd name="T54" fmla="*/ 38 w 65"/>
                  <a:gd name="T55" fmla="*/ 161 h 164"/>
                  <a:gd name="T56" fmla="*/ 33 w 65"/>
                  <a:gd name="T57" fmla="*/ 155 h 164"/>
                  <a:gd name="T58" fmla="*/ 30 w 65"/>
                  <a:gd name="T59" fmla="*/ 152 h 164"/>
                  <a:gd name="T60" fmla="*/ 23 w 65"/>
                  <a:gd name="T61" fmla="*/ 149 h 164"/>
                  <a:gd name="T62" fmla="*/ 23 w 65"/>
                  <a:gd name="T63" fmla="*/ 147 h 164"/>
                  <a:gd name="T64" fmla="*/ 25 w 65"/>
                  <a:gd name="T65" fmla="*/ 140 h 164"/>
                  <a:gd name="T66" fmla="*/ 27 w 65"/>
                  <a:gd name="T67" fmla="*/ 132 h 164"/>
                  <a:gd name="T68" fmla="*/ 27 w 65"/>
                  <a:gd name="T69" fmla="*/ 129 h 164"/>
                  <a:gd name="T70" fmla="*/ 25 w 65"/>
                  <a:gd name="T71" fmla="*/ 123 h 164"/>
                  <a:gd name="T72" fmla="*/ 25 w 65"/>
                  <a:gd name="T73" fmla="*/ 115 h 164"/>
                  <a:gd name="T74" fmla="*/ 25 w 65"/>
                  <a:gd name="T75" fmla="*/ 109 h 164"/>
                  <a:gd name="T76" fmla="*/ 12 w 65"/>
                  <a:gd name="T77" fmla="*/ 76 h 164"/>
                  <a:gd name="T78" fmla="*/ 12 w 65"/>
                  <a:gd name="T79" fmla="*/ 69 h 164"/>
                  <a:gd name="T80" fmla="*/ 11 w 65"/>
                  <a:gd name="T81" fmla="*/ 64 h 164"/>
                  <a:gd name="T82" fmla="*/ 8 w 65"/>
                  <a:gd name="T83" fmla="*/ 60 h 164"/>
                  <a:gd name="T84" fmla="*/ 3 w 65"/>
                  <a:gd name="T85" fmla="*/ 48 h 164"/>
                  <a:gd name="T86" fmla="*/ 2 w 65"/>
                  <a:gd name="T87" fmla="*/ 45 h 164"/>
                  <a:gd name="T88" fmla="*/ 4 w 65"/>
                  <a:gd name="T89" fmla="*/ 35 h 164"/>
                  <a:gd name="T90" fmla="*/ 4 w 65"/>
                  <a:gd name="T91" fmla="*/ 34 h 164"/>
                  <a:gd name="T92" fmla="*/ 3 w 65"/>
                  <a:gd name="T93" fmla="*/ 26 h 164"/>
                  <a:gd name="T94" fmla="*/ 0 w 65"/>
                  <a:gd name="T95" fmla="*/ 23 h 164"/>
                  <a:gd name="T96" fmla="*/ 0 w 65"/>
                  <a:gd name="T97" fmla="*/ 12 h 164"/>
                  <a:gd name="T98" fmla="*/ 3 w 65"/>
                  <a:gd name="T99" fmla="*/ 0 h 164"/>
                  <a:gd name="T100" fmla="*/ 4 w 65"/>
                  <a:gd name="T101" fmla="*/ 3 h 164"/>
                  <a:gd name="T102" fmla="*/ 7 w 65"/>
                  <a:gd name="T103" fmla="*/ 11 h 164"/>
                  <a:gd name="T104" fmla="*/ 7 w 65"/>
                  <a:gd name="T105" fmla="*/ 22 h 164"/>
                  <a:gd name="T106" fmla="*/ 8 w 65"/>
                  <a:gd name="T107" fmla="*/ 27 h 164"/>
                  <a:gd name="T108" fmla="*/ 10 w 65"/>
                  <a:gd name="T109" fmla="*/ 33 h 164"/>
                  <a:gd name="T110" fmla="*/ 10 w 65"/>
                  <a:gd name="T111" fmla="*/ 39 h 164"/>
                  <a:gd name="T112" fmla="*/ 11 w 65"/>
                  <a:gd name="T113" fmla="*/ 53 h 164"/>
                  <a:gd name="T114" fmla="*/ 15 w 65"/>
                  <a:gd name="T115" fmla="*/ 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 h="164">
                    <a:moveTo>
                      <a:pt x="15" y="60"/>
                    </a:moveTo>
                    <a:lnTo>
                      <a:pt x="15" y="60"/>
                    </a:lnTo>
                    <a:lnTo>
                      <a:pt x="15" y="62"/>
                    </a:lnTo>
                    <a:lnTo>
                      <a:pt x="16" y="67"/>
                    </a:lnTo>
                    <a:lnTo>
                      <a:pt x="16" y="67"/>
                    </a:lnTo>
                    <a:lnTo>
                      <a:pt x="19" y="69"/>
                    </a:lnTo>
                    <a:lnTo>
                      <a:pt x="19" y="69"/>
                    </a:lnTo>
                    <a:lnTo>
                      <a:pt x="22" y="76"/>
                    </a:lnTo>
                    <a:lnTo>
                      <a:pt x="23" y="81"/>
                    </a:lnTo>
                    <a:lnTo>
                      <a:pt x="23" y="81"/>
                    </a:lnTo>
                    <a:lnTo>
                      <a:pt x="26" y="84"/>
                    </a:lnTo>
                    <a:lnTo>
                      <a:pt x="29" y="87"/>
                    </a:lnTo>
                    <a:lnTo>
                      <a:pt x="29" y="87"/>
                    </a:lnTo>
                    <a:lnTo>
                      <a:pt x="30" y="90"/>
                    </a:lnTo>
                    <a:lnTo>
                      <a:pt x="31" y="92"/>
                    </a:lnTo>
                    <a:lnTo>
                      <a:pt x="31" y="92"/>
                    </a:lnTo>
                    <a:lnTo>
                      <a:pt x="38" y="95"/>
                    </a:lnTo>
                    <a:lnTo>
                      <a:pt x="41" y="96"/>
                    </a:lnTo>
                    <a:lnTo>
                      <a:pt x="44" y="98"/>
                    </a:lnTo>
                    <a:lnTo>
                      <a:pt x="44" y="98"/>
                    </a:lnTo>
                    <a:lnTo>
                      <a:pt x="45" y="100"/>
                    </a:lnTo>
                    <a:lnTo>
                      <a:pt x="46" y="103"/>
                    </a:lnTo>
                    <a:lnTo>
                      <a:pt x="46" y="109"/>
                    </a:lnTo>
                    <a:lnTo>
                      <a:pt x="46" y="109"/>
                    </a:lnTo>
                    <a:lnTo>
                      <a:pt x="50" y="110"/>
                    </a:lnTo>
                    <a:lnTo>
                      <a:pt x="53" y="111"/>
                    </a:lnTo>
                    <a:lnTo>
                      <a:pt x="53" y="111"/>
                    </a:lnTo>
                    <a:lnTo>
                      <a:pt x="54" y="114"/>
                    </a:lnTo>
                    <a:lnTo>
                      <a:pt x="56" y="117"/>
                    </a:lnTo>
                    <a:lnTo>
                      <a:pt x="56" y="117"/>
                    </a:lnTo>
                    <a:lnTo>
                      <a:pt x="60" y="118"/>
                    </a:lnTo>
                    <a:lnTo>
                      <a:pt x="63" y="119"/>
                    </a:lnTo>
                    <a:lnTo>
                      <a:pt x="64" y="121"/>
                    </a:lnTo>
                    <a:lnTo>
                      <a:pt x="64" y="119"/>
                    </a:lnTo>
                    <a:lnTo>
                      <a:pt x="64" y="119"/>
                    </a:lnTo>
                    <a:lnTo>
                      <a:pt x="64" y="123"/>
                    </a:lnTo>
                    <a:lnTo>
                      <a:pt x="64" y="126"/>
                    </a:lnTo>
                    <a:lnTo>
                      <a:pt x="65" y="129"/>
                    </a:lnTo>
                    <a:lnTo>
                      <a:pt x="65" y="129"/>
                    </a:lnTo>
                    <a:lnTo>
                      <a:pt x="64" y="133"/>
                    </a:lnTo>
                    <a:lnTo>
                      <a:pt x="61" y="136"/>
                    </a:lnTo>
                    <a:lnTo>
                      <a:pt x="61" y="136"/>
                    </a:lnTo>
                    <a:lnTo>
                      <a:pt x="56" y="136"/>
                    </a:lnTo>
                    <a:lnTo>
                      <a:pt x="50" y="136"/>
                    </a:lnTo>
                    <a:lnTo>
                      <a:pt x="50" y="136"/>
                    </a:lnTo>
                    <a:lnTo>
                      <a:pt x="48" y="140"/>
                    </a:lnTo>
                    <a:lnTo>
                      <a:pt x="44" y="142"/>
                    </a:lnTo>
                    <a:lnTo>
                      <a:pt x="41" y="147"/>
                    </a:lnTo>
                    <a:lnTo>
                      <a:pt x="40" y="151"/>
                    </a:lnTo>
                    <a:lnTo>
                      <a:pt x="40" y="151"/>
                    </a:lnTo>
                    <a:lnTo>
                      <a:pt x="42" y="156"/>
                    </a:lnTo>
                    <a:lnTo>
                      <a:pt x="44" y="160"/>
                    </a:lnTo>
                    <a:lnTo>
                      <a:pt x="44" y="163"/>
                    </a:lnTo>
                    <a:lnTo>
                      <a:pt x="41" y="164"/>
                    </a:lnTo>
                    <a:lnTo>
                      <a:pt x="41" y="164"/>
                    </a:lnTo>
                    <a:lnTo>
                      <a:pt x="38" y="161"/>
                    </a:lnTo>
                    <a:lnTo>
                      <a:pt x="35" y="157"/>
                    </a:lnTo>
                    <a:lnTo>
                      <a:pt x="33" y="155"/>
                    </a:lnTo>
                    <a:lnTo>
                      <a:pt x="30" y="152"/>
                    </a:lnTo>
                    <a:lnTo>
                      <a:pt x="30" y="152"/>
                    </a:lnTo>
                    <a:lnTo>
                      <a:pt x="26" y="151"/>
                    </a:lnTo>
                    <a:lnTo>
                      <a:pt x="23" y="149"/>
                    </a:lnTo>
                    <a:lnTo>
                      <a:pt x="23" y="147"/>
                    </a:lnTo>
                    <a:lnTo>
                      <a:pt x="23" y="147"/>
                    </a:lnTo>
                    <a:lnTo>
                      <a:pt x="23" y="142"/>
                    </a:lnTo>
                    <a:lnTo>
                      <a:pt x="25" y="140"/>
                    </a:lnTo>
                    <a:lnTo>
                      <a:pt x="26" y="136"/>
                    </a:lnTo>
                    <a:lnTo>
                      <a:pt x="27" y="132"/>
                    </a:lnTo>
                    <a:lnTo>
                      <a:pt x="27" y="132"/>
                    </a:lnTo>
                    <a:lnTo>
                      <a:pt x="27" y="129"/>
                    </a:lnTo>
                    <a:lnTo>
                      <a:pt x="26" y="126"/>
                    </a:lnTo>
                    <a:lnTo>
                      <a:pt x="25" y="123"/>
                    </a:lnTo>
                    <a:lnTo>
                      <a:pt x="25" y="123"/>
                    </a:lnTo>
                    <a:lnTo>
                      <a:pt x="25" y="115"/>
                    </a:lnTo>
                    <a:lnTo>
                      <a:pt x="25" y="109"/>
                    </a:lnTo>
                    <a:lnTo>
                      <a:pt x="25" y="109"/>
                    </a:lnTo>
                    <a:lnTo>
                      <a:pt x="19" y="92"/>
                    </a:lnTo>
                    <a:lnTo>
                      <a:pt x="12" y="76"/>
                    </a:lnTo>
                    <a:lnTo>
                      <a:pt x="12" y="76"/>
                    </a:lnTo>
                    <a:lnTo>
                      <a:pt x="12" y="69"/>
                    </a:lnTo>
                    <a:lnTo>
                      <a:pt x="11" y="64"/>
                    </a:lnTo>
                    <a:lnTo>
                      <a:pt x="11" y="64"/>
                    </a:lnTo>
                    <a:lnTo>
                      <a:pt x="8" y="60"/>
                    </a:lnTo>
                    <a:lnTo>
                      <a:pt x="8" y="60"/>
                    </a:lnTo>
                    <a:lnTo>
                      <a:pt x="4" y="54"/>
                    </a:lnTo>
                    <a:lnTo>
                      <a:pt x="3" y="48"/>
                    </a:lnTo>
                    <a:lnTo>
                      <a:pt x="3" y="48"/>
                    </a:lnTo>
                    <a:lnTo>
                      <a:pt x="2" y="45"/>
                    </a:lnTo>
                    <a:lnTo>
                      <a:pt x="3" y="42"/>
                    </a:lnTo>
                    <a:lnTo>
                      <a:pt x="4" y="35"/>
                    </a:lnTo>
                    <a:lnTo>
                      <a:pt x="4" y="34"/>
                    </a:lnTo>
                    <a:lnTo>
                      <a:pt x="4" y="34"/>
                    </a:lnTo>
                    <a:lnTo>
                      <a:pt x="3" y="26"/>
                    </a:lnTo>
                    <a:lnTo>
                      <a:pt x="3" y="26"/>
                    </a:lnTo>
                    <a:lnTo>
                      <a:pt x="0" y="23"/>
                    </a:lnTo>
                    <a:lnTo>
                      <a:pt x="0" y="23"/>
                    </a:lnTo>
                    <a:lnTo>
                      <a:pt x="0" y="18"/>
                    </a:lnTo>
                    <a:lnTo>
                      <a:pt x="0" y="12"/>
                    </a:lnTo>
                    <a:lnTo>
                      <a:pt x="2" y="1"/>
                    </a:lnTo>
                    <a:lnTo>
                      <a:pt x="3" y="0"/>
                    </a:lnTo>
                    <a:lnTo>
                      <a:pt x="3" y="0"/>
                    </a:lnTo>
                    <a:lnTo>
                      <a:pt x="4" y="3"/>
                    </a:lnTo>
                    <a:lnTo>
                      <a:pt x="6" y="4"/>
                    </a:lnTo>
                    <a:lnTo>
                      <a:pt x="7" y="11"/>
                    </a:lnTo>
                    <a:lnTo>
                      <a:pt x="6" y="18"/>
                    </a:lnTo>
                    <a:lnTo>
                      <a:pt x="7" y="22"/>
                    </a:lnTo>
                    <a:lnTo>
                      <a:pt x="7" y="22"/>
                    </a:lnTo>
                    <a:lnTo>
                      <a:pt x="8" y="27"/>
                    </a:lnTo>
                    <a:lnTo>
                      <a:pt x="10" y="29"/>
                    </a:lnTo>
                    <a:lnTo>
                      <a:pt x="10" y="33"/>
                    </a:lnTo>
                    <a:lnTo>
                      <a:pt x="10" y="33"/>
                    </a:lnTo>
                    <a:lnTo>
                      <a:pt x="10" y="39"/>
                    </a:lnTo>
                    <a:lnTo>
                      <a:pt x="10" y="46"/>
                    </a:lnTo>
                    <a:lnTo>
                      <a:pt x="11" y="53"/>
                    </a:lnTo>
                    <a:lnTo>
                      <a:pt x="12" y="57"/>
                    </a:lnTo>
                    <a:lnTo>
                      <a:pt x="15" y="60"/>
                    </a:ln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1" name="Freeform 381">
                <a:extLst>
                  <a:ext uri="{FF2B5EF4-FFF2-40B4-BE49-F238E27FC236}">
                    <a16:creationId xmlns:a16="http://schemas.microsoft.com/office/drawing/2014/main" id="{784752C7-0BBA-46BD-84DE-1CE1E88E705D}"/>
                  </a:ext>
                </a:extLst>
              </p:cNvPr>
              <p:cNvSpPr>
                <a:spLocks/>
              </p:cNvSpPr>
              <p:nvPr/>
            </p:nvSpPr>
            <p:spPr bwMode="auto">
              <a:xfrm>
                <a:off x="2351088" y="3078231"/>
                <a:ext cx="107950" cy="104775"/>
              </a:xfrm>
              <a:custGeom>
                <a:avLst/>
                <a:gdLst>
                  <a:gd name="T0" fmla="*/ 130 w 136"/>
                  <a:gd name="T1" fmla="*/ 13 h 131"/>
                  <a:gd name="T2" fmla="*/ 126 w 136"/>
                  <a:gd name="T3" fmla="*/ 21 h 131"/>
                  <a:gd name="T4" fmla="*/ 125 w 136"/>
                  <a:gd name="T5" fmla="*/ 23 h 131"/>
                  <a:gd name="T6" fmla="*/ 110 w 136"/>
                  <a:gd name="T7" fmla="*/ 28 h 131"/>
                  <a:gd name="T8" fmla="*/ 109 w 136"/>
                  <a:gd name="T9" fmla="*/ 31 h 131"/>
                  <a:gd name="T10" fmla="*/ 106 w 136"/>
                  <a:gd name="T11" fmla="*/ 32 h 131"/>
                  <a:gd name="T12" fmla="*/ 92 w 136"/>
                  <a:gd name="T13" fmla="*/ 38 h 131"/>
                  <a:gd name="T14" fmla="*/ 75 w 136"/>
                  <a:gd name="T15" fmla="*/ 51 h 131"/>
                  <a:gd name="T16" fmla="*/ 72 w 136"/>
                  <a:gd name="T17" fmla="*/ 55 h 131"/>
                  <a:gd name="T18" fmla="*/ 72 w 136"/>
                  <a:gd name="T19" fmla="*/ 64 h 131"/>
                  <a:gd name="T20" fmla="*/ 72 w 136"/>
                  <a:gd name="T21" fmla="*/ 68 h 131"/>
                  <a:gd name="T22" fmla="*/ 64 w 136"/>
                  <a:gd name="T23" fmla="*/ 76 h 131"/>
                  <a:gd name="T24" fmla="*/ 56 w 136"/>
                  <a:gd name="T25" fmla="*/ 80 h 131"/>
                  <a:gd name="T26" fmla="*/ 54 w 136"/>
                  <a:gd name="T27" fmla="*/ 84 h 131"/>
                  <a:gd name="T28" fmla="*/ 53 w 136"/>
                  <a:gd name="T29" fmla="*/ 91 h 131"/>
                  <a:gd name="T30" fmla="*/ 52 w 136"/>
                  <a:gd name="T31" fmla="*/ 95 h 131"/>
                  <a:gd name="T32" fmla="*/ 43 w 136"/>
                  <a:gd name="T33" fmla="*/ 106 h 131"/>
                  <a:gd name="T34" fmla="*/ 42 w 136"/>
                  <a:gd name="T35" fmla="*/ 108 h 131"/>
                  <a:gd name="T36" fmla="*/ 26 w 136"/>
                  <a:gd name="T37" fmla="*/ 119 h 131"/>
                  <a:gd name="T38" fmla="*/ 8 w 136"/>
                  <a:gd name="T39" fmla="*/ 130 h 131"/>
                  <a:gd name="T40" fmla="*/ 1 w 136"/>
                  <a:gd name="T41" fmla="*/ 131 h 131"/>
                  <a:gd name="T42" fmla="*/ 0 w 136"/>
                  <a:gd name="T43" fmla="*/ 129 h 131"/>
                  <a:gd name="T44" fmla="*/ 4 w 136"/>
                  <a:gd name="T45" fmla="*/ 127 h 131"/>
                  <a:gd name="T46" fmla="*/ 12 w 136"/>
                  <a:gd name="T47" fmla="*/ 122 h 131"/>
                  <a:gd name="T48" fmla="*/ 19 w 136"/>
                  <a:gd name="T49" fmla="*/ 119 h 131"/>
                  <a:gd name="T50" fmla="*/ 24 w 136"/>
                  <a:gd name="T51" fmla="*/ 114 h 131"/>
                  <a:gd name="T52" fmla="*/ 30 w 136"/>
                  <a:gd name="T53" fmla="*/ 108 h 131"/>
                  <a:gd name="T54" fmla="*/ 38 w 136"/>
                  <a:gd name="T55" fmla="*/ 103 h 131"/>
                  <a:gd name="T56" fmla="*/ 42 w 136"/>
                  <a:gd name="T57" fmla="*/ 97 h 131"/>
                  <a:gd name="T58" fmla="*/ 45 w 136"/>
                  <a:gd name="T59" fmla="*/ 92 h 131"/>
                  <a:gd name="T60" fmla="*/ 47 w 136"/>
                  <a:gd name="T61" fmla="*/ 83 h 131"/>
                  <a:gd name="T62" fmla="*/ 52 w 136"/>
                  <a:gd name="T63" fmla="*/ 72 h 131"/>
                  <a:gd name="T64" fmla="*/ 58 w 136"/>
                  <a:gd name="T65" fmla="*/ 70 h 131"/>
                  <a:gd name="T66" fmla="*/ 61 w 136"/>
                  <a:gd name="T67" fmla="*/ 65 h 131"/>
                  <a:gd name="T68" fmla="*/ 65 w 136"/>
                  <a:gd name="T69" fmla="*/ 54 h 131"/>
                  <a:gd name="T70" fmla="*/ 66 w 136"/>
                  <a:gd name="T71" fmla="*/ 49 h 131"/>
                  <a:gd name="T72" fmla="*/ 85 w 136"/>
                  <a:gd name="T73" fmla="*/ 32 h 131"/>
                  <a:gd name="T74" fmla="*/ 88 w 136"/>
                  <a:gd name="T75" fmla="*/ 30 h 131"/>
                  <a:gd name="T76" fmla="*/ 96 w 136"/>
                  <a:gd name="T77" fmla="*/ 30 h 131"/>
                  <a:gd name="T78" fmla="*/ 100 w 136"/>
                  <a:gd name="T79" fmla="*/ 28 h 131"/>
                  <a:gd name="T80" fmla="*/ 111 w 136"/>
                  <a:gd name="T81" fmla="*/ 19 h 131"/>
                  <a:gd name="T82" fmla="*/ 118 w 136"/>
                  <a:gd name="T83" fmla="*/ 16 h 131"/>
                  <a:gd name="T84" fmla="*/ 121 w 136"/>
                  <a:gd name="T85" fmla="*/ 12 h 131"/>
                  <a:gd name="T86" fmla="*/ 118 w 136"/>
                  <a:gd name="T87" fmla="*/ 7 h 131"/>
                  <a:gd name="T88" fmla="*/ 119 w 136"/>
                  <a:gd name="T89" fmla="*/ 5 h 131"/>
                  <a:gd name="T90" fmla="*/ 129 w 136"/>
                  <a:gd name="T91" fmla="*/ 4 h 131"/>
                  <a:gd name="T92" fmla="*/ 134 w 136"/>
                  <a:gd name="T93" fmla="*/ 0 h 131"/>
                  <a:gd name="T94" fmla="*/ 136 w 136"/>
                  <a:gd name="T95" fmla="*/ 1 h 131"/>
                  <a:gd name="T96" fmla="*/ 136 w 136"/>
                  <a:gd name="T97" fmla="*/ 9 h 131"/>
                  <a:gd name="T98" fmla="*/ 130 w 136"/>
                  <a:gd name="T99" fmla="*/ 1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131">
                    <a:moveTo>
                      <a:pt x="130" y="13"/>
                    </a:moveTo>
                    <a:lnTo>
                      <a:pt x="130" y="13"/>
                    </a:lnTo>
                    <a:lnTo>
                      <a:pt x="128" y="19"/>
                    </a:lnTo>
                    <a:lnTo>
                      <a:pt x="126" y="21"/>
                    </a:lnTo>
                    <a:lnTo>
                      <a:pt x="125" y="23"/>
                    </a:lnTo>
                    <a:lnTo>
                      <a:pt x="125" y="23"/>
                    </a:lnTo>
                    <a:lnTo>
                      <a:pt x="117" y="26"/>
                    </a:lnTo>
                    <a:lnTo>
                      <a:pt x="110" y="28"/>
                    </a:lnTo>
                    <a:lnTo>
                      <a:pt x="110" y="28"/>
                    </a:lnTo>
                    <a:lnTo>
                      <a:pt x="109" y="31"/>
                    </a:lnTo>
                    <a:lnTo>
                      <a:pt x="106" y="32"/>
                    </a:lnTo>
                    <a:lnTo>
                      <a:pt x="106" y="32"/>
                    </a:lnTo>
                    <a:lnTo>
                      <a:pt x="99" y="35"/>
                    </a:lnTo>
                    <a:lnTo>
                      <a:pt x="92" y="38"/>
                    </a:lnTo>
                    <a:lnTo>
                      <a:pt x="92" y="38"/>
                    </a:lnTo>
                    <a:lnTo>
                      <a:pt x="75" y="51"/>
                    </a:lnTo>
                    <a:lnTo>
                      <a:pt x="75" y="51"/>
                    </a:lnTo>
                    <a:lnTo>
                      <a:pt x="72" y="55"/>
                    </a:lnTo>
                    <a:lnTo>
                      <a:pt x="72" y="59"/>
                    </a:lnTo>
                    <a:lnTo>
                      <a:pt x="72" y="64"/>
                    </a:lnTo>
                    <a:lnTo>
                      <a:pt x="72" y="68"/>
                    </a:lnTo>
                    <a:lnTo>
                      <a:pt x="72" y="68"/>
                    </a:lnTo>
                    <a:lnTo>
                      <a:pt x="68" y="73"/>
                    </a:lnTo>
                    <a:lnTo>
                      <a:pt x="64" y="76"/>
                    </a:lnTo>
                    <a:lnTo>
                      <a:pt x="58" y="77"/>
                    </a:lnTo>
                    <a:lnTo>
                      <a:pt x="56" y="80"/>
                    </a:lnTo>
                    <a:lnTo>
                      <a:pt x="56" y="80"/>
                    </a:lnTo>
                    <a:lnTo>
                      <a:pt x="54" y="84"/>
                    </a:lnTo>
                    <a:lnTo>
                      <a:pt x="53" y="87"/>
                    </a:lnTo>
                    <a:lnTo>
                      <a:pt x="53" y="91"/>
                    </a:lnTo>
                    <a:lnTo>
                      <a:pt x="52" y="95"/>
                    </a:lnTo>
                    <a:lnTo>
                      <a:pt x="52" y="95"/>
                    </a:lnTo>
                    <a:lnTo>
                      <a:pt x="43" y="106"/>
                    </a:lnTo>
                    <a:lnTo>
                      <a:pt x="43" y="106"/>
                    </a:lnTo>
                    <a:lnTo>
                      <a:pt x="42" y="108"/>
                    </a:lnTo>
                    <a:lnTo>
                      <a:pt x="42" y="108"/>
                    </a:lnTo>
                    <a:lnTo>
                      <a:pt x="37" y="112"/>
                    </a:lnTo>
                    <a:lnTo>
                      <a:pt x="26" y="119"/>
                    </a:lnTo>
                    <a:lnTo>
                      <a:pt x="8" y="130"/>
                    </a:lnTo>
                    <a:lnTo>
                      <a:pt x="8" y="130"/>
                    </a:lnTo>
                    <a:lnTo>
                      <a:pt x="5" y="130"/>
                    </a:lnTo>
                    <a:lnTo>
                      <a:pt x="1" y="131"/>
                    </a:lnTo>
                    <a:lnTo>
                      <a:pt x="0" y="129"/>
                    </a:lnTo>
                    <a:lnTo>
                      <a:pt x="0" y="129"/>
                    </a:lnTo>
                    <a:lnTo>
                      <a:pt x="4" y="127"/>
                    </a:lnTo>
                    <a:lnTo>
                      <a:pt x="4" y="127"/>
                    </a:lnTo>
                    <a:lnTo>
                      <a:pt x="8" y="125"/>
                    </a:lnTo>
                    <a:lnTo>
                      <a:pt x="12" y="122"/>
                    </a:lnTo>
                    <a:lnTo>
                      <a:pt x="12" y="122"/>
                    </a:lnTo>
                    <a:lnTo>
                      <a:pt x="19" y="119"/>
                    </a:lnTo>
                    <a:lnTo>
                      <a:pt x="19" y="119"/>
                    </a:lnTo>
                    <a:lnTo>
                      <a:pt x="24" y="114"/>
                    </a:lnTo>
                    <a:lnTo>
                      <a:pt x="30" y="108"/>
                    </a:lnTo>
                    <a:lnTo>
                      <a:pt x="30" y="108"/>
                    </a:lnTo>
                    <a:lnTo>
                      <a:pt x="34" y="107"/>
                    </a:lnTo>
                    <a:lnTo>
                      <a:pt x="38" y="103"/>
                    </a:lnTo>
                    <a:lnTo>
                      <a:pt x="38" y="103"/>
                    </a:lnTo>
                    <a:lnTo>
                      <a:pt x="42" y="97"/>
                    </a:lnTo>
                    <a:lnTo>
                      <a:pt x="45" y="92"/>
                    </a:lnTo>
                    <a:lnTo>
                      <a:pt x="45" y="92"/>
                    </a:lnTo>
                    <a:lnTo>
                      <a:pt x="47" y="88"/>
                    </a:lnTo>
                    <a:lnTo>
                      <a:pt x="47" y="83"/>
                    </a:lnTo>
                    <a:lnTo>
                      <a:pt x="49" y="77"/>
                    </a:lnTo>
                    <a:lnTo>
                      <a:pt x="52" y="72"/>
                    </a:lnTo>
                    <a:lnTo>
                      <a:pt x="52" y="72"/>
                    </a:lnTo>
                    <a:lnTo>
                      <a:pt x="58" y="70"/>
                    </a:lnTo>
                    <a:lnTo>
                      <a:pt x="58" y="70"/>
                    </a:lnTo>
                    <a:lnTo>
                      <a:pt x="61" y="65"/>
                    </a:lnTo>
                    <a:lnTo>
                      <a:pt x="64" y="59"/>
                    </a:lnTo>
                    <a:lnTo>
                      <a:pt x="65" y="54"/>
                    </a:lnTo>
                    <a:lnTo>
                      <a:pt x="66" y="49"/>
                    </a:lnTo>
                    <a:lnTo>
                      <a:pt x="66" y="49"/>
                    </a:lnTo>
                    <a:lnTo>
                      <a:pt x="75" y="40"/>
                    </a:lnTo>
                    <a:lnTo>
                      <a:pt x="85" y="32"/>
                    </a:lnTo>
                    <a:lnTo>
                      <a:pt x="85" y="32"/>
                    </a:lnTo>
                    <a:lnTo>
                      <a:pt x="88" y="30"/>
                    </a:lnTo>
                    <a:lnTo>
                      <a:pt x="92" y="30"/>
                    </a:lnTo>
                    <a:lnTo>
                      <a:pt x="96" y="30"/>
                    </a:lnTo>
                    <a:lnTo>
                      <a:pt x="100" y="28"/>
                    </a:lnTo>
                    <a:lnTo>
                      <a:pt x="100" y="28"/>
                    </a:lnTo>
                    <a:lnTo>
                      <a:pt x="106" y="24"/>
                    </a:lnTo>
                    <a:lnTo>
                      <a:pt x="111" y="19"/>
                    </a:lnTo>
                    <a:lnTo>
                      <a:pt x="111" y="19"/>
                    </a:lnTo>
                    <a:lnTo>
                      <a:pt x="118" y="16"/>
                    </a:lnTo>
                    <a:lnTo>
                      <a:pt x="119" y="13"/>
                    </a:lnTo>
                    <a:lnTo>
                      <a:pt x="121" y="12"/>
                    </a:lnTo>
                    <a:lnTo>
                      <a:pt x="121" y="9"/>
                    </a:lnTo>
                    <a:lnTo>
                      <a:pt x="118" y="7"/>
                    </a:lnTo>
                    <a:lnTo>
                      <a:pt x="119" y="5"/>
                    </a:lnTo>
                    <a:lnTo>
                      <a:pt x="119" y="5"/>
                    </a:lnTo>
                    <a:lnTo>
                      <a:pt x="125" y="5"/>
                    </a:lnTo>
                    <a:lnTo>
                      <a:pt x="129" y="4"/>
                    </a:lnTo>
                    <a:lnTo>
                      <a:pt x="132" y="1"/>
                    </a:lnTo>
                    <a:lnTo>
                      <a:pt x="134" y="0"/>
                    </a:lnTo>
                    <a:lnTo>
                      <a:pt x="136" y="1"/>
                    </a:lnTo>
                    <a:lnTo>
                      <a:pt x="136" y="1"/>
                    </a:lnTo>
                    <a:lnTo>
                      <a:pt x="136" y="5"/>
                    </a:lnTo>
                    <a:lnTo>
                      <a:pt x="136" y="9"/>
                    </a:lnTo>
                    <a:lnTo>
                      <a:pt x="133" y="12"/>
                    </a:lnTo>
                    <a:lnTo>
                      <a:pt x="130" y="13"/>
                    </a:lnTo>
                    <a:lnTo>
                      <a:pt x="13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2" name="Freeform 382">
                <a:extLst>
                  <a:ext uri="{FF2B5EF4-FFF2-40B4-BE49-F238E27FC236}">
                    <a16:creationId xmlns:a16="http://schemas.microsoft.com/office/drawing/2014/main" id="{176D71DF-1FF5-4B93-9D71-EC94728BEECE}"/>
                  </a:ext>
                </a:extLst>
              </p:cNvPr>
              <p:cNvSpPr>
                <a:spLocks/>
              </p:cNvSpPr>
              <p:nvPr/>
            </p:nvSpPr>
            <p:spPr bwMode="auto">
              <a:xfrm>
                <a:off x="2479675" y="2771844"/>
                <a:ext cx="39688" cy="42863"/>
              </a:xfrm>
              <a:custGeom>
                <a:avLst/>
                <a:gdLst>
                  <a:gd name="T0" fmla="*/ 5 w 52"/>
                  <a:gd name="T1" fmla="*/ 54 h 54"/>
                  <a:gd name="T2" fmla="*/ 2 w 52"/>
                  <a:gd name="T3" fmla="*/ 54 h 54"/>
                  <a:gd name="T4" fmla="*/ 2 w 52"/>
                  <a:gd name="T5" fmla="*/ 54 h 54"/>
                  <a:gd name="T6" fmla="*/ 0 w 52"/>
                  <a:gd name="T7" fmla="*/ 53 h 54"/>
                  <a:gd name="T8" fmla="*/ 0 w 52"/>
                  <a:gd name="T9" fmla="*/ 50 h 54"/>
                  <a:gd name="T10" fmla="*/ 2 w 52"/>
                  <a:gd name="T11" fmla="*/ 44 h 54"/>
                  <a:gd name="T12" fmla="*/ 2 w 52"/>
                  <a:gd name="T13" fmla="*/ 44 h 54"/>
                  <a:gd name="T14" fmla="*/ 5 w 52"/>
                  <a:gd name="T15" fmla="*/ 42 h 54"/>
                  <a:gd name="T16" fmla="*/ 9 w 52"/>
                  <a:gd name="T17" fmla="*/ 40 h 54"/>
                  <a:gd name="T18" fmla="*/ 9 w 52"/>
                  <a:gd name="T19" fmla="*/ 40 h 54"/>
                  <a:gd name="T20" fmla="*/ 25 w 52"/>
                  <a:gd name="T21" fmla="*/ 21 h 54"/>
                  <a:gd name="T22" fmla="*/ 40 w 52"/>
                  <a:gd name="T23" fmla="*/ 6 h 54"/>
                  <a:gd name="T24" fmla="*/ 40 w 52"/>
                  <a:gd name="T25" fmla="*/ 6 h 54"/>
                  <a:gd name="T26" fmla="*/ 52 w 52"/>
                  <a:gd name="T27" fmla="*/ 0 h 54"/>
                  <a:gd name="T28" fmla="*/ 52 w 52"/>
                  <a:gd name="T29" fmla="*/ 2 h 54"/>
                  <a:gd name="T30" fmla="*/ 52 w 52"/>
                  <a:gd name="T31" fmla="*/ 2 h 54"/>
                  <a:gd name="T32" fmla="*/ 49 w 52"/>
                  <a:gd name="T33" fmla="*/ 6 h 54"/>
                  <a:gd name="T34" fmla="*/ 47 w 52"/>
                  <a:gd name="T35" fmla="*/ 10 h 54"/>
                  <a:gd name="T36" fmla="*/ 42 w 52"/>
                  <a:gd name="T37" fmla="*/ 12 h 54"/>
                  <a:gd name="T38" fmla="*/ 40 w 52"/>
                  <a:gd name="T39" fmla="*/ 16 h 54"/>
                  <a:gd name="T40" fmla="*/ 40 w 52"/>
                  <a:gd name="T41" fmla="*/ 16 h 54"/>
                  <a:gd name="T42" fmla="*/ 38 w 52"/>
                  <a:gd name="T43" fmla="*/ 21 h 54"/>
                  <a:gd name="T44" fmla="*/ 36 w 52"/>
                  <a:gd name="T45" fmla="*/ 25 h 54"/>
                  <a:gd name="T46" fmla="*/ 36 w 52"/>
                  <a:gd name="T47" fmla="*/ 25 h 54"/>
                  <a:gd name="T48" fmla="*/ 30 w 52"/>
                  <a:gd name="T49" fmla="*/ 30 h 54"/>
                  <a:gd name="T50" fmla="*/ 25 w 52"/>
                  <a:gd name="T51" fmla="*/ 34 h 54"/>
                  <a:gd name="T52" fmla="*/ 25 w 52"/>
                  <a:gd name="T53" fmla="*/ 34 h 54"/>
                  <a:gd name="T54" fmla="*/ 17 w 52"/>
                  <a:gd name="T55" fmla="*/ 44 h 54"/>
                  <a:gd name="T56" fmla="*/ 9 w 52"/>
                  <a:gd name="T57" fmla="*/ 52 h 54"/>
                  <a:gd name="T58" fmla="*/ 9 w 52"/>
                  <a:gd name="T59" fmla="*/ 52 h 54"/>
                  <a:gd name="T60" fmla="*/ 5 w 52"/>
                  <a:gd name="T61" fmla="*/ 54 h 54"/>
                  <a:gd name="T62" fmla="*/ 5 w 52"/>
                  <a:gd name="T6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4">
                    <a:moveTo>
                      <a:pt x="5" y="54"/>
                    </a:moveTo>
                    <a:lnTo>
                      <a:pt x="2" y="54"/>
                    </a:lnTo>
                    <a:lnTo>
                      <a:pt x="2" y="54"/>
                    </a:lnTo>
                    <a:lnTo>
                      <a:pt x="0" y="53"/>
                    </a:lnTo>
                    <a:lnTo>
                      <a:pt x="0" y="50"/>
                    </a:lnTo>
                    <a:lnTo>
                      <a:pt x="2" y="44"/>
                    </a:lnTo>
                    <a:lnTo>
                      <a:pt x="2" y="44"/>
                    </a:lnTo>
                    <a:lnTo>
                      <a:pt x="5" y="42"/>
                    </a:lnTo>
                    <a:lnTo>
                      <a:pt x="9" y="40"/>
                    </a:lnTo>
                    <a:lnTo>
                      <a:pt x="9" y="40"/>
                    </a:lnTo>
                    <a:lnTo>
                      <a:pt x="25" y="21"/>
                    </a:lnTo>
                    <a:lnTo>
                      <a:pt x="40" y="6"/>
                    </a:lnTo>
                    <a:lnTo>
                      <a:pt x="40" y="6"/>
                    </a:lnTo>
                    <a:lnTo>
                      <a:pt x="52" y="0"/>
                    </a:lnTo>
                    <a:lnTo>
                      <a:pt x="52" y="2"/>
                    </a:lnTo>
                    <a:lnTo>
                      <a:pt x="52" y="2"/>
                    </a:lnTo>
                    <a:lnTo>
                      <a:pt x="49" y="6"/>
                    </a:lnTo>
                    <a:lnTo>
                      <a:pt x="47" y="10"/>
                    </a:lnTo>
                    <a:lnTo>
                      <a:pt x="42" y="12"/>
                    </a:lnTo>
                    <a:lnTo>
                      <a:pt x="40" y="16"/>
                    </a:lnTo>
                    <a:lnTo>
                      <a:pt x="40" y="16"/>
                    </a:lnTo>
                    <a:lnTo>
                      <a:pt x="38" y="21"/>
                    </a:lnTo>
                    <a:lnTo>
                      <a:pt x="36" y="25"/>
                    </a:lnTo>
                    <a:lnTo>
                      <a:pt x="36" y="25"/>
                    </a:lnTo>
                    <a:lnTo>
                      <a:pt x="30" y="30"/>
                    </a:lnTo>
                    <a:lnTo>
                      <a:pt x="25" y="34"/>
                    </a:lnTo>
                    <a:lnTo>
                      <a:pt x="25" y="34"/>
                    </a:lnTo>
                    <a:lnTo>
                      <a:pt x="17" y="44"/>
                    </a:lnTo>
                    <a:lnTo>
                      <a:pt x="9" y="52"/>
                    </a:lnTo>
                    <a:lnTo>
                      <a:pt x="9" y="52"/>
                    </a:lnTo>
                    <a:lnTo>
                      <a:pt x="5" y="54"/>
                    </a:lnTo>
                    <a:lnTo>
                      <a:pt x="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273" name="Freeform 383">
                <a:extLst>
                  <a:ext uri="{FF2B5EF4-FFF2-40B4-BE49-F238E27FC236}">
                    <a16:creationId xmlns:a16="http://schemas.microsoft.com/office/drawing/2014/main" id="{1014A179-BCF5-49CB-A5FB-5C439CB5BDAE}"/>
                  </a:ext>
                </a:extLst>
              </p:cNvPr>
              <p:cNvSpPr>
                <a:spLocks/>
              </p:cNvSpPr>
              <p:nvPr/>
            </p:nvSpPr>
            <p:spPr bwMode="auto">
              <a:xfrm>
                <a:off x="2563813" y="2587694"/>
                <a:ext cx="100013" cy="122238"/>
              </a:xfrm>
              <a:custGeom>
                <a:avLst/>
                <a:gdLst>
                  <a:gd name="T0" fmla="*/ 0 w 126"/>
                  <a:gd name="T1" fmla="*/ 154 h 155"/>
                  <a:gd name="T2" fmla="*/ 0 w 126"/>
                  <a:gd name="T3" fmla="*/ 149 h 155"/>
                  <a:gd name="T4" fmla="*/ 1 w 126"/>
                  <a:gd name="T5" fmla="*/ 145 h 155"/>
                  <a:gd name="T6" fmla="*/ 8 w 126"/>
                  <a:gd name="T7" fmla="*/ 139 h 155"/>
                  <a:gd name="T8" fmla="*/ 12 w 126"/>
                  <a:gd name="T9" fmla="*/ 135 h 155"/>
                  <a:gd name="T10" fmla="*/ 19 w 126"/>
                  <a:gd name="T11" fmla="*/ 128 h 155"/>
                  <a:gd name="T12" fmla="*/ 25 w 126"/>
                  <a:gd name="T13" fmla="*/ 121 h 155"/>
                  <a:gd name="T14" fmla="*/ 38 w 126"/>
                  <a:gd name="T15" fmla="*/ 103 h 155"/>
                  <a:gd name="T16" fmla="*/ 54 w 126"/>
                  <a:gd name="T17" fmla="*/ 90 h 155"/>
                  <a:gd name="T18" fmla="*/ 55 w 126"/>
                  <a:gd name="T19" fmla="*/ 87 h 155"/>
                  <a:gd name="T20" fmla="*/ 61 w 126"/>
                  <a:gd name="T21" fmla="*/ 82 h 155"/>
                  <a:gd name="T22" fmla="*/ 66 w 126"/>
                  <a:gd name="T23" fmla="*/ 75 h 155"/>
                  <a:gd name="T24" fmla="*/ 72 w 126"/>
                  <a:gd name="T25" fmla="*/ 65 h 155"/>
                  <a:gd name="T26" fmla="*/ 81 w 126"/>
                  <a:gd name="T27" fmla="*/ 52 h 155"/>
                  <a:gd name="T28" fmla="*/ 82 w 126"/>
                  <a:gd name="T29" fmla="*/ 46 h 155"/>
                  <a:gd name="T30" fmla="*/ 85 w 126"/>
                  <a:gd name="T31" fmla="*/ 44 h 155"/>
                  <a:gd name="T32" fmla="*/ 86 w 126"/>
                  <a:gd name="T33" fmla="*/ 37 h 155"/>
                  <a:gd name="T34" fmla="*/ 91 w 126"/>
                  <a:gd name="T35" fmla="*/ 35 h 155"/>
                  <a:gd name="T36" fmla="*/ 107 w 126"/>
                  <a:gd name="T37" fmla="*/ 18 h 155"/>
                  <a:gd name="T38" fmla="*/ 119 w 126"/>
                  <a:gd name="T39" fmla="*/ 2 h 155"/>
                  <a:gd name="T40" fmla="*/ 126 w 126"/>
                  <a:gd name="T41" fmla="*/ 0 h 155"/>
                  <a:gd name="T42" fmla="*/ 126 w 126"/>
                  <a:gd name="T43" fmla="*/ 3 h 155"/>
                  <a:gd name="T44" fmla="*/ 126 w 126"/>
                  <a:gd name="T45" fmla="*/ 6 h 155"/>
                  <a:gd name="T46" fmla="*/ 124 w 126"/>
                  <a:gd name="T47" fmla="*/ 12 h 155"/>
                  <a:gd name="T48" fmla="*/ 114 w 126"/>
                  <a:gd name="T49" fmla="*/ 22 h 155"/>
                  <a:gd name="T50" fmla="*/ 108 w 126"/>
                  <a:gd name="T51" fmla="*/ 27 h 155"/>
                  <a:gd name="T52" fmla="*/ 99 w 126"/>
                  <a:gd name="T53" fmla="*/ 41 h 155"/>
                  <a:gd name="T54" fmla="*/ 95 w 126"/>
                  <a:gd name="T55" fmla="*/ 44 h 155"/>
                  <a:gd name="T56" fmla="*/ 92 w 126"/>
                  <a:gd name="T57" fmla="*/ 48 h 155"/>
                  <a:gd name="T58" fmla="*/ 81 w 126"/>
                  <a:gd name="T59" fmla="*/ 64 h 155"/>
                  <a:gd name="T60" fmla="*/ 72 w 126"/>
                  <a:gd name="T61" fmla="*/ 80 h 155"/>
                  <a:gd name="T62" fmla="*/ 63 w 126"/>
                  <a:gd name="T63" fmla="*/ 88 h 155"/>
                  <a:gd name="T64" fmla="*/ 61 w 126"/>
                  <a:gd name="T65" fmla="*/ 92 h 155"/>
                  <a:gd name="T66" fmla="*/ 58 w 126"/>
                  <a:gd name="T67" fmla="*/ 98 h 155"/>
                  <a:gd name="T68" fmla="*/ 50 w 126"/>
                  <a:gd name="T69" fmla="*/ 103 h 155"/>
                  <a:gd name="T70" fmla="*/ 43 w 126"/>
                  <a:gd name="T71" fmla="*/ 109 h 155"/>
                  <a:gd name="T72" fmla="*/ 38 w 126"/>
                  <a:gd name="T73" fmla="*/ 118 h 155"/>
                  <a:gd name="T74" fmla="*/ 31 w 126"/>
                  <a:gd name="T75" fmla="*/ 126 h 155"/>
                  <a:gd name="T76" fmla="*/ 23 w 126"/>
                  <a:gd name="T77" fmla="*/ 135 h 155"/>
                  <a:gd name="T78" fmla="*/ 17 w 126"/>
                  <a:gd name="T79" fmla="*/ 140 h 155"/>
                  <a:gd name="T80" fmla="*/ 13 w 126"/>
                  <a:gd name="T81" fmla="*/ 145 h 155"/>
                  <a:gd name="T82" fmla="*/ 1 w 126"/>
                  <a:gd name="T8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55">
                    <a:moveTo>
                      <a:pt x="1" y="155"/>
                    </a:moveTo>
                    <a:lnTo>
                      <a:pt x="0" y="154"/>
                    </a:lnTo>
                    <a:lnTo>
                      <a:pt x="0" y="154"/>
                    </a:lnTo>
                    <a:lnTo>
                      <a:pt x="0" y="149"/>
                    </a:lnTo>
                    <a:lnTo>
                      <a:pt x="0" y="149"/>
                    </a:lnTo>
                    <a:lnTo>
                      <a:pt x="1" y="145"/>
                    </a:lnTo>
                    <a:lnTo>
                      <a:pt x="1" y="145"/>
                    </a:lnTo>
                    <a:lnTo>
                      <a:pt x="8" y="139"/>
                    </a:lnTo>
                    <a:lnTo>
                      <a:pt x="8" y="139"/>
                    </a:lnTo>
                    <a:lnTo>
                      <a:pt x="12" y="135"/>
                    </a:lnTo>
                    <a:lnTo>
                      <a:pt x="12" y="135"/>
                    </a:lnTo>
                    <a:lnTo>
                      <a:pt x="19" y="128"/>
                    </a:lnTo>
                    <a:lnTo>
                      <a:pt x="25" y="121"/>
                    </a:lnTo>
                    <a:lnTo>
                      <a:pt x="25" y="121"/>
                    </a:lnTo>
                    <a:lnTo>
                      <a:pt x="31" y="111"/>
                    </a:lnTo>
                    <a:lnTo>
                      <a:pt x="38" y="103"/>
                    </a:lnTo>
                    <a:lnTo>
                      <a:pt x="38" y="103"/>
                    </a:lnTo>
                    <a:lnTo>
                      <a:pt x="54" y="90"/>
                    </a:lnTo>
                    <a:lnTo>
                      <a:pt x="54" y="90"/>
                    </a:lnTo>
                    <a:lnTo>
                      <a:pt x="55" y="87"/>
                    </a:lnTo>
                    <a:lnTo>
                      <a:pt x="55" y="87"/>
                    </a:lnTo>
                    <a:lnTo>
                      <a:pt x="61" y="82"/>
                    </a:lnTo>
                    <a:lnTo>
                      <a:pt x="66" y="75"/>
                    </a:lnTo>
                    <a:lnTo>
                      <a:pt x="66" y="75"/>
                    </a:lnTo>
                    <a:lnTo>
                      <a:pt x="72" y="65"/>
                    </a:lnTo>
                    <a:lnTo>
                      <a:pt x="72" y="65"/>
                    </a:lnTo>
                    <a:lnTo>
                      <a:pt x="77" y="59"/>
                    </a:lnTo>
                    <a:lnTo>
                      <a:pt x="81" y="52"/>
                    </a:lnTo>
                    <a:lnTo>
                      <a:pt x="81" y="52"/>
                    </a:lnTo>
                    <a:lnTo>
                      <a:pt x="82" y="46"/>
                    </a:lnTo>
                    <a:lnTo>
                      <a:pt x="82" y="46"/>
                    </a:lnTo>
                    <a:lnTo>
                      <a:pt x="85" y="44"/>
                    </a:lnTo>
                    <a:lnTo>
                      <a:pt x="85" y="40"/>
                    </a:lnTo>
                    <a:lnTo>
                      <a:pt x="86" y="37"/>
                    </a:lnTo>
                    <a:lnTo>
                      <a:pt x="86" y="37"/>
                    </a:lnTo>
                    <a:lnTo>
                      <a:pt x="91" y="35"/>
                    </a:lnTo>
                    <a:lnTo>
                      <a:pt x="96" y="31"/>
                    </a:lnTo>
                    <a:lnTo>
                      <a:pt x="107" y="18"/>
                    </a:lnTo>
                    <a:lnTo>
                      <a:pt x="115" y="6"/>
                    </a:lnTo>
                    <a:lnTo>
                      <a:pt x="119" y="2"/>
                    </a:lnTo>
                    <a:lnTo>
                      <a:pt x="123" y="0"/>
                    </a:lnTo>
                    <a:lnTo>
                      <a:pt x="126" y="0"/>
                    </a:lnTo>
                    <a:lnTo>
                      <a:pt x="126" y="0"/>
                    </a:lnTo>
                    <a:lnTo>
                      <a:pt x="126" y="3"/>
                    </a:lnTo>
                    <a:lnTo>
                      <a:pt x="126" y="6"/>
                    </a:lnTo>
                    <a:lnTo>
                      <a:pt x="126" y="6"/>
                    </a:lnTo>
                    <a:lnTo>
                      <a:pt x="126" y="8"/>
                    </a:lnTo>
                    <a:lnTo>
                      <a:pt x="124" y="12"/>
                    </a:lnTo>
                    <a:lnTo>
                      <a:pt x="119" y="18"/>
                    </a:lnTo>
                    <a:lnTo>
                      <a:pt x="114" y="22"/>
                    </a:lnTo>
                    <a:lnTo>
                      <a:pt x="108" y="27"/>
                    </a:lnTo>
                    <a:lnTo>
                      <a:pt x="108" y="27"/>
                    </a:lnTo>
                    <a:lnTo>
                      <a:pt x="104" y="34"/>
                    </a:lnTo>
                    <a:lnTo>
                      <a:pt x="99" y="41"/>
                    </a:lnTo>
                    <a:lnTo>
                      <a:pt x="99" y="41"/>
                    </a:lnTo>
                    <a:lnTo>
                      <a:pt x="95" y="44"/>
                    </a:lnTo>
                    <a:lnTo>
                      <a:pt x="95" y="44"/>
                    </a:lnTo>
                    <a:lnTo>
                      <a:pt x="92" y="48"/>
                    </a:lnTo>
                    <a:lnTo>
                      <a:pt x="92" y="48"/>
                    </a:lnTo>
                    <a:lnTo>
                      <a:pt x="81" y="64"/>
                    </a:lnTo>
                    <a:lnTo>
                      <a:pt x="72" y="80"/>
                    </a:lnTo>
                    <a:lnTo>
                      <a:pt x="72" y="80"/>
                    </a:lnTo>
                    <a:lnTo>
                      <a:pt x="67" y="84"/>
                    </a:lnTo>
                    <a:lnTo>
                      <a:pt x="63" y="88"/>
                    </a:lnTo>
                    <a:lnTo>
                      <a:pt x="63" y="88"/>
                    </a:lnTo>
                    <a:lnTo>
                      <a:pt x="61" y="92"/>
                    </a:lnTo>
                    <a:lnTo>
                      <a:pt x="58" y="98"/>
                    </a:lnTo>
                    <a:lnTo>
                      <a:pt x="58" y="98"/>
                    </a:lnTo>
                    <a:lnTo>
                      <a:pt x="54" y="101"/>
                    </a:lnTo>
                    <a:lnTo>
                      <a:pt x="50" y="103"/>
                    </a:lnTo>
                    <a:lnTo>
                      <a:pt x="43" y="109"/>
                    </a:lnTo>
                    <a:lnTo>
                      <a:pt x="43" y="109"/>
                    </a:lnTo>
                    <a:lnTo>
                      <a:pt x="40" y="113"/>
                    </a:lnTo>
                    <a:lnTo>
                      <a:pt x="38" y="118"/>
                    </a:lnTo>
                    <a:lnTo>
                      <a:pt x="38" y="118"/>
                    </a:lnTo>
                    <a:lnTo>
                      <a:pt x="31" y="126"/>
                    </a:lnTo>
                    <a:lnTo>
                      <a:pt x="23" y="135"/>
                    </a:lnTo>
                    <a:lnTo>
                      <a:pt x="23" y="135"/>
                    </a:lnTo>
                    <a:lnTo>
                      <a:pt x="17" y="140"/>
                    </a:lnTo>
                    <a:lnTo>
                      <a:pt x="17" y="140"/>
                    </a:lnTo>
                    <a:lnTo>
                      <a:pt x="13" y="145"/>
                    </a:lnTo>
                    <a:lnTo>
                      <a:pt x="13" y="145"/>
                    </a:lnTo>
                    <a:lnTo>
                      <a:pt x="8" y="151"/>
                    </a:lnTo>
                    <a:lnTo>
                      <a:pt x="1" y="155"/>
                    </a:lnTo>
                    <a:lnTo>
                      <a:pt x="1"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sp>
          <p:nvSpPr>
            <p:cNvPr id="109" name="Freeform 202">
              <a:extLst>
                <a:ext uri="{FF2B5EF4-FFF2-40B4-BE49-F238E27FC236}">
                  <a16:creationId xmlns:a16="http://schemas.microsoft.com/office/drawing/2014/main" id="{FCFA797A-704B-4EBF-A6B6-B9C695539FB7}"/>
                </a:ext>
              </a:extLst>
            </p:cNvPr>
            <p:cNvSpPr>
              <a:spLocks/>
            </p:cNvSpPr>
            <p:nvPr/>
          </p:nvSpPr>
          <p:spPr bwMode="auto">
            <a:xfrm>
              <a:off x="2035175" y="3300481"/>
              <a:ext cx="142875" cy="176213"/>
            </a:xfrm>
            <a:custGeom>
              <a:avLst/>
              <a:gdLst>
                <a:gd name="T0" fmla="*/ 67 w 182"/>
                <a:gd name="T1" fmla="*/ 128 h 221"/>
                <a:gd name="T2" fmla="*/ 75 w 182"/>
                <a:gd name="T3" fmla="*/ 116 h 221"/>
                <a:gd name="T4" fmla="*/ 86 w 182"/>
                <a:gd name="T5" fmla="*/ 108 h 221"/>
                <a:gd name="T6" fmla="*/ 95 w 182"/>
                <a:gd name="T7" fmla="*/ 96 h 221"/>
                <a:gd name="T8" fmla="*/ 75 w 182"/>
                <a:gd name="T9" fmla="*/ 93 h 221"/>
                <a:gd name="T10" fmla="*/ 63 w 182"/>
                <a:gd name="T11" fmla="*/ 96 h 221"/>
                <a:gd name="T12" fmla="*/ 57 w 182"/>
                <a:gd name="T13" fmla="*/ 111 h 221"/>
                <a:gd name="T14" fmla="*/ 39 w 182"/>
                <a:gd name="T15" fmla="*/ 141 h 221"/>
                <a:gd name="T16" fmla="*/ 18 w 182"/>
                <a:gd name="T17" fmla="*/ 158 h 221"/>
                <a:gd name="T18" fmla="*/ 6 w 182"/>
                <a:gd name="T19" fmla="*/ 162 h 221"/>
                <a:gd name="T20" fmla="*/ 1 w 182"/>
                <a:gd name="T21" fmla="*/ 149 h 221"/>
                <a:gd name="T22" fmla="*/ 8 w 182"/>
                <a:gd name="T23" fmla="*/ 141 h 221"/>
                <a:gd name="T24" fmla="*/ 7 w 182"/>
                <a:gd name="T25" fmla="*/ 131 h 221"/>
                <a:gd name="T26" fmla="*/ 14 w 182"/>
                <a:gd name="T27" fmla="*/ 119 h 221"/>
                <a:gd name="T28" fmla="*/ 18 w 182"/>
                <a:gd name="T29" fmla="*/ 111 h 221"/>
                <a:gd name="T30" fmla="*/ 23 w 182"/>
                <a:gd name="T31" fmla="*/ 95 h 221"/>
                <a:gd name="T32" fmla="*/ 12 w 182"/>
                <a:gd name="T33" fmla="*/ 90 h 221"/>
                <a:gd name="T34" fmla="*/ 25 w 182"/>
                <a:gd name="T35" fmla="*/ 74 h 221"/>
                <a:gd name="T36" fmla="*/ 23 w 182"/>
                <a:gd name="T37" fmla="*/ 61 h 221"/>
                <a:gd name="T38" fmla="*/ 25 w 182"/>
                <a:gd name="T39" fmla="*/ 52 h 221"/>
                <a:gd name="T40" fmla="*/ 39 w 182"/>
                <a:gd name="T41" fmla="*/ 52 h 221"/>
                <a:gd name="T42" fmla="*/ 49 w 182"/>
                <a:gd name="T43" fmla="*/ 43 h 221"/>
                <a:gd name="T44" fmla="*/ 60 w 182"/>
                <a:gd name="T45" fmla="*/ 36 h 221"/>
                <a:gd name="T46" fmla="*/ 72 w 182"/>
                <a:gd name="T47" fmla="*/ 32 h 221"/>
                <a:gd name="T48" fmla="*/ 67 w 182"/>
                <a:gd name="T49" fmla="*/ 54 h 221"/>
                <a:gd name="T50" fmla="*/ 71 w 182"/>
                <a:gd name="T51" fmla="*/ 71 h 221"/>
                <a:gd name="T52" fmla="*/ 71 w 182"/>
                <a:gd name="T53" fmla="*/ 65 h 221"/>
                <a:gd name="T54" fmla="*/ 73 w 182"/>
                <a:gd name="T55" fmla="*/ 58 h 221"/>
                <a:gd name="T56" fmla="*/ 77 w 182"/>
                <a:gd name="T57" fmla="*/ 47 h 221"/>
                <a:gd name="T58" fmla="*/ 92 w 182"/>
                <a:gd name="T59" fmla="*/ 33 h 221"/>
                <a:gd name="T60" fmla="*/ 105 w 182"/>
                <a:gd name="T61" fmla="*/ 21 h 221"/>
                <a:gd name="T62" fmla="*/ 121 w 182"/>
                <a:gd name="T63" fmla="*/ 6 h 221"/>
                <a:gd name="T64" fmla="*/ 134 w 182"/>
                <a:gd name="T65" fmla="*/ 2 h 221"/>
                <a:gd name="T66" fmla="*/ 144 w 182"/>
                <a:gd name="T67" fmla="*/ 0 h 221"/>
                <a:gd name="T68" fmla="*/ 144 w 182"/>
                <a:gd name="T69" fmla="*/ 33 h 221"/>
                <a:gd name="T70" fmla="*/ 149 w 182"/>
                <a:gd name="T71" fmla="*/ 44 h 221"/>
                <a:gd name="T72" fmla="*/ 153 w 182"/>
                <a:gd name="T73" fmla="*/ 62 h 221"/>
                <a:gd name="T74" fmla="*/ 151 w 182"/>
                <a:gd name="T75" fmla="*/ 74 h 221"/>
                <a:gd name="T76" fmla="*/ 159 w 182"/>
                <a:gd name="T77" fmla="*/ 96 h 221"/>
                <a:gd name="T78" fmla="*/ 172 w 182"/>
                <a:gd name="T79" fmla="*/ 108 h 221"/>
                <a:gd name="T80" fmla="*/ 172 w 182"/>
                <a:gd name="T81" fmla="*/ 126 h 221"/>
                <a:gd name="T82" fmla="*/ 178 w 182"/>
                <a:gd name="T83" fmla="*/ 135 h 221"/>
                <a:gd name="T84" fmla="*/ 178 w 182"/>
                <a:gd name="T85" fmla="*/ 146 h 221"/>
                <a:gd name="T86" fmla="*/ 179 w 182"/>
                <a:gd name="T87" fmla="*/ 154 h 221"/>
                <a:gd name="T88" fmla="*/ 176 w 182"/>
                <a:gd name="T89" fmla="*/ 162 h 221"/>
                <a:gd name="T90" fmla="*/ 171 w 182"/>
                <a:gd name="T91" fmla="*/ 164 h 221"/>
                <a:gd name="T92" fmla="*/ 164 w 182"/>
                <a:gd name="T93" fmla="*/ 168 h 221"/>
                <a:gd name="T94" fmla="*/ 162 w 182"/>
                <a:gd name="T95" fmla="*/ 175 h 221"/>
                <a:gd name="T96" fmla="*/ 157 w 182"/>
                <a:gd name="T97" fmla="*/ 179 h 221"/>
                <a:gd name="T98" fmla="*/ 136 w 182"/>
                <a:gd name="T99" fmla="*/ 192 h 221"/>
                <a:gd name="T100" fmla="*/ 122 w 182"/>
                <a:gd name="T101" fmla="*/ 194 h 221"/>
                <a:gd name="T102" fmla="*/ 119 w 182"/>
                <a:gd name="T103" fmla="*/ 188 h 221"/>
                <a:gd name="T104" fmla="*/ 111 w 182"/>
                <a:gd name="T105" fmla="*/ 194 h 221"/>
                <a:gd name="T106" fmla="*/ 102 w 182"/>
                <a:gd name="T107" fmla="*/ 213 h 221"/>
                <a:gd name="T108" fmla="*/ 94 w 182"/>
                <a:gd name="T109" fmla="*/ 217 h 221"/>
                <a:gd name="T110" fmla="*/ 76 w 182"/>
                <a:gd name="T111" fmla="*/ 218 h 221"/>
                <a:gd name="T112" fmla="*/ 68 w 182"/>
                <a:gd name="T113" fmla="*/ 210 h 221"/>
                <a:gd name="T114" fmla="*/ 68 w 182"/>
                <a:gd name="T115" fmla="*/ 196 h 221"/>
                <a:gd name="T116" fmla="*/ 91 w 182"/>
                <a:gd name="T117" fmla="*/ 177 h 221"/>
                <a:gd name="T118" fmla="*/ 91 w 182"/>
                <a:gd name="T119" fmla="*/ 153 h 221"/>
                <a:gd name="T120" fmla="*/ 75 w 182"/>
                <a:gd name="T121"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221">
                  <a:moveTo>
                    <a:pt x="75" y="135"/>
                  </a:moveTo>
                  <a:lnTo>
                    <a:pt x="69" y="138"/>
                  </a:lnTo>
                  <a:lnTo>
                    <a:pt x="67" y="135"/>
                  </a:lnTo>
                  <a:lnTo>
                    <a:pt x="68" y="131"/>
                  </a:lnTo>
                  <a:lnTo>
                    <a:pt x="67" y="128"/>
                  </a:lnTo>
                  <a:lnTo>
                    <a:pt x="69" y="124"/>
                  </a:lnTo>
                  <a:lnTo>
                    <a:pt x="68" y="122"/>
                  </a:lnTo>
                  <a:lnTo>
                    <a:pt x="69" y="120"/>
                  </a:lnTo>
                  <a:lnTo>
                    <a:pt x="75" y="119"/>
                  </a:lnTo>
                  <a:lnTo>
                    <a:pt x="75" y="116"/>
                  </a:lnTo>
                  <a:lnTo>
                    <a:pt x="79" y="116"/>
                  </a:lnTo>
                  <a:lnTo>
                    <a:pt x="79" y="116"/>
                  </a:lnTo>
                  <a:lnTo>
                    <a:pt x="81" y="112"/>
                  </a:lnTo>
                  <a:lnTo>
                    <a:pt x="86" y="108"/>
                  </a:lnTo>
                  <a:lnTo>
                    <a:pt x="86" y="108"/>
                  </a:lnTo>
                  <a:lnTo>
                    <a:pt x="90" y="108"/>
                  </a:lnTo>
                  <a:lnTo>
                    <a:pt x="94" y="105"/>
                  </a:lnTo>
                  <a:lnTo>
                    <a:pt x="94" y="103"/>
                  </a:lnTo>
                  <a:lnTo>
                    <a:pt x="98" y="101"/>
                  </a:lnTo>
                  <a:lnTo>
                    <a:pt x="95" y="96"/>
                  </a:lnTo>
                  <a:lnTo>
                    <a:pt x="95" y="95"/>
                  </a:lnTo>
                  <a:lnTo>
                    <a:pt x="87" y="96"/>
                  </a:lnTo>
                  <a:lnTo>
                    <a:pt x="83" y="95"/>
                  </a:lnTo>
                  <a:lnTo>
                    <a:pt x="77" y="95"/>
                  </a:lnTo>
                  <a:lnTo>
                    <a:pt x="75" y="93"/>
                  </a:lnTo>
                  <a:lnTo>
                    <a:pt x="75" y="93"/>
                  </a:lnTo>
                  <a:lnTo>
                    <a:pt x="69" y="93"/>
                  </a:lnTo>
                  <a:lnTo>
                    <a:pt x="64" y="95"/>
                  </a:lnTo>
                  <a:lnTo>
                    <a:pt x="64" y="95"/>
                  </a:lnTo>
                  <a:lnTo>
                    <a:pt x="63" y="96"/>
                  </a:lnTo>
                  <a:lnTo>
                    <a:pt x="61" y="99"/>
                  </a:lnTo>
                  <a:lnTo>
                    <a:pt x="60" y="104"/>
                  </a:lnTo>
                  <a:lnTo>
                    <a:pt x="60" y="104"/>
                  </a:lnTo>
                  <a:lnTo>
                    <a:pt x="57" y="111"/>
                  </a:lnTo>
                  <a:lnTo>
                    <a:pt x="57" y="111"/>
                  </a:lnTo>
                  <a:lnTo>
                    <a:pt x="53" y="123"/>
                  </a:lnTo>
                  <a:lnTo>
                    <a:pt x="53" y="123"/>
                  </a:lnTo>
                  <a:lnTo>
                    <a:pt x="52" y="124"/>
                  </a:lnTo>
                  <a:lnTo>
                    <a:pt x="52" y="124"/>
                  </a:lnTo>
                  <a:lnTo>
                    <a:pt x="39" y="141"/>
                  </a:lnTo>
                  <a:lnTo>
                    <a:pt x="33" y="147"/>
                  </a:lnTo>
                  <a:lnTo>
                    <a:pt x="25" y="154"/>
                  </a:lnTo>
                  <a:lnTo>
                    <a:pt x="25" y="154"/>
                  </a:lnTo>
                  <a:lnTo>
                    <a:pt x="22" y="157"/>
                  </a:lnTo>
                  <a:lnTo>
                    <a:pt x="18" y="158"/>
                  </a:lnTo>
                  <a:lnTo>
                    <a:pt x="18" y="160"/>
                  </a:lnTo>
                  <a:lnTo>
                    <a:pt x="14" y="164"/>
                  </a:lnTo>
                  <a:lnTo>
                    <a:pt x="14" y="164"/>
                  </a:lnTo>
                  <a:lnTo>
                    <a:pt x="10" y="162"/>
                  </a:lnTo>
                  <a:lnTo>
                    <a:pt x="6" y="162"/>
                  </a:lnTo>
                  <a:lnTo>
                    <a:pt x="3" y="156"/>
                  </a:lnTo>
                  <a:lnTo>
                    <a:pt x="3" y="153"/>
                  </a:lnTo>
                  <a:lnTo>
                    <a:pt x="0" y="153"/>
                  </a:lnTo>
                  <a:lnTo>
                    <a:pt x="0" y="150"/>
                  </a:lnTo>
                  <a:lnTo>
                    <a:pt x="1" y="149"/>
                  </a:lnTo>
                  <a:lnTo>
                    <a:pt x="1" y="149"/>
                  </a:lnTo>
                  <a:lnTo>
                    <a:pt x="4" y="145"/>
                  </a:lnTo>
                  <a:lnTo>
                    <a:pt x="8" y="142"/>
                  </a:lnTo>
                  <a:lnTo>
                    <a:pt x="8" y="141"/>
                  </a:lnTo>
                  <a:lnTo>
                    <a:pt x="8" y="141"/>
                  </a:lnTo>
                  <a:lnTo>
                    <a:pt x="10" y="138"/>
                  </a:lnTo>
                  <a:lnTo>
                    <a:pt x="11" y="137"/>
                  </a:lnTo>
                  <a:lnTo>
                    <a:pt x="6" y="135"/>
                  </a:lnTo>
                  <a:lnTo>
                    <a:pt x="6" y="135"/>
                  </a:lnTo>
                  <a:lnTo>
                    <a:pt x="7" y="131"/>
                  </a:lnTo>
                  <a:lnTo>
                    <a:pt x="8" y="127"/>
                  </a:lnTo>
                  <a:lnTo>
                    <a:pt x="10" y="124"/>
                  </a:lnTo>
                  <a:lnTo>
                    <a:pt x="12" y="122"/>
                  </a:lnTo>
                  <a:lnTo>
                    <a:pt x="14" y="119"/>
                  </a:lnTo>
                  <a:lnTo>
                    <a:pt x="14" y="119"/>
                  </a:lnTo>
                  <a:lnTo>
                    <a:pt x="16" y="116"/>
                  </a:lnTo>
                  <a:lnTo>
                    <a:pt x="22" y="114"/>
                  </a:lnTo>
                  <a:lnTo>
                    <a:pt x="19" y="112"/>
                  </a:lnTo>
                  <a:lnTo>
                    <a:pt x="19" y="112"/>
                  </a:lnTo>
                  <a:lnTo>
                    <a:pt x="18" y="111"/>
                  </a:lnTo>
                  <a:lnTo>
                    <a:pt x="19" y="109"/>
                  </a:lnTo>
                  <a:lnTo>
                    <a:pt x="20" y="105"/>
                  </a:lnTo>
                  <a:lnTo>
                    <a:pt x="23" y="100"/>
                  </a:lnTo>
                  <a:lnTo>
                    <a:pt x="23" y="97"/>
                  </a:lnTo>
                  <a:lnTo>
                    <a:pt x="23" y="95"/>
                  </a:lnTo>
                  <a:lnTo>
                    <a:pt x="22" y="93"/>
                  </a:lnTo>
                  <a:lnTo>
                    <a:pt x="19" y="93"/>
                  </a:lnTo>
                  <a:lnTo>
                    <a:pt x="19" y="93"/>
                  </a:lnTo>
                  <a:lnTo>
                    <a:pt x="14" y="92"/>
                  </a:lnTo>
                  <a:lnTo>
                    <a:pt x="12" y="90"/>
                  </a:lnTo>
                  <a:lnTo>
                    <a:pt x="14" y="89"/>
                  </a:lnTo>
                  <a:lnTo>
                    <a:pt x="14" y="86"/>
                  </a:lnTo>
                  <a:lnTo>
                    <a:pt x="23" y="78"/>
                  </a:lnTo>
                  <a:lnTo>
                    <a:pt x="23" y="76"/>
                  </a:lnTo>
                  <a:lnTo>
                    <a:pt x="25" y="74"/>
                  </a:lnTo>
                  <a:lnTo>
                    <a:pt x="22" y="71"/>
                  </a:lnTo>
                  <a:lnTo>
                    <a:pt x="23" y="70"/>
                  </a:lnTo>
                  <a:lnTo>
                    <a:pt x="20" y="67"/>
                  </a:lnTo>
                  <a:lnTo>
                    <a:pt x="23" y="66"/>
                  </a:lnTo>
                  <a:lnTo>
                    <a:pt x="23" y="61"/>
                  </a:lnTo>
                  <a:lnTo>
                    <a:pt x="26" y="58"/>
                  </a:lnTo>
                  <a:lnTo>
                    <a:pt x="25" y="57"/>
                  </a:lnTo>
                  <a:lnTo>
                    <a:pt x="25" y="54"/>
                  </a:lnTo>
                  <a:lnTo>
                    <a:pt x="25" y="52"/>
                  </a:lnTo>
                  <a:lnTo>
                    <a:pt x="25" y="52"/>
                  </a:lnTo>
                  <a:lnTo>
                    <a:pt x="30" y="51"/>
                  </a:lnTo>
                  <a:lnTo>
                    <a:pt x="33" y="48"/>
                  </a:lnTo>
                  <a:lnTo>
                    <a:pt x="35" y="48"/>
                  </a:lnTo>
                  <a:lnTo>
                    <a:pt x="34" y="50"/>
                  </a:lnTo>
                  <a:lnTo>
                    <a:pt x="39" y="52"/>
                  </a:lnTo>
                  <a:lnTo>
                    <a:pt x="39" y="51"/>
                  </a:lnTo>
                  <a:lnTo>
                    <a:pt x="39" y="51"/>
                  </a:lnTo>
                  <a:lnTo>
                    <a:pt x="42" y="50"/>
                  </a:lnTo>
                  <a:lnTo>
                    <a:pt x="46" y="50"/>
                  </a:lnTo>
                  <a:lnTo>
                    <a:pt x="49" y="43"/>
                  </a:lnTo>
                  <a:lnTo>
                    <a:pt x="53" y="42"/>
                  </a:lnTo>
                  <a:lnTo>
                    <a:pt x="54" y="39"/>
                  </a:lnTo>
                  <a:lnTo>
                    <a:pt x="56" y="38"/>
                  </a:lnTo>
                  <a:lnTo>
                    <a:pt x="60" y="38"/>
                  </a:lnTo>
                  <a:lnTo>
                    <a:pt x="60" y="36"/>
                  </a:lnTo>
                  <a:lnTo>
                    <a:pt x="63" y="35"/>
                  </a:lnTo>
                  <a:lnTo>
                    <a:pt x="64" y="31"/>
                  </a:lnTo>
                  <a:lnTo>
                    <a:pt x="69" y="28"/>
                  </a:lnTo>
                  <a:lnTo>
                    <a:pt x="72" y="29"/>
                  </a:lnTo>
                  <a:lnTo>
                    <a:pt x="72" y="32"/>
                  </a:lnTo>
                  <a:lnTo>
                    <a:pt x="72" y="32"/>
                  </a:lnTo>
                  <a:lnTo>
                    <a:pt x="71" y="38"/>
                  </a:lnTo>
                  <a:lnTo>
                    <a:pt x="67" y="43"/>
                  </a:lnTo>
                  <a:lnTo>
                    <a:pt x="67" y="43"/>
                  </a:lnTo>
                  <a:lnTo>
                    <a:pt x="67" y="54"/>
                  </a:lnTo>
                  <a:lnTo>
                    <a:pt x="64" y="63"/>
                  </a:lnTo>
                  <a:lnTo>
                    <a:pt x="67" y="67"/>
                  </a:lnTo>
                  <a:lnTo>
                    <a:pt x="65" y="71"/>
                  </a:lnTo>
                  <a:lnTo>
                    <a:pt x="68" y="71"/>
                  </a:lnTo>
                  <a:lnTo>
                    <a:pt x="71" y="71"/>
                  </a:lnTo>
                  <a:lnTo>
                    <a:pt x="72" y="71"/>
                  </a:lnTo>
                  <a:lnTo>
                    <a:pt x="73" y="71"/>
                  </a:lnTo>
                  <a:lnTo>
                    <a:pt x="72" y="70"/>
                  </a:lnTo>
                  <a:lnTo>
                    <a:pt x="72" y="67"/>
                  </a:lnTo>
                  <a:lnTo>
                    <a:pt x="71" y="65"/>
                  </a:lnTo>
                  <a:lnTo>
                    <a:pt x="69" y="62"/>
                  </a:lnTo>
                  <a:lnTo>
                    <a:pt x="69" y="62"/>
                  </a:lnTo>
                  <a:lnTo>
                    <a:pt x="72" y="61"/>
                  </a:lnTo>
                  <a:lnTo>
                    <a:pt x="73" y="58"/>
                  </a:lnTo>
                  <a:lnTo>
                    <a:pt x="73" y="58"/>
                  </a:lnTo>
                  <a:lnTo>
                    <a:pt x="73" y="54"/>
                  </a:lnTo>
                  <a:lnTo>
                    <a:pt x="73" y="51"/>
                  </a:lnTo>
                  <a:lnTo>
                    <a:pt x="73" y="51"/>
                  </a:lnTo>
                  <a:lnTo>
                    <a:pt x="76" y="50"/>
                  </a:lnTo>
                  <a:lnTo>
                    <a:pt x="77" y="47"/>
                  </a:lnTo>
                  <a:lnTo>
                    <a:pt x="77" y="43"/>
                  </a:lnTo>
                  <a:lnTo>
                    <a:pt x="76" y="42"/>
                  </a:lnTo>
                  <a:lnTo>
                    <a:pt x="75" y="40"/>
                  </a:lnTo>
                  <a:lnTo>
                    <a:pt x="87" y="38"/>
                  </a:lnTo>
                  <a:lnTo>
                    <a:pt x="92" y="33"/>
                  </a:lnTo>
                  <a:lnTo>
                    <a:pt x="92" y="31"/>
                  </a:lnTo>
                  <a:lnTo>
                    <a:pt x="94" y="29"/>
                  </a:lnTo>
                  <a:lnTo>
                    <a:pt x="94" y="29"/>
                  </a:lnTo>
                  <a:lnTo>
                    <a:pt x="105" y="21"/>
                  </a:lnTo>
                  <a:lnTo>
                    <a:pt x="105" y="21"/>
                  </a:lnTo>
                  <a:lnTo>
                    <a:pt x="109" y="17"/>
                  </a:lnTo>
                  <a:lnTo>
                    <a:pt x="110" y="16"/>
                  </a:lnTo>
                  <a:lnTo>
                    <a:pt x="113" y="16"/>
                  </a:lnTo>
                  <a:lnTo>
                    <a:pt x="117" y="8"/>
                  </a:lnTo>
                  <a:lnTo>
                    <a:pt x="121" y="6"/>
                  </a:lnTo>
                  <a:lnTo>
                    <a:pt x="125" y="8"/>
                  </a:lnTo>
                  <a:lnTo>
                    <a:pt x="129" y="6"/>
                  </a:lnTo>
                  <a:lnTo>
                    <a:pt x="130" y="4"/>
                  </a:lnTo>
                  <a:lnTo>
                    <a:pt x="130" y="4"/>
                  </a:lnTo>
                  <a:lnTo>
                    <a:pt x="134" y="2"/>
                  </a:lnTo>
                  <a:lnTo>
                    <a:pt x="138" y="2"/>
                  </a:lnTo>
                  <a:lnTo>
                    <a:pt x="138" y="2"/>
                  </a:lnTo>
                  <a:lnTo>
                    <a:pt x="141" y="1"/>
                  </a:lnTo>
                  <a:lnTo>
                    <a:pt x="144" y="0"/>
                  </a:lnTo>
                  <a:lnTo>
                    <a:pt x="144" y="0"/>
                  </a:lnTo>
                  <a:lnTo>
                    <a:pt x="145" y="6"/>
                  </a:lnTo>
                  <a:lnTo>
                    <a:pt x="145" y="15"/>
                  </a:lnTo>
                  <a:lnTo>
                    <a:pt x="144" y="23"/>
                  </a:lnTo>
                  <a:lnTo>
                    <a:pt x="141" y="28"/>
                  </a:lnTo>
                  <a:lnTo>
                    <a:pt x="144" y="33"/>
                  </a:lnTo>
                  <a:lnTo>
                    <a:pt x="145" y="33"/>
                  </a:lnTo>
                  <a:lnTo>
                    <a:pt x="145" y="33"/>
                  </a:lnTo>
                  <a:lnTo>
                    <a:pt x="147" y="39"/>
                  </a:lnTo>
                  <a:lnTo>
                    <a:pt x="148" y="42"/>
                  </a:lnTo>
                  <a:lnTo>
                    <a:pt x="149" y="44"/>
                  </a:lnTo>
                  <a:lnTo>
                    <a:pt x="149" y="44"/>
                  </a:lnTo>
                  <a:lnTo>
                    <a:pt x="149" y="48"/>
                  </a:lnTo>
                  <a:lnTo>
                    <a:pt x="151" y="51"/>
                  </a:lnTo>
                  <a:lnTo>
                    <a:pt x="152" y="54"/>
                  </a:lnTo>
                  <a:lnTo>
                    <a:pt x="153" y="62"/>
                  </a:lnTo>
                  <a:lnTo>
                    <a:pt x="152" y="63"/>
                  </a:lnTo>
                  <a:lnTo>
                    <a:pt x="152" y="63"/>
                  </a:lnTo>
                  <a:lnTo>
                    <a:pt x="152" y="69"/>
                  </a:lnTo>
                  <a:lnTo>
                    <a:pt x="151" y="74"/>
                  </a:lnTo>
                  <a:lnTo>
                    <a:pt x="151" y="74"/>
                  </a:lnTo>
                  <a:lnTo>
                    <a:pt x="153" y="80"/>
                  </a:lnTo>
                  <a:lnTo>
                    <a:pt x="156" y="85"/>
                  </a:lnTo>
                  <a:lnTo>
                    <a:pt x="156" y="92"/>
                  </a:lnTo>
                  <a:lnTo>
                    <a:pt x="159" y="93"/>
                  </a:lnTo>
                  <a:lnTo>
                    <a:pt x="159" y="96"/>
                  </a:lnTo>
                  <a:lnTo>
                    <a:pt x="159" y="96"/>
                  </a:lnTo>
                  <a:lnTo>
                    <a:pt x="167" y="100"/>
                  </a:lnTo>
                  <a:lnTo>
                    <a:pt x="170" y="104"/>
                  </a:lnTo>
                  <a:lnTo>
                    <a:pt x="172" y="108"/>
                  </a:lnTo>
                  <a:lnTo>
                    <a:pt x="172" y="108"/>
                  </a:lnTo>
                  <a:lnTo>
                    <a:pt x="172" y="114"/>
                  </a:lnTo>
                  <a:lnTo>
                    <a:pt x="171" y="120"/>
                  </a:lnTo>
                  <a:lnTo>
                    <a:pt x="171" y="120"/>
                  </a:lnTo>
                  <a:lnTo>
                    <a:pt x="172" y="123"/>
                  </a:lnTo>
                  <a:lnTo>
                    <a:pt x="172" y="126"/>
                  </a:lnTo>
                  <a:lnTo>
                    <a:pt x="175" y="127"/>
                  </a:lnTo>
                  <a:lnTo>
                    <a:pt x="178" y="127"/>
                  </a:lnTo>
                  <a:lnTo>
                    <a:pt x="178" y="127"/>
                  </a:lnTo>
                  <a:lnTo>
                    <a:pt x="178" y="133"/>
                  </a:lnTo>
                  <a:lnTo>
                    <a:pt x="178" y="135"/>
                  </a:lnTo>
                  <a:lnTo>
                    <a:pt x="176" y="137"/>
                  </a:lnTo>
                  <a:lnTo>
                    <a:pt x="178" y="138"/>
                  </a:lnTo>
                  <a:lnTo>
                    <a:pt x="175" y="141"/>
                  </a:lnTo>
                  <a:lnTo>
                    <a:pt x="176" y="145"/>
                  </a:lnTo>
                  <a:lnTo>
                    <a:pt x="178" y="146"/>
                  </a:lnTo>
                  <a:lnTo>
                    <a:pt x="176" y="149"/>
                  </a:lnTo>
                  <a:lnTo>
                    <a:pt x="176" y="150"/>
                  </a:lnTo>
                  <a:lnTo>
                    <a:pt x="182" y="149"/>
                  </a:lnTo>
                  <a:lnTo>
                    <a:pt x="181" y="153"/>
                  </a:lnTo>
                  <a:lnTo>
                    <a:pt x="179" y="154"/>
                  </a:lnTo>
                  <a:lnTo>
                    <a:pt x="179" y="157"/>
                  </a:lnTo>
                  <a:lnTo>
                    <a:pt x="181" y="156"/>
                  </a:lnTo>
                  <a:lnTo>
                    <a:pt x="182" y="157"/>
                  </a:lnTo>
                  <a:lnTo>
                    <a:pt x="179" y="161"/>
                  </a:lnTo>
                  <a:lnTo>
                    <a:pt x="176" y="162"/>
                  </a:lnTo>
                  <a:lnTo>
                    <a:pt x="176" y="160"/>
                  </a:lnTo>
                  <a:lnTo>
                    <a:pt x="175" y="160"/>
                  </a:lnTo>
                  <a:lnTo>
                    <a:pt x="174" y="161"/>
                  </a:lnTo>
                  <a:lnTo>
                    <a:pt x="174" y="161"/>
                  </a:lnTo>
                  <a:lnTo>
                    <a:pt x="171" y="164"/>
                  </a:lnTo>
                  <a:lnTo>
                    <a:pt x="168" y="168"/>
                  </a:lnTo>
                  <a:lnTo>
                    <a:pt x="171" y="168"/>
                  </a:lnTo>
                  <a:lnTo>
                    <a:pt x="170" y="169"/>
                  </a:lnTo>
                  <a:lnTo>
                    <a:pt x="166" y="171"/>
                  </a:lnTo>
                  <a:lnTo>
                    <a:pt x="164" y="168"/>
                  </a:lnTo>
                  <a:lnTo>
                    <a:pt x="163" y="169"/>
                  </a:lnTo>
                  <a:lnTo>
                    <a:pt x="163" y="171"/>
                  </a:lnTo>
                  <a:lnTo>
                    <a:pt x="162" y="171"/>
                  </a:lnTo>
                  <a:lnTo>
                    <a:pt x="162" y="175"/>
                  </a:lnTo>
                  <a:lnTo>
                    <a:pt x="162" y="175"/>
                  </a:lnTo>
                  <a:lnTo>
                    <a:pt x="163" y="179"/>
                  </a:lnTo>
                  <a:lnTo>
                    <a:pt x="163" y="181"/>
                  </a:lnTo>
                  <a:lnTo>
                    <a:pt x="162" y="181"/>
                  </a:lnTo>
                  <a:lnTo>
                    <a:pt x="159" y="180"/>
                  </a:lnTo>
                  <a:lnTo>
                    <a:pt x="157" y="179"/>
                  </a:lnTo>
                  <a:lnTo>
                    <a:pt x="157" y="179"/>
                  </a:lnTo>
                  <a:lnTo>
                    <a:pt x="153" y="181"/>
                  </a:lnTo>
                  <a:lnTo>
                    <a:pt x="147" y="185"/>
                  </a:lnTo>
                  <a:lnTo>
                    <a:pt x="141" y="188"/>
                  </a:lnTo>
                  <a:lnTo>
                    <a:pt x="136" y="192"/>
                  </a:lnTo>
                  <a:lnTo>
                    <a:pt x="134" y="192"/>
                  </a:lnTo>
                  <a:lnTo>
                    <a:pt x="134" y="189"/>
                  </a:lnTo>
                  <a:lnTo>
                    <a:pt x="132" y="189"/>
                  </a:lnTo>
                  <a:lnTo>
                    <a:pt x="130" y="188"/>
                  </a:lnTo>
                  <a:lnTo>
                    <a:pt x="122" y="194"/>
                  </a:lnTo>
                  <a:lnTo>
                    <a:pt x="121" y="192"/>
                  </a:lnTo>
                  <a:lnTo>
                    <a:pt x="122" y="191"/>
                  </a:lnTo>
                  <a:lnTo>
                    <a:pt x="121" y="191"/>
                  </a:lnTo>
                  <a:lnTo>
                    <a:pt x="119" y="188"/>
                  </a:lnTo>
                  <a:lnTo>
                    <a:pt x="119" y="188"/>
                  </a:lnTo>
                  <a:lnTo>
                    <a:pt x="115" y="188"/>
                  </a:lnTo>
                  <a:lnTo>
                    <a:pt x="111" y="189"/>
                  </a:lnTo>
                  <a:lnTo>
                    <a:pt x="110" y="191"/>
                  </a:lnTo>
                  <a:lnTo>
                    <a:pt x="111" y="194"/>
                  </a:lnTo>
                  <a:lnTo>
                    <a:pt x="111" y="194"/>
                  </a:lnTo>
                  <a:lnTo>
                    <a:pt x="107" y="203"/>
                  </a:lnTo>
                  <a:lnTo>
                    <a:pt x="105" y="204"/>
                  </a:lnTo>
                  <a:lnTo>
                    <a:pt x="105" y="207"/>
                  </a:lnTo>
                  <a:lnTo>
                    <a:pt x="105" y="210"/>
                  </a:lnTo>
                  <a:lnTo>
                    <a:pt x="102" y="213"/>
                  </a:lnTo>
                  <a:lnTo>
                    <a:pt x="102" y="213"/>
                  </a:lnTo>
                  <a:lnTo>
                    <a:pt x="98" y="213"/>
                  </a:lnTo>
                  <a:lnTo>
                    <a:pt x="95" y="214"/>
                  </a:lnTo>
                  <a:lnTo>
                    <a:pt x="95" y="214"/>
                  </a:lnTo>
                  <a:lnTo>
                    <a:pt x="94" y="217"/>
                  </a:lnTo>
                  <a:lnTo>
                    <a:pt x="92" y="221"/>
                  </a:lnTo>
                  <a:lnTo>
                    <a:pt x="80" y="219"/>
                  </a:lnTo>
                  <a:lnTo>
                    <a:pt x="80" y="218"/>
                  </a:lnTo>
                  <a:lnTo>
                    <a:pt x="79" y="218"/>
                  </a:lnTo>
                  <a:lnTo>
                    <a:pt x="76" y="218"/>
                  </a:lnTo>
                  <a:lnTo>
                    <a:pt x="76" y="215"/>
                  </a:lnTo>
                  <a:lnTo>
                    <a:pt x="75" y="214"/>
                  </a:lnTo>
                  <a:lnTo>
                    <a:pt x="67" y="214"/>
                  </a:lnTo>
                  <a:lnTo>
                    <a:pt x="67" y="214"/>
                  </a:lnTo>
                  <a:lnTo>
                    <a:pt x="68" y="210"/>
                  </a:lnTo>
                  <a:lnTo>
                    <a:pt x="68" y="204"/>
                  </a:lnTo>
                  <a:lnTo>
                    <a:pt x="71" y="202"/>
                  </a:lnTo>
                  <a:lnTo>
                    <a:pt x="71" y="202"/>
                  </a:lnTo>
                  <a:lnTo>
                    <a:pt x="69" y="199"/>
                  </a:lnTo>
                  <a:lnTo>
                    <a:pt x="68" y="196"/>
                  </a:lnTo>
                  <a:lnTo>
                    <a:pt x="69" y="195"/>
                  </a:lnTo>
                  <a:lnTo>
                    <a:pt x="80" y="177"/>
                  </a:lnTo>
                  <a:lnTo>
                    <a:pt x="80" y="177"/>
                  </a:lnTo>
                  <a:lnTo>
                    <a:pt x="86" y="176"/>
                  </a:lnTo>
                  <a:lnTo>
                    <a:pt x="91" y="177"/>
                  </a:lnTo>
                  <a:lnTo>
                    <a:pt x="92" y="175"/>
                  </a:lnTo>
                  <a:lnTo>
                    <a:pt x="95" y="173"/>
                  </a:lnTo>
                  <a:lnTo>
                    <a:pt x="95" y="173"/>
                  </a:lnTo>
                  <a:lnTo>
                    <a:pt x="94" y="162"/>
                  </a:lnTo>
                  <a:lnTo>
                    <a:pt x="91" y="153"/>
                  </a:lnTo>
                  <a:lnTo>
                    <a:pt x="91" y="153"/>
                  </a:lnTo>
                  <a:lnTo>
                    <a:pt x="84" y="143"/>
                  </a:lnTo>
                  <a:lnTo>
                    <a:pt x="80" y="138"/>
                  </a:lnTo>
                  <a:lnTo>
                    <a:pt x="75" y="135"/>
                  </a:lnTo>
                  <a:lnTo>
                    <a:pt x="75" y="135"/>
                  </a:lnTo>
                  <a:close/>
                </a:path>
              </a:pathLst>
            </a:custGeom>
            <a:grpFill/>
            <a:ln w="4763">
              <a:solidFill>
                <a:srgbClr val="FFFFFF"/>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sp>
          <p:nvSpPr>
            <p:cNvPr id="110" name="Freeform 204">
              <a:extLst>
                <a:ext uri="{FF2B5EF4-FFF2-40B4-BE49-F238E27FC236}">
                  <a16:creationId xmlns:a16="http://schemas.microsoft.com/office/drawing/2014/main" id="{E1D0F71A-2A63-49B1-B524-A9DD0A632C4E}"/>
                </a:ext>
              </a:extLst>
            </p:cNvPr>
            <p:cNvSpPr>
              <a:spLocks/>
            </p:cNvSpPr>
            <p:nvPr/>
          </p:nvSpPr>
          <p:spPr bwMode="auto">
            <a:xfrm>
              <a:off x="2360613" y="3406844"/>
              <a:ext cx="92075" cy="141288"/>
            </a:xfrm>
            <a:custGeom>
              <a:avLst/>
              <a:gdLst>
                <a:gd name="T0" fmla="*/ 90 w 116"/>
                <a:gd name="T1" fmla="*/ 87 h 178"/>
                <a:gd name="T2" fmla="*/ 101 w 116"/>
                <a:gd name="T3" fmla="*/ 89 h 178"/>
                <a:gd name="T4" fmla="*/ 106 w 116"/>
                <a:gd name="T5" fmla="*/ 95 h 178"/>
                <a:gd name="T6" fmla="*/ 114 w 116"/>
                <a:gd name="T7" fmla="*/ 104 h 178"/>
                <a:gd name="T8" fmla="*/ 109 w 116"/>
                <a:gd name="T9" fmla="*/ 108 h 178"/>
                <a:gd name="T10" fmla="*/ 98 w 116"/>
                <a:gd name="T11" fmla="*/ 117 h 178"/>
                <a:gd name="T12" fmla="*/ 101 w 116"/>
                <a:gd name="T13" fmla="*/ 122 h 178"/>
                <a:gd name="T14" fmla="*/ 116 w 116"/>
                <a:gd name="T15" fmla="*/ 130 h 178"/>
                <a:gd name="T16" fmla="*/ 111 w 116"/>
                <a:gd name="T17" fmla="*/ 136 h 178"/>
                <a:gd name="T18" fmla="*/ 113 w 116"/>
                <a:gd name="T19" fmla="*/ 149 h 178"/>
                <a:gd name="T20" fmla="*/ 114 w 116"/>
                <a:gd name="T21" fmla="*/ 159 h 178"/>
                <a:gd name="T22" fmla="*/ 110 w 116"/>
                <a:gd name="T23" fmla="*/ 168 h 178"/>
                <a:gd name="T24" fmla="*/ 106 w 116"/>
                <a:gd name="T25" fmla="*/ 174 h 178"/>
                <a:gd name="T26" fmla="*/ 87 w 116"/>
                <a:gd name="T27" fmla="*/ 172 h 178"/>
                <a:gd name="T28" fmla="*/ 80 w 116"/>
                <a:gd name="T29" fmla="*/ 178 h 178"/>
                <a:gd name="T30" fmla="*/ 60 w 116"/>
                <a:gd name="T31" fmla="*/ 176 h 178"/>
                <a:gd name="T32" fmla="*/ 46 w 116"/>
                <a:gd name="T33" fmla="*/ 168 h 178"/>
                <a:gd name="T34" fmla="*/ 40 w 116"/>
                <a:gd name="T35" fmla="*/ 165 h 178"/>
                <a:gd name="T36" fmla="*/ 30 w 116"/>
                <a:gd name="T37" fmla="*/ 159 h 178"/>
                <a:gd name="T38" fmla="*/ 25 w 116"/>
                <a:gd name="T39" fmla="*/ 149 h 178"/>
                <a:gd name="T40" fmla="*/ 25 w 116"/>
                <a:gd name="T41" fmla="*/ 138 h 178"/>
                <a:gd name="T42" fmla="*/ 18 w 116"/>
                <a:gd name="T43" fmla="*/ 133 h 178"/>
                <a:gd name="T44" fmla="*/ 16 w 116"/>
                <a:gd name="T45" fmla="*/ 129 h 178"/>
                <a:gd name="T46" fmla="*/ 16 w 116"/>
                <a:gd name="T47" fmla="*/ 112 h 178"/>
                <a:gd name="T48" fmla="*/ 19 w 116"/>
                <a:gd name="T49" fmla="*/ 102 h 178"/>
                <a:gd name="T50" fmla="*/ 12 w 116"/>
                <a:gd name="T51" fmla="*/ 87 h 178"/>
                <a:gd name="T52" fmla="*/ 2 w 116"/>
                <a:gd name="T53" fmla="*/ 70 h 178"/>
                <a:gd name="T54" fmla="*/ 0 w 116"/>
                <a:gd name="T55" fmla="*/ 57 h 178"/>
                <a:gd name="T56" fmla="*/ 4 w 116"/>
                <a:gd name="T57" fmla="*/ 43 h 178"/>
                <a:gd name="T58" fmla="*/ 12 w 116"/>
                <a:gd name="T59" fmla="*/ 26 h 178"/>
                <a:gd name="T60" fmla="*/ 25 w 116"/>
                <a:gd name="T61" fmla="*/ 19 h 178"/>
                <a:gd name="T62" fmla="*/ 29 w 116"/>
                <a:gd name="T63" fmla="*/ 9 h 178"/>
                <a:gd name="T64" fmla="*/ 35 w 116"/>
                <a:gd name="T65" fmla="*/ 8 h 178"/>
                <a:gd name="T66" fmla="*/ 37 w 116"/>
                <a:gd name="T67" fmla="*/ 5 h 178"/>
                <a:gd name="T68" fmla="*/ 41 w 116"/>
                <a:gd name="T69" fmla="*/ 1 h 178"/>
                <a:gd name="T70" fmla="*/ 50 w 116"/>
                <a:gd name="T71" fmla="*/ 0 h 178"/>
                <a:gd name="T72" fmla="*/ 73 w 116"/>
                <a:gd name="T73" fmla="*/ 13 h 178"/>
                <a:gd name="T74" fmla="*/ 75 w 116"/>
                <a:gd name="T75" fmla="*/ 18 h 178"/>
                <a:gd name="T76" fmla="*/ 87 w 116"/>
                <a:gd name="T77" fmla="*/ 28 h 178"/>
                <a:gd name="T78" fmla="*/ 88 w 116"/>
                <a:gd name="T79" fmla="*/ 34 h 178"/>
                <a:gd name="T80" fmla="*/ 94 w 116"/>
                <a:gd name="T81" fmla="*/ 47 h 178"/>
                <a:gd name="T82" fmla="*/ 97 w 116"/>
                <a:gd name="T83" fmla="*/ 62 h 178"/>
                <a:gd name="T84" fmla="*/ 98 w 116"/>
                <a:gd name="T85" fmla="*/ 72 h 178"/>
                <a:gd name="T86" fmla="*/ 92 w 116"/>
                <a:gd name="T87" fmla="*/ 77 h 178"/>
                <a:gd name="T88" fmla="*/ 88 w 116"/>
                <a:gd name="T89" fmla="*/ 8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78">
                  <a:moveTo>
                    <a:pt x="86" y="84"/>
                  </a:moveTo>
                  <a:lnTo>
                    <a:pt x="88" y="85"/>
                  </a:lnTo>
                  <a:lnTo>
                    <a:pt x="90" y="87"/>
                  </a:lnTo>
                  <a:lnTo>
                    <a:pt x="90" y="87"/>
                  </a:lnTo>
                  <a:lnTo>
                    <a:pt x="97" y="88"/>
                  </a:lnTo>
                  <a:lnTo>
                    <a:pt x="101" y="89"/>
                  </a:lnTo>
                  <a:lnTo>
                    <a:pt x="105" y="91"/>
                  </a:lnTo>
                  <a:lnTo>
                    <a:pt x="105" y="91"/>
                  </a:lnTo>
                  <a:lnTo>
                    <a:pt x="106" y="95"/>
                  </a:lnTo>
                  <a:lnTo>
                    <a:pt x="109" y="98"/>
                  </a:lnTo>
                  <a:lnTo>
                    <a:pt x="111" y="102"/>
                  </a:lnTo>
                  <a:lnTo>
                    <a:pt x="114" y="104"/>
                  </a:lnTo>
                  <a:lnTo>
                    <a:pt x="110" y="106"/>
                  </a:lnTo>
                  <a:lnTo>
                    <a:pt x="110" y="106"/>
                  </a:lnTo>
                  <a:lnTo>
                    <a:pt x="109" y="108"/>
                  </a:lnTo>
                  <a:lnTo>
                    <a:pt x="105" y="110"/>
                  </a:lnTo>
                  <a:lnTo>
                    <a:pt x="101" y="112"/>
                  </a:lnTo>
                  <a:lnTo>
                    <a:pt x="98" y="117"/>
                  </a:lnTo>
                  <a:lnTo>
                    <a:pt x="98" y="119"/>
                  </a:lnTo>
                  <a:lnTo>
                    <a:pt x="98" y="119"/>
                  </a:lnTo>
                  <a:lnTo>
                    <a:pt x="101" y="122"/>
                  </a:lnTo>
                  <a:lnTo>
                    <a:pt x="106" y="126"/>
                  </a:lnTo>
                  <a:lnTo>
                    <a:pt x="111" y="129"/>
                  </a:lnTo>
                  <a:lnTo>
                    <a:pt x="116" y="130"/>
                  </a:lnTo>
                  <a:lnTo>
                    <a:pt x="114" y="133"/>
                  </a:lnTo>
                  <a:lnTo>
                    <a:pt x="111" y="136"/>
                  </a:lnTo>
                  <a:lnTo>
                    <a:pt x="111" y="136"/>
                  </a:lnTo>
                  <a:lnTo>
                    <a:pt x="110" y="141"/>
                  </a:lnTo>
                  <a:lnTo>
                    <a:pt x="110" y="146"/>
                  </a:lnTo>
                  <a:lnTo>
                    <a:pt x="113" y="149"/>
                  </a:lnTo>
                  <a:lnTo>
                    <a:pt x="113" y="149"/>
                  </a:lnTo>
                  <a:lnTo>
                    <a:pt x="113" y="155"/>
                  </a:lnTo>
                  <a:lnTo>
                    <a:pt x="114" y="159"/>
                  </a:lnTo>
                  <a:lnTo>
                    <a:pt x="114" y="163"/>
                  </a:lnTo>
                  <a:lnTo>
                    <a:pt x="113" y="165"/>
                  </a:lnTo>
                  <a:lnTo>
                    <a:pt x="110" y="168"/>
                  </a:lnTo>
                  <a:lnTo>
                    <a:pt x="110" y="171"/>
                  </a:lnTo>
                  <a:lnTo>
                    <a:pt x="106" y="174"/>
                  </a:lnTo>
                  <a:lnTo>
                    <a:pt x="106" y="174"/>
                  </a:lnTo>
                  <a:lnTo>
                    <a:pt x="97" y="172"/>
                  </a:lnTo>
                  <a:lnTo>
                    <a:pt x="91" y="172"/>
                  </a:lnTo>
                  <a:lnTo>
                    <a:pt x="87" y="172"/>
                  </a:lnTo>
                  <a:lnTo>
                    <a:pt x="87" y="172"/>
                  </a:lnTo>
                  <a:lnTo>
                    <a:pt x="84" y="175"/>
                  </a:lnTo>
                  <a:lnTo>
                    <a:pt x="80" y="178"/>
                  </a:lnTo>
                  <a:lnTo>
                    <a:pt x="80" y="178"/>
                  </a:lnTo>
                  <a:lnTo>
                    <a:pt x="67" y="176"/>
                  </a:lnTo>
                  <a:lnTo>
                    <a:pt x="60" y="176"/>
                  </a:lnTo>
                  <a:lnTo>
                    <a:pt x="54" y="174"/>
                  </a:lnTo>
                  <a:lnTo>
                    <a:pt x="54" y="174"/>
                  </a:lnTo>
                  <a:lnTo>
                    <a:pt x="46" y="168"/>
                  </a:lnTo>
                  <a:lnTo>
                    <a:pt x="46" y="168"/>
                  </a:lnTo>
                  <a:lnTo>
                    <a:pt x="40" y="165"/>
                  </a:lnTo>
                  <a:lnTo>
                    <a:pt x="40" y="165"/>
                  </a:lnTo>
                  <a:lnTo>
                    <a:pt x="37" y="163"/>
                  </a:lnTo>
                  <a:lnTo>
                    <a:pt x="37" y="163"/>
                  </a:lnTo>
                  <a:lnTo>
                    <a:pt x="30" y="159"/>
                  </a:lnTo>
                  <a:lnTo>
                    <a:pt x="30" y="159"/>
                  </a:lnTo>
                  <a:lnTo>
                    <a:pt x="27" y="155"/>
                  </a:lnTo>
                  <a:lnTo>
                    <a:pt x="25" y="149"/>
                  </a:lnTo>
                  <a:lnTo>
                    <a:pt x="25" y="144"/>
                  </a:lnTo>
                  <a:lnTo>
                    <a:pt x="25" y="138"/>
                  </a:lnTo>
                  <a:lnTo>
                    <a:pt x="25" y="138"/>
                  </a:lnTo>
                  <a:lnTo>
                    <a:pt x="23" y="136"/>
                  </a:lnTo>
                  <a:lnTo>
                    <a:pt x="21" y="134"/>
                  </a:lnTo>
                  <a:lnTo>
                    <a:pt x="18" y="133"/>
                  </a:lnTo>
                  <a:lnTo>
                    <a:pt x="15" y="131"/>
                  </a:lnTo>
                  <a:lnTo>
                    <a:pt x="16" y="129"/>
                  </a:lnTo>
                  <a:lnTo>
                    <a:pt x="16" y="129"/>
                  </a:lnTo>
                  <a:lnTo>
                    <a:pt x="15" y="123"/>
                  </a:lnTo>
                  <a:lnTo>
                    <a:pt x="15" y="118"/>
                  </a:lnTo>
                  <a:lnTo>
                    <a:pt x="16" y="112"/>
                  </a:lnTo>
                  <a:lnTo>
                    <a:pt x="19" y="108"/>
                  </a:lnTo>
                  <a:lnTo>
                    <a:pt x="19" y="108"/>
                  </a:lnTo>
                  <a:lnTo>
                    <a:pt x="19" y="102"/>
                  </a:lnTo>
                  <a:lnTo>
                    <a:pt x="18" y="93"/>
                  </a:lnTo>
                  <a:lnTo>
                    <a:pt x="18" y="93"/>
                  </a:lnTo>
                  <a:lnTo>
                    <a:pt x="12" y="87"/>
                  </a:lnTo>
                  <a:lnTo>
                    <a:pt x="12" y="87"/>
                  </a:lnTo>
                  <a:lnTo>
                    <a:pt x="6" y="79"/>
                  </a:lnTo>
                  <a:lnTo>
                    <a:pt x="2" y="70"/>
                  </a:lnTo>
                  <a:lnTo>
                    <a:pt x="0" y="66"/>
                  </a:lnTo>
                  <a:lnTo>
                    <a:pt x="0" y="61"/>
                  </a:lnTo>
                  <a:lnTo>
                    <a:pt x="0" y="57"/>
                  </a:lnTo>
                  <a:lnTo>
                    <a:pt x="3" y="51"/>
                  </a:lnTo>
                  <a:lnTo>
                    <a:pt x="3" y="51"/>
                  </a:lnTo>
                  <a:lnTo>
                    <a:pt x="4" y="43"/>
                  </a:lnTo>
                  <a:lnTo>
                    <a:pt x="7" y="35"/>
                  </a:lnTo>
                  <a:lnTo>
                    <a:pt x="10" y="28"/>
                  </a:lnTo>
                  <a:lnTo>
                    <a:pt x="12" y="26"/>
                  </a:lnTo>
                  <a:lnTo>
                    <a:pt x="16" y="23"/>
                  </a:lnTo>
                  <a:lnTo>
                    <a:pt x="16" y="23"/>
                  </a:lnTo>
                  <a:lnTo>
                    <a:pt x="25" y="19"/>
                  </a:lnTo>
                  <a:lnTo>
                    <a:pt x="25" y="19"/>
                  </a:lnTo>
                  <a:lnTo>
                    <a:pt x="26" y="15"/>
                  </a:lnTo>
                  <a:lnTo>
                    <a:pt x="29" y="9"/>
                  </a:lnTo>
                  <a:lnTo>
                    <a:pt x="30" y="8"/>
                  </a:lnTo>
                  <a:lnTo>
                    <a:pt x="33" y="8"/>
                  </a:lnTo>
                  <a:lnTo>
                    <a:pt x="35" y="8"/>
                  </a:lnTo>
                  <a:lnTo>
                    <a:pt x="38" y="9"/>
                  </a:lnTo>
                  <a:lnTo>
                    <a:pt x="40" y="9"/>
                  </a:lnTo>
                  <a:lnTo>
                    <a:pt x="37" y="5"/>
                  </a:lnTo>
                  <a:lnTo>
                    <a:pt x="38" y="4"/>
                  </a:lnTo>
                  <a:lnTo>
                    <a:pt x="41" y="1"/>
                  </a:lnTo>
                  <a:lnTo>
                    <a:pt x="41" y="1"/>
                  </a:lnTo>
                  <a:lnTo>
                    <a:pt x="46" y="0"/>
                  </a:lnTo>
                  <a:lnTo>
                    <a:pt x="50" y="0"/>
                  </a:lnTo>
                  <a:lnTo>
                    <a:pt x="50" y="0"/>
                  </a:lnTo>
                  <a:lnTo>
                    <a:pt x="63" y="7"/>
                  </a:lnTo>
                  <a:lnTo>
                    <a:pt x="68" y="9"/>
                  </a:lnTo>
                  <a:lnTo>
                    <a:pt x="73" y="13"/>
                  </a:lnTo>
                  <a:lnTo>
                    <a:pt x="73" y="13"/>
                  </a:lnTo>
                  <a:lnTo>
                    <a:pt x="75" y="18"/>
                  </a:lnTo>
                  <a:lnTo>
                    <a:pt x="75" y="18"/>
                  </a:lnTo>
                  <a:lnTo>
                    <a:pt x="82" y="23"/>
                  </a:lnTo>
                  <a:lnTo>
                    <a:pt x="84" y="26"/>
                  </a:lnTo>
                  <a:lnTo>
                    <a:pt x="87" y="28"/>
                  </a:lnTo>
                  <a:lnTo>
                    <a:pt x="87" y="28"/>
                  </a:lnTo>
                  <a:lnTo>
                    <a:pt x="87" y="31"/>
                  </a:lnTo>
                  <a:lnTo>
                    <a:pt x="88" y="34"/>
                  </a:lnTo>
                  <a:lnTo>
                    <a:pt x="88" y="37"/>
                  </a:lnTo>
                  <a:lnTo>
                    <a:pt x="88" y="37"/>
                  </a:lnTo>
                  <a:lnTo>
                    <a:pt x="94" y="47"/>
                  </a:lnTo>
                  <a:lnTo>
                    <a:pt x="95" y="53"/>
                  </a:lnTo>
                  <a:lnTo>
                    <a:pt x="95" y="53"/>
                  </a:lnTo>
                  <a:lnTo>
                    <a:pt x="97" y="62"/>
                  </a:lnTo>
                  <a:lnTo>
                    <a:pt x="98" y="66"/>
                  </a:lnTo>
                  <a:lnTo>
                    <a:pt x="98" y="72"/>
                  </a:lnTo>
                  <a:lnTo>
                    <a:pt x="98" y="72"/>
                  </a:lnTo>
                  <a:lnTo>
                    <a:pt x="97" y="73"/>
                  </a:lnTo>
                  <a:lnTo>
                    <a:pt x="94" y="76"/>
                  </a:lnTo>
                  <a:lnTo>
                    <a:pt x="92" y="77"/>
                  </a:lnTo>
                  <a:lnTo>
                    <a:pt x="91" y="79"/>
                  </a:lnTo>
                  <a:lnTo>
                    <a:pt x="88" y="80"/>
                  </a:lnTo>
                  <a:lnTo>
                    <a:pt x="88" y="83"/>
                  </a:lnTo>
                  <a:lnTo>
                    <a:pt x="86" y="84"/>
                  </a:lnTo>
                  <a:close/>
                </a:path>
              </a:pathLst>
            </a:custGeom>
            <a:grpFill/>
            <a:ln w="4763">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en-GB"/>
              </a:defPPr>
              <a:lvl1pPr algn="ctr" rtl="0" fontAlgn="base">
                <a:spcBef>
                  <a:spcPct val="0"/>
                </a:spcBef>
                <a:spcAft>
                  <a:spcPct val="0"/>
                </a:spcAft>
                <a:defRPr sz="1100" kern="1200">
                  <a:solidFill>
                    <a:srgbClr val="335687"/>
                  </a:solidFill>
                  <a:latin typeface="Arial" charset="0"/>
                  <a:ea typeface="+mn-ea"/>
                  <a:cs typeface="Arial" charset="0"/>
                </a:defRPr>
              </a:lvl1pPr>
              <a:lvl2pPr marL="457200" algn="ctr" rtl="0" fontAlgn="base">
                <a:spcBef>
                  <a:spcPct val="0"/>
                </a:spcBef>
                <a:spcAft>
                  <a:spcPct val="0"/>
                </a:spcAft>
                <a:defRPr sz="1100" kern="1200">
                  <a:solidFill>
                    <a:srgbClr val="335687"/>
                  </a:solidFill>
                  <a:latin typeface="Arial" charset="0"/>
                  <a:ea typeface="+mn-ea"/>
                  <a:cs typeface="Arial" charset="0"/>
                </a:defRPr>
              </a:lvl2pPr>
              <a:lvl3pPr marL="914400" algn="ctr" rtl="0" fontAlgn="base">
                <a:spcBef>
                  <a:spcPct val="0"/>
                </a:spcBef>
                <a:spcAft>
                  <a:spcPct val="0"/>
                </a:spcAft>
                <a:defRPr sz="1100" kern="1200">
                  <a:solidFill>
                    <a:srgbClr val="335687"/>
                  </a:solidFill>
                  <a:latin typeface="Arial" charset="0"/>
                  <a:ea typeface="+mn-ea"/>
                  <a:cs typeface="Arial" charset="0"/>
                </a:defRPr>
              </a:lvl3pPr>
              <a:lvl4pPr marL="1371600" algn="ctr" rtl="0" fontAlgn="base">
                <a:spcBef>
                  <a:spcPct val="0"/>
                </a:spcBef>
                <a:spcAft>
                  <a:spcPct val="0"/>
                </a:spcAft>
                <a:defRPr sz="1100" kern="1200">
                  <a:solidFill>
                    <a:srgbClr val="335687"/>
                  </a:solidFill>
                  <a:latin typeface="Arial" charset="0"/>
                  <a:ea typeface="+mn-ea"/>
                  <a:cs typeface="Arial" charset="0"/>
                </a:defRPr>
              </a:lvl4pPr>
              <a:lvl5pPr marL="1828800" algn="ctr" rtl="0" fontAlgn="base">
                <a:spcBef>
                  <a:spcPct val="0"/>
                </a:spcBef>
                <a:spcAft>
                  <a:spcPct val="0"/>
                </a:spcAft>
                <a:defRPr sz="1100" kern="1200">
                  <a:solidFill>
                    <a:srgbClr val="335687"/>
                  </a:solidFill>
                  <a:latin typeface="Arial" charset="0"/>
                  <a:ea typeface="+mn-ea"/>
                  <a:cs typeface="Arial" charset="0"/>
                </a:defRPr>
              </a:lvl5pPr>
              <a:lvl6pPr marL="2286000" algn="l" defTabSz="914400" rtl="0" eaLnBrk="1" latinLnBrk="0" hangingPunct="1">
                <a:defRPr sz="1100" kern="1200">
                  <a:solidFill>
                    <a:srgbClr val="335687"/>
                  </a:solidFill>
                  <a:latin typeface="Arial" charset="0"/>
                  <a:ea typeface="+mn-ea"/>
                  <a:cs typeface="Arial" charset="0"/>
                </a:defRPr>
              </a:lvl6pPr>
              <a:lvl7pPr marL="2743200" algn="l" defTabSz="914400" rtl="0" eaLnBrk="1" latinLnBrk="0" hangingPunct="1">
                <a:defRPr sz="1100" kern="1200">
                  <a:solidFill>
                    <a:srgbClr val="335687"/>
                  </a:solidFill>
                  <a:latin typeface="Arial" charset="0"/>
                  <a:ea typeface="+mn-ea"/>
                  <a:cs typeface="Arial" charset="0"/>
                </a:defRPr>
              </a:lvl7pPr>
              <a:lvl8pPr marL="3200400" algn="l" defTabSz="914400" rtl="0" eaLnBrk="1" latinLnBrk="0" hangingPunct="1">
                <a:defRPr sz="1100" kern="1200">
                  <a:solidFill>
                    <a:srgbClr val="335687"/>
                  </a:solidFill>
                  <a:latin typeface="Arial" charset="0"/>
                  <a:ea typeface="+mn-ea"/>
                  <a:cs typeface="Arial" charset="0"/>
                </a:defRPr>
              </a:lvl8pPr>
              <a:lvl9pPr marL="3657600" algn="l" defTabSz="914400" rtl="0" eaLnBrk="1" latinLnBrk="0" hangingPunct="1">
                <a:defRPr sz="1100" kern="1200">
                  <a:solidFill>
                    <a:srgbClr val="335687"/>
                  </a:solidFill>
                  <a:latin typeface="Arial" charset="0"/>
                  <a:ea typeface="+mn-ea"/>
                  <a:cs typeface="Arial" charset="0"/>
                </a:defRPr>
              </a:lvl9pPr>
            </a:lstStyle>
            <a:p>
              <a:endParaRPr lang="en-GB"/>
            </a:p>
          </p:txBody>
        </p:sp>
      </p:grpSp>
      <p:pic>
        <p:nvPicPr>
          <p:cNvPr id="282" name="Graphic 281" descr="Marker outline">
            <a:extLst>
              <a:ext uri="{FF2B5EF4-FFF2-40B4-BE49-F238E27FC236}">
                <a16:creationId xmlns:a16="http://schemas.microsoft.com/office/drawing/2014/main" id="{FB7249FB-2802-4B3D-975B-85932307F3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3036" y="4151865"/>
            <a:ext cx="373396" cy="373396"/>
          </a:xfrm>
          <a:prstGeom prst="rect">
            <a:avLst/>
          </a:prstGeom>
        </p:spPr>
      </p:pic>
      <p:pic>
        <p:nvPicPr>
          <p:cNvPr id="283" name="Graphic 282" descr="Marker outline">
            <a:extLst>
              <a:ext uri="{FF2B5EF4-FFF2-40B4-BE49-F238E27FC236}">
                <a16:creationId xmlns:a16="http://schemas.microsoft.com/office/drawing/2014/main" id="{CA12E875-412B-4821-AD5B-495ACA1B24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65387" y="4860972"/>
            <a:ext cx="296948" cy="296948"/>
          </a:xfrm>
          <a:prstGeom prst="rect">
            <a:avLst/>
          </a:prstGeom>
        </p:spPr>
      </p:pic>
      <p:pic>
        <p:nvPicPr>
          <p:cNvPr id="284" name="Graphic 283" descr="Marker outline">
            <a:extLst>
              <a:ext uri="{FF2B5EF4-FFF2-40B4-BE49-F238E27FC236}">
                <a16:creationId xmlns:a16="http://schemas.microsoft.com/office/drawing/2014/main" id="{E0342A2C-234A-4CC3-AAC2-2168212358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22728" y="5234411"/>
            <a:ext cx="486360" cy="486360"/>
          </a:xfrm>
          <a:prstGeom prst="rect">
            <a:avLst/>
          </a:prstGeom>
        </p:spPr>
      </p:pic>
      <p:cxnSp>
        <p:nvCxnSpPr>
          <p:cNvPr id="285" name="Straight Arrow Connector 284">
            <a:extLst>
              <a:ext uri="{FF2B5EF4-FFF2-40B4-BE49-F238E27FC236}">
                <a16:creationId xmlns:a16="http://schemas.microsoft.com/office/drawing/2014/main" id="{71707710-6E1D-4FB7-BE42-54E2586AEE47}"/>
              </a:ext>
            </a:extLst>
          </p:cNvPr>
          <p:cNvCxnSpPr>
            <a:cxnSpLocks/>
          </p:cNvCxnSpPr>
          <p:nvPr/>
        </p:nvCxnSpPr>
        <p:spPr>
          <a:xfrm flipV="1">
            <a:off x="5481954" y="3212412"/>
            <a:ext cx="772237" cy="1019955"/>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86" name="TextBox 285">
            <a:extLst>
              <a:ext uri="{FF2B5EF4-FFF2-40B4-BE49-F238E27FC236}">
                <a16:creationId xmlns:a16="http://schemas.microsoft.com/office/drawing/2014/main" id="{74E12CCD-AFAA-4777-B374-FA474DDC0630}"/>
              </a:ext>
            </a:extLst>
          </p:cNvPr>
          <p:cNvSpPr txBox="1"/>
          <p:nvPr/>
        </p:nvSpPr>
        <p:spPr>
          <a:xfrm>
            <a:off x="6263902" y="2387725"/>
            <a:ext cx="1879675" cy="719171"/>
          </a:xfrm>
          <a:prstGeom prst="rect">
            <a:avLst/>
          </a:prstGeom>
          <a:noFill/>
        </p:spPr>
        <p:txBody>
          <a:bodyPr wrap="square" lIns="0" tIns="0" rIns="0" bIns="0" rtlCol="0">
            <a:spAutoFit/>
          </a:bodyPr>
          <a:lstStyle/>
          <a:p>
            <a:pPr algn="l">
              <a:lnSpc>
                <a:spcPct val="110000"/>
              </a:lnSpc>
              <a:spcBef>
                <a:spcPts val="100"/>
              </a:spcBef>
              <a:spcAft>
                <a:spcPts val="100"/>
              </a:spcAft>
            </a:pPr>
            <a:r>
              <a:rPr lang="en-GB" sz="1400" b="1" u="sng" dirty="0">
                <a:solidFill>
                  <a:srgbClr val="14487F"/>
                </a:solidFill>
              </a:rPr>
              <a:t>Manchester</a:t>
            </a:r>
          </a:p>
          <a:p>
            <a:pPr marL="171450" indent="-171450" algn="l">
              <a:spcBef>
                <a:spcPts val="100"/>
              </a:spcBef>
              <a:spcAft>
                <a:spcPts val="100"/>
              </a:spcAft>
              <a:buFont typeface="Arial" panose="020B0604020202020204" pitchFamily="34" charset="0"/>
              <a:buChar char="•"/>
            </a:pPr>
            <a:r>
              <a:rPr lang="en-GB" sz="1400" dirty="0">
                <a:solidFill>
                  <a:srgbClr val="14487F"/>
                </a:solidFill>
              </a:rPr>
              <a:t>7 MD’s</a:t>
            </a:r>
          </a:p>
          <a:p>
            <a:pPr marL="171450" indent="-171450" algn="l">
              <a:spcBef>
                <a:spcPts val="100"/>
              </a:spcBef>
              <a:spcAft>
                <a:spcPts val="100"/>
              </a:spcAft>
              <a:buFont typeface="Arial" panose="020B0604020202020204" pitchFamily="34" charset="0"/>
              <a:buChar char="•"/>
            </a:pPr>
            <a:r>
              <a:rPr lang="en-GB" sz="1400" dirty="0">
                <a:solidFill>
                  <a:srgbClr val="14487F"/>
                </a:solidFill>
              </a:rPr>
              <a:t>57 Staff</a:t>
            </a:r>
          </a:p>
        </p:txBody>
      </p:sp>
      <p:cxnSp>
        <p:nvCxnSpPr>
          <p:cNvPr id="287" name="Straight Arrow Connector 286">
            <a:extLst>
              <a:ext uri="{FF2B5EF4-FFF2-40B4-BE49-F238E27FC236}">
                <a16:creationId xmlns:a16="http://schemas.microsoft.com/office/drawing/2014/main" id="{5B4FC3E5-2A26-41D5-99F7-D82A5E31C306}"/>
              </a:ext>
            </a:extLst>
          </p:cNvPr>
          <p:cNvCxnSpPr>
            <a:cxnSpLocks/>
          </p:cNvCxnSpPr>
          <p:nvPr/>
        </p:nvCxnSpPr>
        <p:spPr>
          <a:xfrm flipV="1">
            <a:off x="5617275" y="4445744"/>
            <a:ext cx="1662540" cy="448859"/>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4C334010-D864-4F43-8119-1EF2EABB7BC7}"/>
              </a:ext>
            </a:extLst>
          </p:cNvPr>
          <p:cNvSpPr txBox="1"/>
          <p:nvPr/>
        </p:nvSpPr>
        <p:spPr>
          <a:xfrm>
            <a:off x="7437420" y="3945464"/>
            <a:ext cx="1377202" cy="719171"/>
          </a:xfrm>
          <a:prstGeom prst="rect">
            <a:avLst/>
          </a:prstGeom>
          <a:noFill/>
        </p:spPr>
        <p:txBody>
          <a:bodyPr wrap="square" lIns="0" tIns="0" rIns="0" bIns="0" rtlCol="0">
            <a:spAutoFit/>
          </a:bodyPr>
          <a:lstStyle/>
          <a:p>
            <a:pPr algn="l">
              <a:lnSpc>
                <a:spcPct val="110000"/>
              </a:lnSpc>
              <a:spcBef>
                <a:spcPts val="100"/>
              </a:spcBef>
              <a:spcAft>
                <a:spcPts val="100"/>
              </a:spcAft>
            </a:pPr>
            <a:r>
              <a:rPr lang="en-GB" sz="1400" b="1" u="sng" dirty="0">
                <a:solidFill>
                  <a:srgbClr val="14487F"/>
                </a:solidFill>
              </a:rPr>
              <a:t>Birmingham</a:t>
            </a:r>
          </a:p>
          <a:p>
            <a:pPr marL="171450" indent="-171450" algn="l">
              <a:spcBef>
                <a:spcPts val="100"/>
              </a:spcBef>
              <a:spcAft>
                <a:spcPts val="100"/>
              </a:spcAft>
              <a:buFont typeface="Arial" panose="020B0604020202020204" pitchFamily="34" charset="0"/>
              <a:buChar char="•"/>
            </a:pPr>
            <a:r>
              <a:rPr lang="en-GB" sz="1400" dirty="0">
                <a:solidFill>
                  <a:srgbClr val="14487F"/>
                </a:solidFill>
              </a:rPr>
              <a:t>2 MD’s</a:t>
            </a:r>
          </a:p>
          <a:p>
            <a:pPr marL="171450" indent="-171450" algn="l">
              <a:spcBef>
                <a:spcPts val="100"/>
              </a:spcBef>
              <a:spcAft>
                <a:spcPts val="100"/>
              </a:spcAft>
              <a:buFont typeface="Arial" panose="020B0604020202020204" pitchFamily="34" charset="0"/>
              <a:buChar char="•"/>
            </a:pPr>
            <a:r>
              <a:rPr lang="en-GB" sz="1400" dirty="0">
                <a:solidFill>
                  <a:srgbClr val="14487F"/>
                </a:solidFill>
              </a:rPr>
              <a:t>17 Staff</a:t>
            </a:r>
          </a:p>
        </p:txBody>
      </p:sp>
      <p:sp>
        <p:nvSpPr>
          <p:cNvPr id="289" name="TextBox 288">
            <a:extLst>
              <a:ext uri="{FF2B5EF4-FFF2-40B4-BE49-F238E27FC236}">
                <a16:creationId xmlns:a16="http://schemas.microsoft.com/office/drawing/2014/main" id="{BB58547B-E59C-4928-83EE-4828AB085654}"/>
              </a:ext>
            </a:extLst>
          </p:cNvPr>
          <p:cNvSpPr txBox="1"/>
          <p:nvPr/>
        </p:nvSpPr>
        <p:spPr>
          <a:xfrm>
            <a:off x="7570060" y="5688163"/>
            <a:ext cx="865671" cy="719171"/>
          </a:xfrm>
          <a:prstGeom prst="rect">
            <a:avLst/>
          </a:prstGeom>
          <a:noFill/>
        </p:spPr>
        <p:txBody>
          <a:bodyPr wrap="square" lIns="0" tIns="0" rIns="0" bIns="0" rtlCol="0">
            <a:spAutoFit/>
          </a:bodyPr>
          <a:lstStyle/>
          <a:p>
            <a:pPr algn="l">
              <a:lnSpc>
                <a:spcPct val="110000"/>
              </a:lnSpc>
              <a:spcBef>
                <a:spcPts val="100"/>
              </a:spcBef>
              <a:spcAft>
                <a:spcPts val="100"/>
              </a:spcAft>
            </a:pPr>
            <a:r>
              <a:rPr lang="en-GB" sz="1400" b="1" u="sng" dirty="0">
                <a:solidFill>
                  <a:srgbClr val="14487F"/>
                </a:solidFill>
              </a:rPr>
              <a:t>London</a:t>
            </a:r>
          </a:p>
          <a:p>
            <a:pPr marL="171450" indent="-171450" algn="l">
              <a:spcBef>
                <a:spcPts val="100"/>
              </a:spcBef>
              <a:spcAft>
                <a:spcPts val="100"/>
              </a:spcAft>
              <a:buFont typeface="Arial" panose="020B0604020202020204" pitchFamily="34" charset="0"/>
              <a:buChar char="•"/>
            </a:pPr>
            <a:r>
              <a:rPr lang="en-GB" sz="1400" dirty="0">
                <a:solidFill>
                  <a:srgbClr val="14487F"/>
                </a:solidFill>
              </a:rPr>
              <a:t>6 MD’s</a:t>
            </a:r>
          </a:p>
          <a:p>
            <a:pPr marL="171450" indent="-171450" algn="l">
              <a:spcBef>
                <a:spcPts val="100"/>
              </a:spcBef>
              <a:spcAft>
                <a:spcPts val="100"/>
              </a:spcAft>
              <a:buFont typeface="Arial" panose="020B0604020202020204" pitchFamily="34" charset="0"/>
              <a:buChar char="•"/>
            </a:pPr>
            <a:r>
              <a:rPr lang="en-GB" sz="1400" dirty="0">
                <a:solidFill>
                  <a:srgbClr val="14487F"/>
                </a:solidFill>
              </a:rPr>
              <a:t>60 Staff</a:t>
            </a:r>
          </a:p>
        </p:txBody>
      </p:sp>
      <p:cxnSp>
        <p:nvCxnSpPr>
          <p:cNvPr id="290" name="Straight Arrow Connector 289">
            <a:extLst>
              <a:ext uri="{FF2B5EF4-FFF2-40B4-BE49-F238E27FC236}">
                <a16:creationId xmlns:a16="http://schemas.microsoft.com/office/drawing/2014/main" id="{26613606-F519-483B-836B-0FA8B5E86B19}"/>
              </a:ext>
            </a:extLst>
          </p:cNvPr>
          <p:cNvCxnSpPr>
            <a:cxnSpLocks/>
            <a:stCxn id="284" idx="3"/>
          </p:cNvCxnSpPr>
          <p:nvPr/>
        </p:nvCxnSpPr>
        <p:spPr>
          <a:xfrm>
            <a:off x="5809088" y="5477591"/>
            <a:ext cx="1453032" cy="353544"/>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62964AD2-5754-408F-BE00-FF6B8FB7613B}"/>
              </a:ext>
            </a:extLst>
          </p:cNvPr>
          <p:cNvSpPr/>
          <p:nvPr/>
        </p:nvSpPr>
        <p:spPr>
          <a:xfrm>
            <a:off x="5669461" y="1226629"/>
            <a:ext cx="2158756" cy="512004"/>
          </a:xfrm>
          <a:prstGeom prst="rect">
            <a:avLst/>
          </a:prstGeom>
          <a:solidFill>
            <a:srgbClr val="14487F"/>
          </a:solidFill>
          <a:ln w="12700" cap="flat" cmpd="sng" algn="ctr">
            <a:noFill/>
            <a:prstDash val="solid"/>
            <a:miter lim="800000"/>
          </a:ln>
          <a:effectLst/>
        </p:spPr>
        <p:txBody>
          <a:bodyPr rtlCol="0" anchor="ctr"/>
          <a:lstStyle/>
          <a:p>
            <a:pPr algn="ctr" defTabSz="1371592"/>
            <a:r>
              <a:rPr lang="en-GB" sz="1400" b="1" kern="0" dirty="0">
                <a:solidFill>
                  <a:prstClr val="white"/>
                </a:solidFill>
              </a:rPr>
              <a:t>Total Staff: 149</a:t>
            </a:r>
          </a:p>
          <a:p>
            <a:pPr algn="ctr" defTabSz="1371592"/>
            <a:r>
              <a:rPr lang="en-GB" sz="800" b="1" kern="0" dirty="0">
                <a:solidFill>
                  <a:prstClr val="white"/>
                </a:solidFill>
              </a:rPr>
              <a:t>15 Managing Directors</a:t>
            </a:r>
          </a:p>
        </p:txBody>
      </p:sp>
      <p:sp>
        <p:nvSpPr>
          <p:cNvPr id="292" name="TextBox 291">
            <a:extLst>
              <a:ext uri="{FF2B5EF4-FFF2-40B4-BE49-F238E27FC236}">
                <a16:creationId xmlns:a16="http://schemas.microsoft.com/office/drawing/2014/main" id="{FBCB3EFD-A271-4EAF-8AE7-7A72C6D7FA13}"/>
              </a:ext>
            </a:extLst>
          </p:cNvPr>
          <p:cNvSpPr txBox="1"/>
          <p:nvPr/>
        </p:nvSpPr>
        <p:spPr>
          <a:xfrm>
            <a:off x="4907065" y="4383291"/>
            <a:ext cx="303382" cy="124906"/>
          </a:xfrm>
          <a:prstGeom prst="rect">
            <a:avLst/>
          </a:prstGeom>
          <a:noFill/>
        </p:spPr>
        <p:txBody>
          <a:bodyPr wrap="square" lIns="0" tIns="0" rIns="0" bIns="0" rtlCol="0">
            <a:spAutoFit/>
          </a:bodyPr>
          <a:lstStyle/>
          <a:p>
            <a:pPr algn="l">
              <a:lnSpc>
                <a:spcPct val="110000"/>
              </a:lnSpc>
              <a:spcBef>
                <a:spcPts val="100"/>
              </a:spcBef>
              <a:spcAft>
                <a:spcPts val="100"/>
              </a:spcAft>
            </a:pPr>
            <a:r>
              <a:rPr lang="en-GB" sz="800" b="1">
                <a:solidFill>
                  <a:srgbClr val="14487F"/>
                </a:solidFill>
              </a:rPr>
              <a:t>13%</a:t>
            </a:r>
          </a:p>
        </p:txBody>
      </p:sp>
      <p:sp>
        <p:nvSpPr>
          <p:cNvPr id="293" name="TextBox 292">
            <a:extLst>
              <a:ext uri="{FF2B5EF4-FFF2-40B4-BE49-F238E27FC236}">
                <a16:creationId xmlns:a16="http://schemas.microsoft.com/office/drawing/2014/main" id="{18DB53AE-E5AB-4015-A603-62E07B1D38E5}"/>
              </a:ext>
            </a:extLst>
          </p:cNvPr>
          <p:cNvSpPr txBox="1"/>
          <p:nvPr/>
        </p:nvSpPr>
        <p:spPr>
          <a:xfrm>
            <a:off x="5469864" y="5688219"/>
            <a:ext cx="303382" cy="124906"/>
          </a:xfrm>
          <a:prstGeom prst="rect">
            <a:avLst/>
          </a:prstGeom>
          <a:noFill/>
        </p:spPr>
        <p:txBody>
          <a:bodyPr wrap="square" lIns="0" tIns="0" rIns="0" bIns="0" rtlCol="0">
            <a:spAutoFit/>
          </a:bodyPr>
          <a:lstStyle/>
          <a:p>
            <a:pPr algn="l">
              <a:lnSpc>
                <a:spcPct val="110000"/>
              </a:lnSpc>
              <a:spcBef>
                <a:spcPts val="100"/>
              </a:spcBef>
              <a:spcAft>
                <a:spcPts val="100"/>
              </a:spcAft>
            </a:pPr>
            <a:r>
              <a:rPr lang="en-GB" sz="800" b="1">
                <a:solidFill>
                  <a:srgbClr val="14487F"/>
                </a:solidFill>
              </a:rPr>
              <a:t>34%</a:t>
            </a:r>
          </a:p>
        </p:txBody>
      </p:sp>
      <p:sp>
        <p:nvSpPr>
          <p:cNvPr id="294" name="TextBox 293">
            <a:extLst>
              <a:ext uri="{FF2B5EF4-FFF2-40B4-BE49-F238E27FC236}">
                <a16:creationId xmlns:a16="http://schemas.microsoft.com/office/drawing/2014/main" id="{77A784A4-5A44-49B0-8078-1B8B7A8BB858}"/>
              </a:ext>
            </a:extLst>
          </p:cNvPr>
          <p:cNvSpPr txBox="1"/>
          <p:nvPr/>
        </p:nvSpPr>
        <p:spPr>
          <a:xfrm>
            <a:off x="5138382" y="5012671"/>
            <a:ext cx="303382" cy="124906"/>
          </a:xfrm>
          <a:prstGeom prst="rect">
            <a:avLst/>
          </a:prstGeom>
          <a:noFill/>
        </p:spPr>
        <p:txBody>
          <a:bodyPr wrap="square" lIns="0" tIns="0" rIns="0" bIns="0" rtlCol="0">
            <a:spAutoFit/>
          </a:bodyPr>
          <a:lstStyle/>
          <a:p>
            <a:pPr algn="l">
              <a:lnSpc>
                <a:spcPct val="110000"/>
              </a:lnSpc>
              <a:spcBef>
                <a:spcPts val="100"/>
              </a:spcBef>
              <a:spcAft>
                <a:spcPts val="100"/>
              </a:spcAft>
            </a:pPr>
            <a:r>
              <a:rPr lang="en-GB" sz="800" b="1">
                <a:solidFill>
                  <a:srgbClr val="14487F"/>
                </a:solidFill>
              </a:rPr>
              <a:t>6%</a:t>
            </a:r>
          </a:p>
        </p:txBody>
      </p:sp>
      <p:sp>
        <p:nvSpPr>
          <p:cNvPr id="295" name="TextBox 294">
            <a:extLst>
              <a:ext uri="{FF2B5EF4-FFF2-40B4-BE49-F238E27FC236}">
                <a16:creationId xmlns:a16="http://schemas.microsoft.com/office/drawing/2014/main" id="{B6D53AF1-400F-4DCB-AC35-7DBD660890C3}"/>
              </a:ext>
            </a:extLst>
          </p:cNvPr>
          <p:cNvSpPr txBox="1"/>
          <p:nvPr/>
        </p:nvSpPr>
        <p:spPr>
          <a:xfrm>
            <a:off x="522215" y="1956026"/>
            <a:ext cx="2118292" cy="698076"/>
          </a:xfrm>
          <a:prstGeom prst="rect">
            <a:avLst/>
          </a:prstGeom>
          <a:noFill/>
        </p:spPr>
        <p:txBody>
          <a:bodyPr wrap="square" lIns="0" tIns="0" rIns="0" bIns="0" rtlCol="0">
            <a:spAutoFit/>
          </a:bodyPr>
          <a:lstStyle/>
          <a:p>
            <a:pPr marL="285750" indent="-285750" algn="l">
              <a:lnSpc>
                <a:spcPct val="110000"/>
              </a:lnSpc>
              <a:spcBef>
                <a:spcPts val="300"/>
              </a:spcBef>
              <a:spcAft>
                <a:spcPts val="300"/>
              </a:spcAft>
              <a:buFont typeface="Arial" panose="020B0604020202020204" pitchFamily="34" charset="0"/>
              <a:buChar char="•"/>
            </a:pPr>
            <a:r>
              <a:rPr lang="en-GB" sz="1050" b="1">
                <a:solidFill>
                  <a:srgbClr val="14487F"/>
                </a:solidFill>
              </a:rPr>
              <a:t>London (30%)</a:t>
            </a:r>
          </a:p>
          <a:p>
            <a:pPr marL="285750" indent="-285750" algn="l">
              <a:lnSpc>
                <a:spcPct val="110000"/>
              </a:lnSpc>
              <a:spcBef>
                <a:spcPts val="300"/>
              </a:spcBef>
              <a:spcAft>
                <a:spcPts val="300"/>
              </a:spcAft>
              <a:buFont typeface="Arial" panose="020B0604020202020204" pitchFamily="34" charset="0"/>
              <a:buChar char="•"/>
            </a:pPr>
            <a:r>
              <a:rPr lang="en-GB" sz="1050" b="1">
                <a:solidFill>
                  <a:srgbClr val="14487F"/>
                </a:solidFill>
              </a:rPr>
              <a:t>Manchester (14%)</a:t>
            </a:r>
          </a:p>
          <a:p>
            <a:pPr marL="285750" indent="-285750" algn="l">
              <a:lnSpc>
                <a:spcPct val="110000"/>
              </a:lnSpc>
              <a:spcBef>
                <a:spcPts val="300"/>
              </a:spcBef>
              <a:spcAft>
                <a:spcPts val="300"/>
              </a:spcAft>
              <a:buFont typeface="Arial" panose="020B0604020202020204" pitchFamily="34" charset="0"/>
              <a:buChar char="•"/>
            </a:pPr>
            <a:r>
              <a:rPr lang="en-GB" sz="1050" b="1">
                <a:solidFill>
                  <a:srgbClr val="14487F"/>
                </a:solidFill>
              </a:rPr>
              <a:t>Birmingham (7%)</a:t>
            </a:r>
          </a:p>
        </p:txBody>
      </p:sp>
      <p:sp>
        <p:nvSpPr>
          <p:cNvPr id="296" name="Rectangle 295">
            <a:extLst>
              <a:ext uri="{FF2B5EF4-FFF2-40B4-BE49-F238E27FC236}">
                <a16:creationId xmlns:a16="http://schemas.microsoft.com/office/drawing/2014/main" id="{7ED30EB1-7962-4EE3-B063-7FD8C852751D}"/>
              </a:ext>
            </a:extLst>
          </p:cNvPr>
          <p:cNvSpPr/>
          <p:nvPr/>
        </p:nvSpPr>
        <p:spPr>
          <a:xfrm>
            <a:off x="291345" y="1387457"/>
            <a:ext cx="2248046" cy="513672"/>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GB" sz="1400" kern="7500" spc="80">
                <a:solidFill>
                  <a:prstClr val="white"/>
                </a:solidFill>
              </a:rPr>
              <a:t>THE UK INSOLVENCY MARKET</a:t>
            </a:r>
            <a:endParaRPr lang="en-GB" sz="1400" kern="7500" spc="80">
              <a:solidFill>
                <a:prstClr val="white"/>
              </a:solidFill>
              <a:latin typeface="Arial"/>
              <a:ea typeface="MS PGothic"/>
            </a:endParaRPr>
          </a:p>
        </p:txBody>
      </p:sp>
      <p:sp>
        <p:nvSpPr>
          <p:cNvPr id="297" name="TextBox 296">
            <a:extLst>
              <a:ext uri="{FF2B5EF4-FFF2-40B4-BE49-F238E27FC236}">
                <a16:creationId xmlns:a16="http://schemas.microsoft.com/office/drawing/2014/main" id="{218E80EE-4F1C-46FB-B443-E591A4CB0281}"/>
              </a:ext>
            </a:extLst>
          </p:cNvPr>
          <p:cNvSpPr txBox="1"/>
          <p:nvPr/>
        </p:nvSpPr>
        <p:spPr>
          <a:xfrm>
            <a:off x="474458" y="2790171"/>
            <a:ext cx="1913985" cy="109325"/>
          </a:xfrm>
          <a:prstGeom prst="rect">
            <a:avLst/>
          </a:prstGeom>
          <a:noFill/>
        </p:spPr>
        <p:txBody>
          <a:bodyPr wrap="none" lIns="0" tIns="0" rIns="0" bIns="0" rtlCol="0">
            <a:spAutoFit/>
          </a:bodyPr>
          <a:lstStyle/>
          <a:p>
            <a:pPr algn="l">
              <a:lnSpc>
                <a:spcPct val="110000"/>
              </a:lnSpc>
              <a:spcBef>
                <a:spcPts val="300"/>
              </a:spcBef>
              <a:spcAft>
                <a:spcPts val="300"/>
              </a:spcAft>
            </a:pPr>
            <a:r>
              <a:rPr lang="en-GB" sz="700" i="1"/>
              <a:t>Overall UK market by number of administrations</a:t>
            </a:r>
          </a:p>
        </p:txBody>
      </p:sp>
    </p:spTree>
    <p:extLst>
      <p:ext uri="{BB962C8B-B14F-4D97-AF65-F5344CB8AC3E}">
        <p14:creationId xmlns:p14="http://schemas.microsoft.com/office/powerpoint/2010/main" val="4042313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B3738F-648B-45E5-95CE-C2400A0737A8}"/>
              </a:ext>
            </a:extLst>
          </p:cNvPr>
          <p:cNvSpPr>
            <a:spLocks noGrp="1"/>
          </p:cNvSpPr>
          <p:nvPr>
            <p:ph type="sldNum" sz="quarter" idx="12"/>
          </p:nvPr>
        </p:nvSpPr>
        <p:spPr/>
        <p:txBody>
          <a:bodyPr/>
          <a:lstStyle/>
          <a:p>
            <a:fld id="{CB7FE98A-78B1-495F-8A5C-53E48422F91F}" type="slidenum">
              <a:rPr lang="en-US" smtClean="0"/>
              <a:pPr/>
              <a:t>5</a:t>
            </a:fld>
            <a:endParaRPr lang="en-US"/>
          </a:p>
        </p:txBody>
      </p:sp>
      <p:sp>
        <p:nvSpPr>
          <p:cNvPr id="75" name="Title 3">
            <a:extLst>
              <a:ext uri="{FF2B5EF4-FFF2-40B4-BE49-F238E27FC236}">
                <a16:creationId xmlns:a16="http://schemas.microsoft.com/office/drawing/2014/main" id="{BC286647-7C45-4A5E-B30C-F9A2FDA4FF6E}"/>
              </a:ext>
            </a:extLst>
          </p:cNvPr>
          <p:cNvSpPr txBox="1">
            <a:spLocks/>
          </p:cNvSpPr>
          <p:nvPr/>
        </p:nvSpPr>
        <p:spPr>
          <a:xfrm>
            <a:off x="321747" y="376501"/>
            <a:ext cx="7172164" cy="373839"/>
          </a:xfrm>
          <a:prstGeom prst="rect">
            <a:avLst/>
          </a:prstGeom>
        </p:spPr>
        <p:txBody>
          <a:bodyPr vert="horz" lIns="91440" tIns="45720" rIns="91440" bIns="45720" rtlCol="0" anchor="ctr">
            <a:noAutofit/>
          </a:bodyPr>
          <a:lstStyle>
            <a:lvl1pPr algn="l" defTabSz="914354" rtl="0" eaLnBrk="1" latinLnBrk="0" hangingPunct="1">
              <a:lnSpc>
                <a:spcPct val="113000"/>
              </a:lnSpc>
              <a:spcBef>
                <a:spcPct val="0"/>
              </a:spcBef>
              <a:buNone/>
              <a:defRPr sz="2400" kern="2400" spc="-60" baseline="0">
                <a:solidFill>
                  <a:schemeClr val="tx2"/>
                </a:solidFill>
                <a:latin typeface="+mj-lt"/>
                <a:ea typeface="+mj-ea"/>
                <a:cs typeface="+mj-cs"/>
              </a:defRPr>
            </a:lvl1pPr>
          </a:lstStyle>
          <a:p>
            <a:r>
              <a:rPr lang="en-GB" b="1">
                <a:latin typeface="+mn-lt"/>
              </a:rPr>
              <a:t>Core Service Overview</a:t>
            </a:r>
          </a:p>
        </p:txBody>
      </p:sp>
      <p:sp>
        <p:nvSpPr>
          <p:cNvPr id="78" name="Oval 77">
            <a:extLst>
              <a:ext uri="{FF2B5EF4-FFF2-40B4-BE49-F238E27FC236}">
                <a16:creationId xmlns:a16="http://schemas.microsoft.com/office/drawing/2014/main" id="{31BA1AB8-66E5-4323-8461-389BE91CD3F9}"/>
              </a:ext>
            </a:extLst>
          </p:cNvPr>
          <p:cNvSpPr/>
          <p:nvPr/>
        </p:nvSpPr>
        <p:spPr>
          <a:xfrm rot="13474522" flipV="1">
            <a:off x="4000521" y="478273"/>
            <a:ext cx="686994" cy="68699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731775E0-80B1-4450-A199-B0E03B5689E3}"/>
              </a:ext>
            </a:extLst>
          </p:cNvPr>
          <p:cNvSpPr/>
          <p:nvPr/>
        </p:nvSpPr>
        <p:spPr>
          <a:xfrm rot="13474522" flipV="1">
            <a:off x="4048675" y="526427"/>
            <a:ext cx="590686" cy="59068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98" name="Straight Connector 297">
            <a:extLst>
              <a:ext uri="{FF2B5EF4-FFF2-40B4-BE49-F238E27FC236}">
                <a16:creationId xmlns:a16="http://schemas.microsoft.com/office/drawing/2014/main" id="{F1C55778-58E2-490B-AF15-D07AA8934EA2}"/>
              </a:ext>
            </a:extLst>
          </p:cNvPr>
          <p:cNvCxnSpPr/>
          <p:nvPr/>
        </p:nvCxnSpPr>
        <p:spPr>
          <a:xfrm>
            <a:off x="7521978" y="2016364"/>
            <a:ext cx="0" cy="3054350"/>
          </a:xfrm>
          <a:prstGeom prst="line">
            <a:avLst/>
          </a:prstGeom>
          <a:ln w="9525">
            <a:solidFill>
              <a:srgbClr val="14487F"/>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FAB2502A-3E48-4D21-9F98-FD37FFC17D06}"/>
              </a:ext>
            </a:extLst>
          </p:cNvPr>
          <p:cNvCxnSpPr/>
          <p:nvPr/>
        </p:nvCxnSpPr>
        <p:spPr>
          <a:xfrm>
            <a:off x="2384022" y="1968500"/>
            <a:ext cx="0" cy="3054350"/>
          </a:xfrm>
          <a:prstGeom prst="line">
            <a:avLst/>
          </a:prstGeom>
          <a:ln w="9525">
            <a:solidFill>
              <a:srgbClr val="14487F"/>
            </a:solidFill>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5BCE8A3E-CA3A-4791-82C3-90AB6478B26D}"/>
              </a:ext>
            </a:extLst>
          </p:cNvPr>
          <p:cNvCxnSpPr>
            <a:cxnSpLocks/>
          </p:cNvCxnSpPr>
          <p:nvPr/>
        </p:nvCxnSpPr>
        <p:spPr>
          <a:xfrm rot="5400000">
            <a:off x="3521983" y="571509"/>
            <a:ext cx="306894" cy="2582816"/>
          </a:xfrm>
          <a:prstGeom prst="bentConnector3">
            <a:avLst/>
          </a:prstGeom>
          <a:ln>
            <a:solidFill>
              <a:srgbClr val="14487F"/>
            </a:solidFill>
          </a:ln>
        </p:spPr>
        <p:style>
          <a:lnRef idx="1">
            <a:schemeClr val="accent1"/>
          </a:lnRef>
          <a:fillRef idx="0">
            <a:schemeClr val="accent1"/>
          </a:fillRef>
          <a:effectRef idx="0">
            <a:schemeClr val="accent1"/>
          </a:effectRef>
          <a:fontRef idx="minor">
            <a:schemeClr val="tx1"/>
          </a:fontRef>
        </p:style>
      </p:cxnSp>
      <p:cxnSp>
        <p:nvCxnSpPr>
          <p:cNvPr id="301" name="Connector: Elbow 300">
            <a:extLst>
              <a:ext uri="{FF2B5EF4-FFF2-40B4-BE49-F238E27FC236}">
                <a16:creationId xmlns:a16="http://schemas.microsoft.com/office/drawing/2014/main" id="{31960FCC-5F70-4650-8B64-F9E80BD27E2C}"/>
              </a:ext>
            </a:extLst>
          </p:cNvPr>
          <p:cNvCxnSpPr>
            <a:cxnSpLocks/>
          </p:cNvCxnSpPr>
          <p:nvPr/>
        </p:nvCxnSpPr>
        <p:spPr>
          <a:xfrm rot="16200000" flipH="1">
            <a:off x="6089808" y="586500"/>
            <a:ext cx="309200" cy="2555140"/>
          </a:xfrm>
          <a:prstGeom prst="bentConnector3">
            <a:avLst>
              <a:gd name="adj1" fmla="val 50000"/>
            </a:avLst>
          </a:prstGeom>
          <a:ln>
            <a:solidFill>
              <a:srgbClr val="14487F"/>
            </a:solidFill>
          </a:ln>
        </p:spPr>
        <p:style>
          <a:lnRef idx="1">
            <a:schemeClr val="accent1"/>
          </a:lnRef>
          <a:fillRef idx="0">
            <a:schemeClr val="accent1"/>
          </a:fillRef>
          <a:effectRef idx="0">
            <a:schemeClr val="accent1"/>
          </a:effectRef>
          <a:fontRef idx="minor">
            <a:schemeClr val="tx1"/>
          </a:fontRef>
        </p:style>
      </p:cxnSp>
      <p:pic>
        <p:nvPicPr>
          <p:cNvPr id="302" name="Picture 301">
            <a:extLst>
              <a:ext uri="{FF2B5EF4-FFF2-40B4-BE49-F238E27FC236}">
                <a16:creationId xmlns:a16="http://schemas.microsoft.com/office/drawing/2014/main" id="{1F93BCCE-CFA2-4BCA-BA9D-C77CC03BDBA1}"/>
              </a:ext>
            </a:extLst>
          </p:cNvPr>
          <p:cNvPicPr>
            <a:picLocks noChangeAspect="1"/>
          </p:cNvPicPr>
          <p:nvPr/>
        </p:nvPicPr>
        <p:blipFill rotWithShape="1">
          <a:blip r:embed="rId7"/>
          <a:srcRect l="42016" t="24460" r="38515" b="25182"/>
          <a:stretch/>
        </p:blipFill>
        <p:spPr>
          <a:xfrm>
            <a:off x="3831969" y="3110217"/>
            <a:ext cx="2260306" cy="2294558"/>
          </a:xfrm>
          <a:prstGeom prst="rect">
            <a:avLst/>
          </a:prstGeom>
        </p:spPr>
      </p:pic>
      <p:pic>
        <p:nvPicPr>
          <p:cNvPr id="303" name="Picture 302">
            <a:extLst>
              <a:ext uri="{FF2B5EF4-FFF2-40B4-BE49-F238E27FC236}">
                <a16:creationId xmlns:a16="http://schemas.microsoft.com/office/drawing/2014/main" id="{DCFE5FDF-EA0E-4D61-861A-6ACAB22474F2}"/>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4373334" y="1105193"/>
            <a:ext cx="1159331" cy="455045"/>
          </a:xfrm>
          <a:prstGeom prst="rect">
            <a:avLst/>
          </a:prstGeom>
        </p:spPr>
      </p:pic>
      <p:sp>
        <p:nvSpPr>
          <p:cNvPr id="304" name="Rectangle 303">
            <a:extLst>
              <a:ext uri="{FF2B5EF4-FFF2-40B4-BE49-F238E27FC236}">
                <a16:creationId xmlns:a16="http://schemas.microsoft.com/office/drawing/2014/main" id="{6A56CFB1-E131-4954-9CBD-2760DD71284D}"/>
              </a:ext>
            </a:extLst>
          </p:cNvPr>
          <p:cNvSpPr/>
          <p:nvPr/>
        </p:nvSpPr>
        <p:spPr>
          <a:xfrm>
            <a:off x="1067310" y="2168008"/>
            <a:ext cx="2633424" cy="1600876"/>
          </a:xfrm>
          <a:prstGeom prst="rect">
            <a:avLst/>
          </a:prstGeom>
          <a:solidFill>
            <a:schemeClr val="bg1"/>
          </a:solidFill>
          <a:ln w="12700" cap="flat" cmpd="sng" algn="ctr">
            <a:solidFill>
              <a:srgbClr val="14487F"/>
            </a:solidFill>
            <a:prstDash val="solid"/>
            <a:miter lim="800000"/>
          </a:ln>
          <a:effectLst/>
        </p:spPr>
        <p:txBody>
          <a:bodyPr rtlCol="0" anchor="ctr"/>
          <a:lstStyle/>
          <a:p>
            <a:pPr algn="ctr" defTabSz="1371592"/>
            <a:endParaRPr lang="en-GB" sz="1000" b="1" kern="0">
              <a:solidFill>
                <a:prstClr val="white"/>
              </a:solidFill>
            </a:endParaRPr>
          </a:p>
        </p:txBody>
      </p:sp>
      <p:cxnSp>
        <p:nvCxnSpPr>
          <p:cNvPr id="305" name="Straight Connector 304">
            <a:extLst>
              <a:ext uri="{FF2B5EF4-FFF2-40B4-BE49-F238E27FC236}">
                <a16:creationId xmlns:a16="http://schemas.microsoft.com/office/drawing/2014/main" id="{8240F6D7-D0C0-4F86-93C3-E4145095EA56}"/>
              </a:ext>
            </a:extLst>
          </p:cNvPr>
          <p:cNvCxnSpPr>
            <a:cxnSpLocks/>
          </p:cNvCxnSpPr>
          <p:nvPr/>
        </p:nvCxnSpPr>
        <p:spPr>
          <a:xfrm flipH="1">
            <a:off x="2713018" y="5594350"/>
            <a:ext cx="4507640" cy="0"/>
          </a:xfrm>
          <a:prstGeom prst="line">
            <a:avLst/>
          </a:prstGeom>
          <a:ln w="9525">
            <a:solidFill>
              <a:srgbClr val="14487F"/>
            </a:solidFill>
          </a:ln>
        </p:spPr>
        <p:style>
          <a:lnRef idx="1">
            <a:schemeClr val="accent1"/>
          </a:lnRef>
          <a:fillRef idx="0">
            <a:schemeClr val="accent1"/>
          </a:fillRef>
          <a:effectRef idx="0">
            <a:schemeClr val="accent1"/>
          </a:effectRef>
          <a:fontRef idx="minor">
            <a:schemeClr val="tx1"/>
          </a:fontRef>
        </p:style>
      </p:cxnSp>
      <p:sp>
        <p:nvSpPr>
          <p:cNvPr id="306" name="Rectangle 305">
            <a:extLst>
              <a:ext uri="{FF2B5EF4-FFF2-40B4-BE49-F238E27FC236}">
                <a16:creationId xmlns:a16="http://schemas.microsoft.com/office/drawing/2014/main" id="{26E46332-5D48-4E72-B3D9-7EEAC112E7E6}"/>
              </a:ext>
            </a:extLst>
          </p:cNvPr>
          <p:cNvSpPr/>
          <p:nvPr>
            <p:custDataLst>
              <p:tags r:id="rId1"/>
            </p:custDataLst>
          </p:nvPr>
        </p:nvSpPr>
        <p:spPr bwMode="auto">
          <a:xfrm>
            <a:off x="1067308" y="2168008"/>
            <a:ext cx="2633418" cy="277663"/>
          </a:xfrm>
          <a:prstGeom prst="rect">
            <a:avLst/>
          </a:prstGeom>
          <a:solidFill>
            <a:srgbClr val="14487F"/>
          </a:solidFill>
          <a:ln w="15875" cap="flat" cmpd="sng" algn="ctr">
            <a:noFill/>
            <a:prstDash val="sysDash"/>
            <a:round/>
            <a:headEnd type="none" w="med" len="med"/>
            <a:tailEnd type="none" w="med" len="med"/>
          </a:ln>
          <a:effectLst/>
        </p:spPr>
        <p:txBody>
          <a:bodyPr vert="horz" wrap="square" lIns="97530" tIns="48765" rIns="97530" bIns="48765" numCol="1" rtlCol="0" anchor="ctr" anchorCtr="0" compatLnSpc="1">
            <a:prstTxWarp prst="textNoShape">
              <a:avLst/>
            </a:prstTxWarp>
            <a:noAutofit/>
          </a:bodyPr>
          <a:lstStyle/>
          <a:p>
            <a:pPr algn="ctr" fontAlgn="base">
              <a:spcBef>
                <a:spcPct val="0"/>
              </a:spcBef>
              <a:spcAft>
                <a:spcPct val="0"/>
              </a:spcAft>
            </a:pPr>
            <a:r>
              <a:rPr lang="en-US" sz="800" b="1" cap="all" spc="150" dirty="0">
                <a:solidFill>
                  <a:schemeClr val="bg1"/>
                </a:solidFill>
                <a:latin typeface="+mj-lt"/>
              </a:rPr>
              <a:t>ADVISORY</a:t>
            </a:r>
          </a:p>
          <a:p>
            <a:pPr algn="ctr" fontAlgn="base">
              <a:spcBef>
                <a:spcPct val="0"/>
              </a:spcBef>
              <a:spcAft>
                <a:spcPct val="0"/>
              </a:spcAft>
            </a:pPr>
            <a:r>
              <a:rPr lang="en-US" sz="600" b="1" cap="all" spc="150" dirty="0">
                <a:solidFill>
                  <a:schemeClr val="bg1"/>
                </a:solidFill>
              </a:rPr>
              <a:t>(32 Staff)</a:t>
            </a:r>
          </a:p>
        </p:txBody>
      </p:sp>
      <p:sp>
        <p:nvSpPr>
          <p:cNvPr id="307" name="Rectangle 306">
            <a:extLst>
              <a:ext uri="{FF2B5EF4-FFF2-40B4-BE49-F238E27FC236}">
                <a16:creationId xmlns:a16="http://schemas.microsoft.com/office/drawing/2014/main" id="{F92CECD9-D2FA-42F9-AF99-734E581DFF2B}"/>
              </a:ext>
            </a:extLst>
          </p:cNvPr>
          <p:cNvSpPr/>
          <p:nvPr/>
        </p:nvSpPr>
        <p:spPr>
          <a:xfrm>
            <a:off x="6205268" y="2168008"/>
            <a:ext cx="2633424" cy="1600876"/>
          </a:xfrm>
          <a:prstGeom prst="rect">
            <a:avLst/>
          </a:prstGeom>
          <a:solidFill>
            <a:schemeClr val="bg1"/>
          </a:solidFill>
          <a:ln w="12700" cap="flat" cmpd="sng" algn="ctr">
            <a:solidFill>
              <a:srgbClr val="00B0F0"/>
            </a:solidFill>
            <a:prstDash val="solid"/>
            <a:miter lim="800000"/>
          </a:ln>
          <a:effectLst/>
        </p:spPr>
        <p:txBody>
          <a:bodyPr rtlCol="0" anchor="ctr"/>
          <a:lstStyle/>
          <a:p>
            <a:pPr algn="ctr" defTabSz="1371592"/>
            <a:endParaRPr lang="en-GB" sz="1000" b="1" kern="0">
              <a:solidFill>
                <a:prstClr val="white"/>
              </a:solidFill>
            </a:endParaRPr>
          </a:p>
        </p:txBody>
      </p:sp>
      <p:sp>
        <p:nvSpPr>
          <p:cNvPr id="308" name="Rectangle 307">
            <a:extLst>
              <a:ext uri="{FF2B5EF4-FFF2-40B4-BE49-F238E27FC236}">
                <a16:creationId xmlns:a16="http://schemas.microsoft.com/office/drawing/2014/main" id="{8058835C-5AA8-4E38-8D87-96F410ECE89F}"/>
              </a:ext>
            </a:extLst>
          </p:cNvPr>
          <p:cNvSpPr/>
          <p:nvPr/>
        </p:nvSpPr>
        <p:spPr>
          <a:xfrm>
            <a:off x="6205268" y="4746108"/>
            <a:ext cx="2633424" cy="1600876"/>
          </a:xfrm>
          <a:prstGeom prst="rect">
            <a:avLst/>
          </a:prstGeom>
          <a:solidFill>
            <a:schemeClr val="bg1"/>
          </a:solidFill>
          <a:ln w="12700" cap="flat" cmpd="sng" algn="ctr">
            <a:solidFill>
              <a:srgbClr val="455560"/>
            </a:solidFill>
            <a:prstDash val="solid"/>
            <a:miter lim="800000"/>
          </a:ln>
          <a:effectLst/>
        </p:spPr>
        <p:txBody>
          <a:bodyPr rtlCol="0" anchor="ctr"/>
          <a:lstStyle/>
          <a:p>
            <a:pPr algn="ctr" defTabSz="1371592"/>
            <a:endParaRPr lang="en-GB" sz="1000" b="1" kern="0">
              <a:solidFill>
                <a:prstClr val="white"/>
              </a:solidFill>
            </a:endParaRPr>
          </a:p>
        </p:txBody>
      </p:sp>
      <p:sp>
        <p:nvSpPr>
          <p:cNvPr id="309" name="Rectangle 308">
            <a:extLst>
              <a:ext uri="{FF2B5EF4-FFF2-40B4-BE49-F238E27FC236}">
                <a16:creationId xmlns:a16="http://schemas.microsoft.com/office/drawing/2014/main" id="{2C3F00F6-4A72-4D85-BBF1-48CBAAE74A7C}"/>
              </a:ext>
            </a:extLst>
          </p:cNvPr>
          <p:cNvSpPr/>
          <p:nvPr/>
        </p:nvSpPr>
        <p:spPr>
          <a:xfrm>
            <a:off x="1067310" y="4746108"/>
            <a:ext cx="2633424" cy="1600876"/>
          </a:xfrm>
          <a:prstGeom prst="rect">
            <a:avLst/>
          </a:prstGeom>
          <a:solidFill>
            <a:schemeClr val="bg1"/>
          </a:solidFill>
          <a:ln w="12700" cap="flat" cmpd="sng" algn="ctr">
            <a:solidFill>
              <a:srgbClr val="43B049"/>
            </a:solidFill>
            <a:prstDash val="solid"/>
            <a:miter lim="800000"/>
          </a:ln>
          <a:effectLst/>
        </p:spPr>
        <p:txBody>
          <a:bodyPr rtlCol="0" anchor="ctr"/>
          <a:lstStyle/>
          <a:p>
            <a:pPr algn="ctr" defTabSz="1371592"/>
            <a:endParaRPr lang="en-GB" sz="1000" b="1" kern="0">
              <a:solidFill>
                <a:prstClr val="white"/>
              </a:solidFill>
            </a:endParaRPr>
          </a:p>
        </p:txBody>
      </p:sp>
      <p:sp>
        <p:nvSpPr>
          <p:cNvPr id="310" name="Rectangle 309">
            <a:extLst>
              <a:ext uri="{FF2B5EF4-FFF2-40B4-BE49-F238E27FC236}">
                <a16:creationId xmlns:a16="http://schemas.microsoft.com/office/drawing/2014/main" id="{09A62E6B-4717-4ACE-82C2-967E1621D9D0}"/>
              </a:ext>
            </a:extLst>
          </p:cNvPr>
          <p:cNvSpPr/>
          <p:nvPr>
            <p:custDataLst>
              <p:tags r:id="rId2"/>
            </p:custDataLst>
          </p:nvPr>
        </p:nvSpPr>
        <p:spPr bwMode="auto">
          <a:xfrm>
            <a:off x="1067308" y="4745187"/>
            <a:ext cx="2633418" cy="277663"/>
          </a:xfrm>
          <a:prstGeom prst="rect">
            <a:avLst/>
          </a:prstGeom>
          <a:solidFill>
            <a:srgbClr val="43B049"/>
          </a:solidFill>
          <a:ln w="15875" cap="flat" cmpd="sng" algn="ctr">
            <a:noFill/>
            <a:prstDash val="sysDash"/>
            <a:round/>
            <a:headEnd type="none" w="med" len="med"/>
            <a:tailEnd type="none" w="med" len="med"/>
          </a:ln>
          <a:effectLst/>
        </p:spPr>
        <p:txBody>
          <a:bodyPr vert="horz" wrap="square" lIns="97530" tIns="48765" rIns="97530" bIns="48765" numCol="1" rtlCol="0" anchor="ctr" anchorCtr="0" compatLnSpc="1">
            <a:prstTxWarp prst="textNoShape">
              <a:avLst/>
            </a:prstTxWarp>
            <a:noAutofit/>
          </a:bodyPr>
          <a:lstStyle/>
          <a:p>
            <a:pPr algn="ctr" fontAlgn="base">
              <a:spcBef>
                <a:spcPct val="0"/>
              </a:spcBef>
              <a:spcAft>
                <a:spcPct val="0"/>
              </a:spcAft>
            </a:pPr>
            <a:r>
              <a:rPr lang="en-US" sz="800" b="1" cap="all" spc="150" dirty="0">
                <a:solidFill>
                  <a:schemeClr val="bg1"/>
                </a:solidFill>
                <a:latin typeface="+mj-lt"/>
              </a:rPr>
              <a:t>Restructuring</a:t>
            </a:r>
          </a:p>
          <a:p>
            <a:pPr algn="ctr" fontAlgn="base">
              <a:spcBef>
                <a:spcPct val="0"/>
              </a:spcBef>
              <a:spcAft>
                <a:spcPct val="0"/>
              </a:spcAft>
            </a:pPr>
            <a:r>
              <a:rPr lang="en-US" sz="600" b="1" cap="all" spc="150" dirty="0">
                <a:solidFill>
                  <a:schemeClr val="bg1"/>
                </a:solidFill>
                <a:latin typeface="+mj-lt"/>
              </a:rPr>
              <a:t>(96 STAFF)</a:t>
            </a:r>
          </a:p>
        </p:txBody>
      </p:sp>
      <p:sp>
        <p:nvSpPr>
          <p:cNvPr id="311" name="Rectangle 310">
            <a:extLst>
              <a:ext uri="{FF2B5EF4-FFF2-40B4-BE49-F238E27FC236}">
                <a16:creationId xmlns:a16="http://schemas.microsoft.com/office/drawing/2014/main" id="{D19A4F0E-D45A-48BE-BEB0-16F3958384F2}"/>
              </a:ext>
            </a:extLst>
          </p:cNvPr>
          <p:cNvSpPr/>
          <p:nvPr>
            <p:custDataLst>
              <p:tags r:id="rId3"/>
            </p:custDataLst>
          </p:nvPr>
        </p:nvSpPr>
        <p:spPr bwMode="auto">
          <a:xfrm>
            <a:off x="6205260" y="2170314"/>
            <a:ext cx="2633418" cy="277663"/>
          </a:xfrm>
          <a:prstGeom prst="rect">
            <a:avLst/>
          </a:prstGeom>
          <a:solidFill>
            <a:srgbClr val="00B0F0"/>
          </a:solidFill>
          <a:ln w="15875" cap="flat" cmpd="sng" algn="ctr">
            <a:noFill/>
            <a:prstDash val="sysDash"/>
            <a:round/>
            <a:headEnd type="none" w="med" len="med"/>
            <a:tailEnd type="none" w="med" len="med"/>
          </a:ln>
          <a:effectLst/>
        </p:spPr>
        <p:txBody>
          <a:bodyPr vert="horz" wrap="square" lIns="97530" tIns="48765" rIns="97530" bIns="48765" numCol="1" rtlCol="0" anchor="ctr" anchorCtr="0" compatLnSpc="1">
            <a:prstTxWarp prst="textNoShape">
              <a:avLst/>
            </a:prstTxWarp>
            <a:noAutofit/>
          </a:bodyPr>
          <a:lstStyle/>
          <a:p>
            <a:pPr algn="ctr" fontAlgn="base">
              <a:spcBef>
                <a:spcPct val="0"/>
              </a:spcBef>
              <a:spcAft>
                <a:spcPct val="0"/>
              </a:spcAft>
            </a:pPr>
            <a:r>
              <a:rPr lang="en-US" sz="800" b="1" cap="all" spc="150" dirty="0">
                <a:solidFill>
                  <a:schemeClr val="bg1"/>
                </a:solidFill>
                <a:latin typeface="+mj-lt"/>
              </a:rPr>
              <a:t>Real Estate advisory</a:t>
            </a:r>
          </a:p>
          <a:p>
            <a:pPr algn="ctr" fontAlgn="base">
              <a:spcBef>
                <a:spcPct val="0"/>
              </a:spcBef>
              <a:spcAft>
                <a:spcPct val="0"/>
              </a:spcAft>
            </a:pPr>
            <a:r>
              <a:rPr lang="en-US" sz="600" b="1" cap="all" spc="150" dirty="0">
                <a:solidFill>
                  <a:schemeClr val="bg1"/>
                </a:solidFill>
                <a:latin typeface="+mj-lt"/>
              </a:rPr>
              <a:t>(11 STAFF)</a:t>
            </a:r>
          </a:p>
        </p:txBody>
      </p:sp>
      <p:sp>
        <p:nvSpPr>
          <p:cNvPr id="312" name="Rectangle 311">
            <a:extLst>
              <a:ext uri="{FF2B5EF4-FFF2-40B4-BE49-F238E27FC236}">
                <a16:creationId xmlns:a16="http://schemas.microsoft.com/office/drawing/2014/main" id="{ED414244-18C6-482D-82B4-0A4DD671C0F0}"/>
              </a:ext>
            </a:extLst>
          </p:cNvPr>
          <p:cNvSpPr/>
          <p:nvPr>
            <p:custDataLst>
              <p:tags r:id="rId4"/>
            </p:custDataLst>
          </p:nvPr>
        </p:nvSpPr>
        <p:spPr bwMode="auto">
          <a:xfrm>
            <a:off x="6205260" y="4747493"/>
            <a:ext cx="2633418" cy="277663"/>
          </a:xfrm>
          <a:prstGeom prst="rect">
            <a:avLst/>
          </a:prstGeom>
          <a:solidFill>
            <a:srgbClr val="455560"/>
          </a:solidFill>
          <a:ln w="15875" cap="flat" cmpd="sng" algn="ctr">
            <a:noFill/>
            <a:prstDash val="sysDash"/>
            <a:round/>
            <a:headEnd type="none" w="med" len="med"/>
            <a:tailEnd type="none" w="med" len="med"/>
          </a:ln>
          <a:effectLst/>
        </p:spPr>
        <p:txBody>
          <a:bodyPr vert="horz" wrap="square" lIns="97530" tIns="48765" rIns="97530" bIns="48765" numCol="1" rtlCol="0" anchor="ctr" anchorCtr="0" compatLnSpc="1">
            <a:prstTxWarp prst="textNoShape">
              <a:avLst/>
            </a:prstTxWarp>
            <a:noAutofit/>
          </a:bodyPr>
          <a:lstStyle/>
          <a:p>
            <a:pPr algn="ctr" fontAlgn="base">
              <a:spcBef>
                <a:spcPct val="0"/>
              </a:spcBef>
              <a:spcAft>
                <a:spcPct val="0"/>
              </a:spcAft>
            </a:pPr>
            <a:r>
              <a:rPr lang="en-US" sz="800" b="1" cap="all" spc="150" dirty="0">
                <a:solidFill>
                  <a:schemeClr val="bg1"/>
                </a:solidFill>
                <a:latin typeface="+mj-lt"/>
              </a:rPr>
              <a:t>Personal insolvency</a:t>
            </a:r>
          </a:p>
          <a:p>
            <a:pPr algn="ctr" fontAlgn="base">
              <a:spcBef>
                <a:spcPct val="0"/>
              </a:spcBef>
              <a:spcAft>
                <a:spcPct val="0"/>
              </a:spcAft>
            </a:pPr>
            <a:r>
              <a:rPr lang="en-US" sz="600" b="1" cap="all" spc="150" dirty="0">
                <a:solidFill>
                  <a:schemeClr val="bg1"/>
                </a:solidFill>
                <a:latin typeface="+mj-lt"/>
              </a:rPr>
              <a:t>(4 STAFF)</a:t>
            </a:r>
            <a:endParaRPr lang="en-US" sz="500" b="1" cap="all" spc="150" dirty="0">
              <a:solidFill>
                <a:schemeClr val="bg1"/>
              </a:solidFill>
              <a:latin typeface="+mj-lt"/>
            </a:endParaRPr>
          </a:p>
        </p:txBody>
      </p:sp>
      <p:sp>
        <p:nvSpPr>
          <p:cNvPr id="313" name="Rectangle 88">
            <a:extLst>
              <a:ext uri="{FF2B5EF4-FFF2-40B4-BE49-F238E27FC236}">
                <a16:creationId xmlns:a16="http://schemas.microsoft.com/office/drawing/2014/main" id="{67BA3177-1B7E-448D-869B-24FE9BA77FE2}"/>
              </a:ext>
            </a:extLst>
          </p:cNvPr>
          <p:cNvSpPr>
            <a:spLocks noChangeArrowheads="1"/>
          </p:cNvSpPr>
          <p:nvPr/>
        </p:nvSpPr>
        <p:spPr bwMode="auto">
          <a:xfrm>
            <a:off x="1091196" y="2514934"/>
            <a:ext cx="2483142" cy="1143757"/>
          </a:xfrm>
          <a:prstGeom prst="rect">
            <a:avLst/>
          </a:prstGeom>
          <a:solidFill>
            <a:schemeClr val="bg1"/>
          </a:solidFill>
          <a:ln w="9525" algn="ctr">
            <a:noFill/>
            <a:miter lim="800000"/>
            <a:headEnd/>
            <a:tailEnd/>
          </a:ln>
          <a:effectLst/>
        </p:spPr>
        <p:txBody>
          <a:bodyPr lIns="36000" tIns="36000" rIns="36000" bIns="36000" anchor="t" anchorCtr="0"/>
          <a:lstStyle/>
          <a:p>
            <a:pPr marL="171450" indent="-171450">
              <a:spcAft>
                <a:spcPts val="100"/>
              </a:spcAft>
              <a:buClr>
                <a:srgbClr val="14487F"/>
              </a:buClr>
              <a:buFont typeface="Arial" panose="020B0604020202020204" pitchFamily="34" charset="0"/>
              <a:buChar char="•"/>
              <a:defRPr/>
            </a:pPr>
            <a:r>
              <a:rPr lang="en-US" sz="800"/>
              <a:t>Turnaround / Solvent Solutions</a:t>
            </a:r>
          </a:p>
          <a:p>
            <a:pPr marL="171450" indent="-171450">
              <a:spcAft>
                <a:spcPts val="100"/>
              </a:spcAft>
              <a:buClr>
                <a:srgbClr val="14487F"/>
              </a:buClr>
              <a:buFont typeface="Arial" panose="020B0604020202020204" pitchFamily="34" charset="0"/>
              <a:buChar char="•"/>
              <a:defRPr/>
            </a:pPr>
            <a:r>
              <a:rPr lang="en-US" sz="800"/>
              <a:t>Options Reviews</a:t>
            </a:r>
          </a:p>
          <a:p>
            <a:pPr marL="171450" indent="-171450">
              <a:spcAft>
                <a:spcPts val="100"/>
              </a:spcAft>
              <a:buClr>
                <a:srgbClr val="14487F"/>
              </a:buClr>
              <a:buFont typeface="Arial" panose="020B0604020202020204" pitchFamily="34" charset="0"/>
              <a:buChar char="•"/>
              <a:defRPr/>
            </a:pPr>
            <a:r>
              <a:rPr lang="en-US" sz="800"/>
              <a:t>Financial Forecast Modelling</a:t>
            </a:r>
          </a:p>
          <a:p>
            <a:pPr marL="171450" indent="-171450">
              <a:spcAft>
                <a:spcPts val="100"/>
              </a:spcAft>
              <a:buClr>
                <a:srgbClr val="14487F"/>
              </a:buClr>
              <a:buFont typeface="Arial" panose="020B0604020202020204" pitchFamily="34" charset="0"/>
              <a:buChar char="•"/>
              <a:defRPr/>
            </a:pPr>
            <a:r>
              <a:rPr lang="en-US" sz="800"/>
              <a:t>Pre-Lend Reviews / Diligence </a:t>
            </a:r>
          </a:p>
          <a:p>
            <a:pPr marL="171450" indent="-171450">
              <a:spcAft>
                <a:spcPts val="100"/>
              </a:spcAft>
              <a:buClr>
                <a:srgbClr val="14487F"/>
              </a:buClr>
              <a:buFont typeface="Arial" panose="020B0604020202020204" pitchFamily="34" charset="0"/>
              <a:buChar char="•"/>
              <a:defRPr/>
            </a:pPr>
            <a:r>
              <a:rPr lang="en-US" sz="800"/>
              <a:t>Stakeholder Management</a:t>
            </a:r>
          </a:p>
          <a:p>
            <a:pPr marL="171450" indent="-171450">
              <a:spcAft>
                <a:spcPts val="100"/>
              </a:spcAft>
              <a:buClr>
                <a:srgbClr val="14487F"/>
              </a:buClr>
              <a:buFont typeface="Arial" panose="020B0604020202020204" pitchFamily="34" charset="0"/>
              <a:buChar char="•"/>
              <a:defRPr/>
            </a:pPr>
            <a:r>
              <a:rPr lang="en-US" sz="800"/>
              <a:t>HMRC Time to Pay</a:t>
            </a:r>
          </a:p>
          <a:p>
            <a:pPr marL="171450" indent="-171450">
              <a:spcAft>
                <a:spcPts val="100"/>
              </a:spcAft>
              <a:buClr>
                <a:srgbClr val="14487F"/>
              </a:buClr>
              <a:buFont typeface="Arial" panose="020B0604020202020204" pitchFamily="34" charset="0"/>
              <a:buChar char="•"/>
              <a:defRPr/>
            </a:pPr>
            <a:r>
              <a:rPr lang="en-US" sz="800"/>
              <a:t>Debt Advisory</a:t>
            </a:r>
          </a:p>
        </p:txBody>
      </p:sp>
      <p:sp>
        <p:nvSpPr>
          <p:cNvPr id="314" name="Rectangle 88">
            <a:extLst>
              <a:ext uri="{FF2B5EF4-FFF2-40B4-BE49-F238E27FC236}">
                <a16:creationId xmlns:a16="http://schemas.microsoft.com/office/drawing/2014/main" id="{352F866F-5F37-4E8C-BBBD-D7C955F71DD8}"/>
              </a:ext>
            </a:extLst>
          </p:cNvPr>
          <p:cNvSpPr>
            <a:spLocks noChangeArrowheads="1"/>
          </p:cNvSpPr>
          <p:nvPr/>
        </p:nvSpPr>
        <p:spPr bwMode="auto">
          <a:xfrm>
            <a:off x="1142446" y="5100269"/>
            <a:ext cx="2483142" cy="1143757"/>
          </a:xfrm>
          <a:prstGeom prst="rect">
            <a:avLst/>
          </a:prstGeom>
          <a:solidFill>
            <a:schemeClr val="bg1"/>
          </a:solidFill>
          <a:ln w="9525" algn="ctr">
            <a:noFill/>
            <a:miter lim="800000"/>
            <a:headEnd/>
            <a:tailEnd/>
          </a:ln>
          <a:effectLst/>
        </p:spPr>
        <p:txBody>
          <a:bodyPr lIns="36000" tIns="36000" rIns="36000" bIns="36000" anchor="t" anchorCtr="0"/>
          <a:lstStyle/>
          <a:p>
            <a:pPr marL="171450" indent="-171450">
              <a:spcAft>
                <a:spcPts val="100"/>
              </a:spcAft>
              <a:buClr>
                <a:srgbClr val="14487F"/>
              </a:buClr>
              <a:buFont typeface="Arial" panose="020B0604020202020204" pitchFamily="34" charset="0"/>
              <a:buChar char="•"/>
              <a:defRPr/>
            </a:pPr>
            <a:r>
              <a:rPr lang="en-GB" sz="800"/>
              <a:t>Administrations</a:t>
            </a:r>
          </a:p>
          <a:p>
            <a:pPr marL="171450" indent="-171450">
              <a:spcAft>
                <a:spcPts val="100"/>
              </a:spcAft>
              <a:buClr>
                <a:srgbClr val="14487F"/>
              </a:buClr>
              <a:buFont typeface="Arial" panose="020B0604020202020204" pitchFamily="34" charset="0"/>
              <a:buChar char="•"/>
              <a:defRPr/>
            </a:pPr>
            <a:r>
              <a:rPr lang="en-GB" sz="800"/>
              <a:t>CVA’s / Restructuring Plans / Moratoriums</a:t>
            </a:r>
          </a:p>
          <a:p>
            <a:pPr marL="171450" indent="-171450">
              <a:spcAft>
                <a:spcPts val="100"/>
              </a:spcAft>
              <a:buClr>
                <a:srgbClr val="14487F"/>
              </a:buClr>
              <a:buFont typeface="Arial" panose="020B0604020202020204" pitchFamily="34" charset="0"/>
              <a:buChar char="•"/>
              <a:defRPr/>
            </a:pPr>
            <a:r>
              <a:rPr lang="en-GB" sz="800"/>
              <a:t>Liquidations</a:t>
            </a:r>
          </a:p>
          <a:p>
            <a:pPr marL="171450" indent="-171450">
              <a:spcAft>
                <a:spcPts val="100"/>
              </a:spcAft>
              <a:buClr>
                <a:srgbClr val="14487F"/>
              </a:buClr>
              <a:buFont typeface="Arial" panose="020B0604020202020204" pitchFamily="34" charset="0"/>
              <a:buChar char="•"/>
              <a:defRPr/>
            </a:pPr>
            <a:r>
              <a:rPr lang="en-GB" sz="800"/>
              <a:t>Contingency Planning</a:t>
            </a:r>
          </a:p>
          <a:p>
            <a:pPr marL="171450" indent="-171450">
              <a:spcAft>
                <a:spcPts val="100"/>
              </a:spcAft>
              <a:buClr>
                <a:srgbClr val="14487F"/>
              </a:buClr>
              <a:buFont typeface="Arial" panose="020B0604020202020204" pitchFamily="34" charset="0"/>
              <a:buChar char="•"/>
              <a:defRPr/>
            </a:pPr>
            <a:r>
              <a:rPr lang="en-GB" sz="800"/>
              <a:t>Accelerated M&amp;A Processes</a:t>
            </a:r>
          </a:p>
          <a:p>
            <a:pPr marL="171450" indent="-171450">
              <a:spcAft>
                <a:spcPts val="100"/>
              </a:spcAft>
              <a:buClr>
                <a:srgbClr val="14487F"/>
              </a:buClr>
              <a:buFont typeface="Arial" panose="020B0604020202020204" pitchFamily="34" charset="0"/>
              <a:buChar char="•"/>
              <a:defRPr/>
            </a:pPr>
            <a:r>
              <a:rPr lang="en-GB" sz="800"/>
              <a:t>Contentious Insolvency</a:t>
            </a:r>
          </a:p>
          <a:p>
            <a:pPr marL="171450" indent="-171450">
              <a:spcAft>
                <a:spcPts val="100"/>
              </a:spcAft>
              <a:buClr>
                <a:srgbClr val="14487F"/>
              </a:buClr>
              <a:buFont typeface="Arial" panose="020B0604020202020204" pitchFamily="34" charset="0"/>
              <a:buChar char="•"/>
              <a:defRPr/>
            </a:pPr>
            <a:r>
              <a:rPr lang="en-GB" sz="800" b="1"/>
              <a:t>Corporate Structure Simplification </a:t>
            </a:r>
          </a:p>
        </p:txBody>
      </p:sp>
      <p:sp>
        <p:nvSpPr>
          <p:cNvPr id="315" name="Rectangle 88">
            <a:extLst>
              <a:ext uri="{FF2B5EF4-FFF2-40B4-BE49-F238E27FC236}">
                <a16:creationId xmlns:a16="http://schemas.microsoft.com/office/drawing/2014/main" id="{520C5960-756D-42C7-A3D0-A8AA1B2F3DC8}"/>
              </a:ext>
            </a:extLst>
          </p:cNvPr>
          <p:cNvSpPr>
            <a:spLocks noChangeArrowheads="1"/>
          </p:cNvSpPr>
          <p:nvPr/>
        </p:nvSpPr>
        <p:spPr bwMode="auto">
          <a:xfrm>
            <a:off x="6298786" y="2523090"/>
            <a:ext cx="2483142" cy="1143757"/>
          </a:xfrm>
          <a:prstGeom prst="rect">
            <a:avLst/>
          </a:prstGeom>
          <a:solidFill>
            <a:schemeClr val="bg1"/>
          </a:solidFill>
          <a:ln w="9525" algn="ctr">
            <a:noFill/>
            <a:miter lim="800000"/>
            <a:headEnd/>
            <a:tailEnd/>
          </a:ln>
          <a:effectLst/>
        </p:spPr>
        <p:txBody>
          <a:bodyPr lIns="36000" tIns="36000" rIns="36000" bIns="36000" anchor="t" anchorCtr="0"/>
          <a:lstStyle/>
          <a:p>
            <a:pPr marL="171450" indent="-171450">
              <a:spcAft>
                <a:spcPts val="300"/>
              </a:spcAft>
              <a:buClr>
                <a:srgbClr val="14487F"/>
              </a:buClr>
              <a:buFont typeface="Arial" panose="020B0604020202020204" pitchFamily="34" charset="0"/>
              <a:buChar char="•"/>
              <a:defRPr/>
            </a:pPr>
            <a:r>
              <a:rPr lang="en-GB" sz="800"/>
              <a:t>LPA Receiverships</a:t>
            </a:r>
          </a:p>
          <a:p>
            <a:pPr marL="171450" indent="-171450">
              <a:spcAft>
                <a:spcPts val="300"/>
              </a:spcAft>
              <a:buClr>
                <a:srgbClr val="14487F"/>
              </a:buClr>
              <a:buFont typeface="Arial" panose="020B0604020202020204" pitchFamily="34" charset="0"/>
              <a:buChar char="•"/>
              <a:defRPr/>
            </a:pPr>
            <a:r>
              <a:rPr lang="en-GB" sz="800"/>
              <a:t>RICS ‘Red Book’ Valuations</a:t>
            </a:r>
          </a:p>
          <a:p>
            <a:pPr marL="171450" indent="-171450">
              <a:spcAft>
                <a:spcPts val="300"/>
              </a:spcAft>
              <a:buClr>
                <a:srgbClr val="14487F"/>
              </a:buClr>
              <a:buFont typeface="Arial" panose="020B0604020202020204" pitchFamily="34" charset="0"/>
              <a:buChar char="•"/>
              <a:defRPr/>
            </a:pPr>
            <a:r>
              <a:rPr lang="en-GB" sz="800"/>
              <a:t>Property Asset Management</a:t>
            </a:r>
          </a:p>
          <a:p>
            <a:pPr marL="171450" indent="-171450">
              <a:spcAft>
                <a:spcPts val="300"/>
              </a:spcAft>
              <a:buClr>
                <a:srgbClr val="14487F"/>
              </a:buClr>
              <a:buFont typeface="Arial" panose="020B0604020202020204" pitchFamily="34" charset="0"/>
              <a:buChar char="•"/>
              <a:defRPr/>
            </a:pPr>
            <a:r>
              <a:rPr lang="en-GB" sz="800"/>
              <a:t>Strategic Value Advisory</a:t>
            </a:r>
          </a:p>
          <a:p>
            <a:pPr marL="171450" indent="-171450">
              <a:spcAft>
                <a:spcPts val="300"/>
              </a:spcAft>
              <a:buClr>
                <a:srgbClr val="14487F"/>
              </a:buClr>
              <a:buFont typeface="Arial" panose="020B0604020202020204" pitchFamily="34" charset="0"/>
              <a:buChar char="•"/>
              <a:defRPr/>
            </a:pPr>
            <a:r>
              <a:rPr lang="en-GB" sz="800"/>
              <a:t>Transaction Due Diligence</a:t>
            </a:r>
          </a:p>
          <a:p>
            <a:pPr marL="171450" indent="-171450">
              <a:spcAft>
                <a:spcPts val="300"/>
              </a:spcAft>
              <a:buClr>
                <a:srgbClr val="14487F"/>
              </a:buClr>
              <a:buFont typeface="Arial" panose="020B0604020202020204" pitchFamily="34" charset="0"/>
              <a:buChar char="•"/>
              <a:defRPr/>
            </a:pPr>
            <a:endParaRPr lang="en-US" sz="650"/>
          </a:p>
        </p:txBody>
      </p:sp>
      <p:sp>
        <p:nvSpPr>
          <p:cNvPr id="316" name="Rectangle 88">
            <a:extLst>
              <a:ext uri="{FF2B5EF4-FFF2-40B4-BE49-F238E27FC236}">
                <a16:creationId xmlns:a16="http://schemas.microsoft.com/office/drawing/2014/main" id="{2F29ACE4-00D7-421D-A0DC-A0CACF8641A8}"/>
              </a:ext>
            </a:extLst>
          </p:cNvPr>
          <p:cNvSpPr>
            <a:spLocks noChangeArrowheads="1"/>
          </p:cNvSpPr>
          <p:nvPr/>
        </p:nvSpPr>
        <p:spPr bwMode="auto">
          <a:xfrm>
            <a:off x="6336624" y="5100269"/>
            <a:ext cx="2483142" cy="1143757"/>
          </a:xfrm>
          <a:prstGeom prst="rect">
            <a:avLst/>
          </a:prstGeom>
          <a:solidFill>
            <a:schemeClr val="bg1"/>
          </a:solidFill>
          <a:ln w="9525" algn="ctr">
            <a:noFill/>
            <a:miter lim="800000"/>
            <a:headEnd/>
            <a:tailEnd/>
          </a:ln>
          <a:effectLst/>
        </p:spPr>
        <p:txBody>
          <a:bodyPr lIns="36000" tIns="36000" rIns="36000" bIns="36000" anchor="t" anchorCtr="0"/>
          <a:lstStyle/>
          <a:p>
            <a:pPr marL="171450" indent="-171450">
              <a:spcAft>
                <a:spcPts val="300"/>
              </a:spcAft>
              <a:buClr>
                <a:srgbClr val="14487F"/>
              </a:buClr>
              <a:buFont typeface="Arial" panose="020B0604020202020204" pitchFamily="34" charset="0"/>
              <a:buChar char="•"/>
            </a:pPr>
            <a:r>
              <a:rPr lang="en-GB" sz="800"/>
              <a:t>Individual Voluntary Arrangements (IVA’s)</a:t>
            </a:r>
          </a:p>
          <a:p>
            <a:pPr marL="171450" indent="-171450">
              <a:spcAft>
                <a:spcPts val="300"/>
              </a:spcAft>
              <a:buClr>
                <a:srgbClr val="14487F"/>
              </a:buClr>
              <a:buFont typeface="Arial" panose="020B0604020202020204" pitchFamily="34" charset="0"/>
              <a:buChar char="•"/>
            </a:pPr>
            <a:r>
              <a:rPr lang="en-GB" sz="800"/>
              <a:t>Bankruptcies</a:t>
            </a:r>
          </a:p>
          <a:p>
            <a:pPr marL="171450" indent="-171450">
              <a:spcAft>
                <a:spcPts val="300"/>
              </a:spcAft>
              <a:buClr>
                <a:srgbClr val="14487F"/>
              </a:buClr>
              <a:buFont typeface="Arial" panose="020B0604020202020204" pitchFamily="34" charset="0"/>
              <a:buChar char="•"/>
            </a:pPr>
            <a:r>
              <a:rPr lang="en-GB" sz="800"/>
              <a:t>Strategic Personal Advice</a:t>
            </a:r>
          </a:p>
          <a:p>
            <a:pPr marL="171450" indent="-171450">
              <a:spcAft>
                <a:spcPts val="300"/>
              </a:spcAft>
              <a:buClr>
                <a:srgbClr val="14487F"/>
              </a:buClr>
              <a:buFont typeface="Arial" panose="020B0604020202020204" pitchFamily="34" charset="0"/>
              <a:buChar char="•"/>
            </a:pPr>
            <a:r>
              <a:rPr lang="en-GB" sz="800"/>
              <a:t>Pre-Action Asset Recovery Reports</a:t>
            </a:r>
          </a:p>
        </p:txBody>
      </p:sp>
      <p:sp>
        <p:nvSpPr>
          <p:cNvPr id="321" name="TextBox 320">
            <a:extLst>
              <a:ext uri="{FF2B5EF4-FFF2-40B4-BE49-F238E27FC236}">
                <a16:creationId xmlns:a16="http://schemas.microsoft.com/office/drawing/2014/main" id="{84C00125-00A9-41C2-BD0B-37DCFC813808}"/>
              </a:ext>
            </a:extLst>
          </p:cNvPr>
          <p:cNvSpPr txBox="1"/>
          <p:nvPr/>
        </p:nvSpPr>
        <p:spPr>
          <a:xfrm flipH="1">
            <a:off x="4456435" y="3841830"/>
            <a:ext cx="1011374" cy="764312"/>
          </a:xfrm>
          <a:prstGeom prst="rect">
            <a:avLst/>
          </a:prstGeom>
          <a:noFill/>
        </p:spPr>
        <p:txBody>
          <a:bodyPr wrap="square" lIns="0" tIns="0" rIns="0" bIns="0" rtlCol="0">
            <a:spAutoFit/>
          </a:bodyPr>
          <a:lstStyle/>
          <a:p>
            <a:pPr algn="ctr">
              <a:spcAft>
                <a:spcPts val="100"/>
              </a:spcAft>
            </a:pPr>
            <a:r>
              <a:rPr lang="en-GB" sz="1600" b="1">
                <a:solidFill>
                  <a:srgbClr val="14487F"/>
                </a:solidFill>
              </a:rPr>
              <a:t>4 </a:t>
            </a:r>
          </a:p>
          <a:p>
            <a:pPr algn="ctr">
              <a:spcAft>
                <a:spcPts val="100"/>
              </a:spcAft>
            </a:pPr>
            <a:r>
              <a:rPr lang="en-GB" sz="1600" b="1">
                <a:solidFill>
                  <a:srgbClr val="14487F"/>
                </a:solidFill>
              </a:rPr>
              <a:t>Core Services</a:t>
            </a:r>
          </a:p>
        </p:txBody>
      </p:sp>
      <p:sp>
        <p:nvSpPr>
          <p:cNvPr id="322" name="TextBox 321">
            <a:extLst>
              <a:ext uri="{FF2B5EF4-FFF2-40B4-BE49-F238E27FC236}">
                <a16:creationId xmlns:a16="http://schemas.microsoft.com/office/drawing/2014/main" id="{8108D56F-F651-4AA8-89EB-B6BA682D4485}"/>
              </a:ext>
            </a:extLst>
          </p:cNvPr>
          <p:cNvSpPr txBox="1"/>
          <p:nvPr/>
        </p:nvSpPr>
        <p:spPr>
          <a:xfrm>
            <a:off x="4448412" y="1487496"/>
            <a:ext cx="994230" cy="124906"/>
          </a:xfrm>
          <a:prstGeom prst="rect">
            <a:avLst/>
          </a:prstGeom>
          <a:noFill/>
        </p:spPr>
        <p:txBody>
          <a:bodyPr wrap="square" lIns="0" tIns="0" rIns="0" bIns="0" rtlCol="0">
            <a:spAutoFit/>
          </a:bodyPr>
          <a:lstStyle/>
          <a:p>
            <a:pPr algn="ctr">
              <a:lnSpc>
                <a:spcPct val="110000"/>
              </a:lnSpc>
              <a:spcBef>
                <a:spcPts val="300"/>
              </a:spcBef>
              <a:spcAft>
                <a:spcPts val="300"/>
              </a:spcAft>
            </a:pPr>
            <a:r>
              <a:rPr lang="en-GB" sz="800" b="1">
                <a:solidFill>
                  <a:srgbClr val="14487F"/>
                </a:solidFill>
              </a:rPr>
              <a:t>RESTRUCTURING</a:t>
            </a:r>
          </a:p>
        </p:txBody>
      </p:sp>
      <p:sp>
        <p:nvSpPr>
          <p:cNvPr id="323" name="Oval 322">
            <a:extLst>
              <a:ext uri="{FF2B5EF4-FFF2-40B4-BE49-F238E27FC236}">
                <a16:creationId xmlns:a16="http://schemas.microsoft.com/office/drawing/2014/main" id="{435B01C6-9400-4AB5-8C44-3A81E3E33267}"/>
              </a:ext>
            </a:extLst>
          </p:cNvPr>
          <p:cNvSpPr/>
          <p:nvPr/>
        </p:nvSpPr>
        <p:spPr>
          <a:xfrm>
            <a:off x="91728" y="2523090"/>
            <a:ext cx="905947" cy="922283"/>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1371592"/>
            <a:r>
              <a:rPr lang="en-GB" sz="1000" b="1" kern="0">
                <a:solidFill>
                  <a:prstClr val="white"/>
                </a:solidFill>
              </a:rPr>
              <a:t>100 cases per annum</a:t>
            </a:r>
          </a:p>
          <a:p>
            <a:pPr algn="ctr" defTabSz="1371592"/>
            <a:endParaRPr lang="en-GB" sz="1000" b="1" kern="0">
              <a:solidFill>
                <a:prstClr val="white"/>
              </a:solidFill>
            </a:endParaRPr>
          </a:p>
        </p:txBody>
      </p:sp>
      <p:sp>
        <p:nvSpPr>
          <p:cNvPr id="324" name="Oval 323">
            <a:extLst>
              <a:ext uri="{FF2B5EF4-FFF2-40B4-BE49-F238E27FC236}">
                <a16:creationId xmlns:a16="http://schemas.microsoft.com/office/drawing/2014/main" id="{F02E4993-FDCD-459C-BB0D-FC7C70C513E6}"/>
              </a:ext>
            </a:extLst>
          </p:cNvPr>
          <p:cNvSpPr/>
          <p:nvPr/>
        </p:nvSpPr>
        <p:spPr>
          <a:xfrm>
            <a:off x="72477" y="5133208"/>
            <a:ext cx="905947" cy="922283"/>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1371592"/>
            <a:r>
              <a:rPr lang="en-GB" sz="1000" b="1" kern="0">
                <a:solidFill>
                  <a:prstClr val="white"/>
                </a:solidFill>
              </a:rPr>
              <a:t>55 cases per annum</a:t>
            </a:r>
          </a:p>
          <a:p>
            <a:pPr algn="ctr" defTabSz="1371592"/>
            <a:endParaRPr lang="en-GB" sz="1000" b="1" kern="0">
              <a:solidFill>
                <a:prstClr val="white"/>
              </a:solidFill>
            </a:endParaRPr>
          </a:p>
        </p:txBody>
      </p:sp>
      <p:sp>
        <p:nvSpPr>
          <p:cNvPr id="325" name="Oval 324">
            <a:extLst>
              <a:ext uri="{FF2B5EF4-FFF2-40B4-BE49-F238E27FC236}">
                <a16:creationId xmlns:a16="http://schemas.microsoft.com/office/drawing/2014/main" id="{740A09A5-39A4-4895-A162-7B53074FF719}"/>
              </a:ext>
            </a:extLst>
          </p:cNvPr>
          <p:cNvSpPr/>
          <p:nvPr/>
        </p:nvSpPr>
        <p:spPr>
          <a:xfrm>
            <a:off x="8951682" y="2469934"/>
            <a:ext cx="905947" cy="922283"/>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1371592"/>
            <a:r>
              <a:rPr lang="en-GB" sz="1000" b="1" kern="0">
                <a:solidFill>
                  <a:prstClr val="white"/>
                </a:solidFill>
              </a:rPr>
              <a:t>350 cases per annum</a:t>
            </a:r>
          </a:p>
          <a:p>
            <a:pPr algn="ctr" defTabSz="1371592"/>
            <a:endParaRPr lang="en-GB" sz="1000" b="1" kern="0">
              <a:solidFill>
                <a:prstClr val="white"/>
              </a:solidFill>
            </a:endParaRPr>
          </a:p>
        </p:txBody>
      </p:sp>
      <p:sp>
        <p:nvSpPr>
          <p:cNvPr id="326" name="Oval 325">
            <a:extLst>
              <a:ext uri="{FF2B5EF4-FFF2-40B4-BE49-F238E27FC236}">
                <a16:creationId xmlns:a16="http://schemas.microsoft.com/office/drawing/2014/main" id="{190601E5-D381-425C-B01A-645B4FA2E56B}"/>
              </a:ext>
            </a:extLst>
          </p:cNvPr>
          <p:cNvSpPr/>
          <p:nvPr/>
        </p:nvSpPr>
        <p:spPr>
          <a:xfrm>
            <a:off x="8962403" y="5133207"/>
            <a:ext cx="905947" cy="922283"/>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1371592"/>
            <a:r>
              <a:rPr lang="en-GB" sz="1000" b="1" kern="0">
                <a:solidFill>
                  <a:prstClr val="white"/>
                </a:solidFill>
              </a:rPr>
              <a:t>85 cases per annum</a:t>
            </a:r>
          </a:p>
          <a:p>
            <a:pPr algn="ctr" defTabSz="1371592"/>
            <a:endParaRPr lang="en-GB" sz="1000" b="1" kern="0">
              <a:solidFill>
                <a:prstClr val="white"/>
              </a:solidFill>
            </a:endParaRPr>
          </a:p>
        </p:txBody>
      </p:sp>
    </p:spTree>
    <p:extLst>
      <p:ext uri="{BB962C8B-B14F-4D97-AF65-F5344CB8AC3E}">
        <p14:creationId xmlns:p14="http://schemas.microsoft.com/office/powerpoint/2010/main" val="996750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565079" y="2021370"/>
            <a:ext cx="8640566" cy="846523"/>
          </a:xfrm>
        </p:spPr>
        <p:txBody>
          <a:bodyPr/>
          <a:lstStyle/>
          <a:p>
            <a:r>
              <a:rPr lang="en-US"/>
              <a:t>02. UK Restructuring Market Update</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prstGeom prst="rect">
            <a:avLst/>
          </a:prstGeom>
        </p:spPr>
        <p:txBody>
          <a:bodyPr/>
          <a:lstStyle/>
          <a:p>
            <a:fld id="{CB7FE98A-78B1-495F-8A5C-53E48422F91F}" type="slidenum">
              <a:rPr lang="en-US" smtClean="0"/>
              <a:pPr/>
              <a:t>6</a:t>
            </a:fld>
            <a:endParaRPr lang="en-US"/>
          </a:p>
        </p:txBody>
      </p:sp>
    </p:spTree>
    <p:extLst>
      <p:ext uri="{BB962C8B-B14F-4D97-AF65-F5344CB8AC3E}">
        <p14:creationId xmlns:p14="http://schemas.microsoft.com/office/powerpoint/2010/main" val="3434057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32">
            <a:extLst>
              <a:ext uri="{FF2B5EF4-FFF2-40B4-BE49-F238E27FC236}">
                <a16:creationId xmlns:a16="http://schemas.microsoft.com/office/drawing/2014/main" id="{662AFE7B-7EDB-4A18-9647-F2AFF40539F1}"/>
              </a:ext>
            </a:extLst>
          </p:cNvPr>
          <p:cNvGraphicFramePr>
            <a:graphicFrameLocks/>
          </p:cNvGraphicFramePr>
          <p:nvPr>
            <p:extLst>
              <p:ext uri="{D42A27DB-BD31-4B8C-83A1-F6EECF244321}">
                <p14:modId xmlns:p14="http://schemas.microsoft.com/office/powerpoint/2010/main" val="3343621348"/>
              </p:ext>
            </p:extLst>
          </p:nvPr>
        </p:nvGraphicFramePr>
        <p:xfrm>
          <a:off x="468092" y="1621972"/>
          <a:ext cx="9092228" cy="3779903"/>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F65F83B0-69DF-4550-A530-FBEC6B9DE35E}"/>
              </a:ext>
            </a:extLst>
          </p:cNvPr>
          <p:cNvSpPr>
            <a:spLocks noGrp="1"/>
          </p:cNvSpPr>
          <p:nvPr>
            <p:ph type="sldNum" sz="quarter" idx="12"/>
          </p:nvPr>
        </p:nvSpPr>
        <p:spPr/>
        <p:txBody>
          <a:bodyPr/>
          <a:lstStyle/>
          <a:p>
            <a:fld id="{CB7FE98A-78B1-495F-8A5C-53E48422F91F}" type="slidenum">
              <a:rPr lang="en-US" smtClean="0"/>
              <a:pPr/>
              <a:t>7</a:t>
            </a:fld>
            <a:endParaRPr lang="en-US"/>
          </a:p>
        </p:txBody>
      </p:sp>
      <p:sp>
        <p:nvSpPr>
          <p:cNvPr id="69" name="Title 3">
            <a:extLst>
              <a:ext uri="{FF2B5EF4-FFF2-40B4-BE49-F238E27FC236}">
                <a16:creationId xmlns:a16="http://schemas.microsoft.com/office/drawing/2014/main" id="{EA7DA3E3-B8FF-41C9-B075-B0627534448B}"/>
              </a:ext>
            </a:extLst>
          </p:cNvPr>
          <p:cNvSpPr>
            <a:spLocks noGrp="1"/>
          </p:cNvSpPr>
          <p:nvPr>
            <p:ph type="title"/>
          </p:nvPr>
        </p:nvSpPr>
        <p:spPr>
          <a:xfrm>
            <a:off x="321747" y="376501"/>
            <a:ext cx="7172164" cy="712997"/>
          </a:xfrm>
        </p:spPr>
        <p:txBody>
          <a:bodyPr>
            <a:noAutofit/>
          </a:bodyPr>
          <a:lstStyle/>
          <a:p>
            <a:r>
              <a:rPr lang="en-GB" sz="2200"/>
              <a:t>MARKET UPDATE &amp; HISTORIC UK ADMINISTRATION APPOINTMENTS</a:t>
            </a:r>
          </a:p>
        </p:txBody>
      </p:sp>
      <p:sp>
        <p:nvSpPr>
          <p:cNvPr id="70" name="Text Placeholder 4">
            <a:extLst>
              <a:ext uri="{FF2B5EF4-FFF2-40B4-BE49-F238E27FC236}">
                <a16:creationId xmlns:a16="http://schemas.microsoft.com/office/drawing/2014/main" id="{F76F9DC9-C6E6-45F7-A637-B7B794C8988F}"/>
              </a:ext>
            </a:extLst>
          </p:cNvPr>
          <p:cNvSpPr txBox="1">
            <a:spLocks/>
          </p:cNvSpPr>
          <p:nvPr/>
        </p:nvSpPr>
        <p:spPr>
          <a:xfrm>
            <a:off x="320926" y="1109847"/>
            <a:ext cx="9092227" cy="219772"/>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Post run-off of UK Government support initiatives has seen Administration appointments increase</a:t>
            </a:r>
          </a:p>
        </p:txBody>
      </p:sp>
      <p:sp>
        <p:nvSpPr>
          <p:cNvPr id="82" name="Arrow: Right 81">
            <a:extLst>
              <a:ext uri="{FF2B5EF4-FFF2-40B4-BE49-F238E27FC236}">
                <a16:creationId xmlns:a16="http://schemas.microsoft.com/office/drawing/2014/main" id="{A334912F-8261-4B7F-89E0-DF20265107D9}"/>
              </a:ext>
            </a:extLst>
          </p:cNvPr>
          <p:cNvSpPr/>
          <p:nvPr/>
        </p:nvSpPr>
        <p:spPr>
          <a:xfrm>
            <a:off x="979791" y="1891428"/>
            <a:ext cx="3871918" cy="217152"/>
          </a:xfrm>
          <a:prstGeom prst="rightArrow">
            <a:avLst/>
          </a:prstGeom>
          <a:solidFill>
            <a:srgbClr val="43B049"/>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a typeface="MS PGothic"/>
              <a:cs typeface="+mn-cs"/>
            </a:endParaRPr>
          </a:p>
        </p:txBody>
      </p:sp>
      <p:cxnSp>
        <p:nvCxnSpPr>
          <p:cNvPr id="83" name="Straight Connector 82">
            <a:extLst>
              <a:ext uri="{FF2B5EF4-FFF2-40B4-BE49-F238E27FC236}">
                <a16:creationId xmlns:a16="http://schemas.microsoft.com/office/drawing/2014/main" id="{AC98F647-C725-461E-9B66-6CFC45931196}"/>
              </a:ext>
            </a:extLst>
          </p:cNvPr>
          <p:cNvCxnSpPr>
            <a:cxnSpLocks/>
          </p:cNvCxnSpPr>
          <p:nvPr/>
        </p:nvCxnSpPr>
        <p:spPr>
          <a:xfrm>
            <a:off x="4882481" y="2000004"/>
            <a:ext cx="0" cy="2644037"/>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85" name="TextBox 1">
            <a:extLst>
              <a:ext uri="{FF2B5EF4-FFF2-40B4-BE49-F238E27FC236}">
                <a16:creationId xmlns:a16="http://schemas.microsoft.com/office/drawing/2014/main" id="{95B1E367-10DA-4B10-A552-74D19096A57B}"/>
              </a:ext>
            </a:extLst>
          </p:cNvPr>
          <p:cNvSpPr txBox="1"/>
          <p:nvPr/>
        </p:nvSpPr>
        <p:spPr>
          <a:xfrm>
            <a:off x="2710280" y="1716566"/>
            <a:ext cx="807366" cy="18197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10000"/>
              </a:lnSpc>
              <a:spcBef>
                <a:spcPts val="300"/>
              </a:spcBef>
              <a:spcAft>
                <a:spcPts val="300"/>
              </a:spcAft>
              <a:buClrTx/>
              <a:buSzTx/>
              <a:buFontTx/>
              <a:buNone/>
              <a:tabLst/>
              <a:defRPr/>
            </a:pPr>
            <a:r>
              <a:rPr kumimoji="0" lang="en-GB" b="1" i="0" u="none" strike="noStrike" kern="0" cap="none" spc="0" normalizeH="0" baseline="0" noProof="0" dirty="0">
                <a:ln>
                  <a:noFill/>
                </a:ln>
                <a:solidFill>
                  <a:srgbClr val="43B049"/>
                </a:solidFill>
                <a:effectLst/>
                <a:uLnTx/>
                <a:uFillTx/>
                <a:ea typeface="MS PGothic"/>
                <a:cs typeface="+mn-cs"/>
              </a:rPr>
              <a:t>FY21</a:t>
            </a:r>
          </a:p>
        </p:txBody>
      </p:sp>
      <p:sp>
        <p:nvSpPr>
          <p:cNvPr id="88" name="TextBox 87">
            <a:extLst>
              <a:ext uri="{FF2B5EF4-FFF2-40B4-BE49-F238E27FC236}">
                <a16:creationId xmlns:a16="http://schemas.microsoft.com/office/drawing/2014/main" id="{FE3981AE-7E14-49AE-B237-A94781CB82F4}"/>
              </a:ext>
            </a:extLst>
          </p:cNvPr>
          <p:cNvSpPr txBox="1"/>
          <p:nvPr/>
        </p:nvSpPr>
        <p:spPr>
          <a:xfrm>
            <a:off x="4046971" y="1671549"/>
            <a:ext cx="694440" cy="249812"/>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GB" sz="1600" dirty="0">
                <a:solidFill>
                  <a:srgbClr val="43B049"/>
                </a:solidFill>
                <a:latin typeface="Arial"/>
                <a:ea typeface="MS PGothic"/>
              </a:rPr>
              <a:t>(39%)</a:t>
            </a:r>
          </a:p>
        </p:txBody>
      </p:sp>
      <p:sp>
        <p:nvSpPr>
          <p:cNvPr id="95" name="TextBox 94">
            <a:extLst>
              <a:ext uri="{FF2B5EF4-FFF2-40B4-BE49-F238E27FC236}">
                <a16:creationId xmlns:a16="http://schemas.microsoft.com/office/drawing/2014/main" id="{C9DE0AE0-EC2A-48E4-B96A-BCE1FD9442EF}"/>
              </a:ext>
            </a:extLst>
          </p:cNvPr>
          <p:cNvSpPr txBox="1"/>
          <p:nvPr/>
        </p:nvSpPr>
        <p:spPr>
          <a:xfrm>
            <a:off x="74307" y="5495070"/>
            <a:ext cx="1970852" cy="334707"/>
          </a:xfrm>
          <a:prstGeom prst="rect">
            <a:avLst/>
          </a:prstGeom>
          <a:noFill/>
          <a:ln>
            <a:solidFill>
              <a:srgbClr val="14487F"/>
            </a:solidFill>
          </a:ln>
        </p:spPr>
        <p:txBody>
          <a:bodyPr wrap="square" lIns="0" tIns="0" rIns="0" bIns="0" rtlCol="0">
            <a:spAutoFit/>
          </a:bodyPr>
          <a:lstStyle/>
          <a:p>
            <a:pPr algn="ctr">
              <a:lnSpc>
                <a:spcPct val="110000"/>
              </a:lnSpc>
              <a:spcBef>
                <a:spcPts val="300"/>
              </a:spcBef>
              <a:spcAft>
                <a:spcPts val="300"/>
              </a:spcAft>
            </a:pPr>
            <a:r>
              <a:rPr lang="en-GB" sz="1000" dirty="0">
                <a:solidFill>
                  <a:srgbClr val="14487F"/>
                </a:solidFill>
              </a:rPr>
              <a:t>Lowest level of administration appointments since 1989</a:t>
            </a:r>
          </a:p>
        </p:txBody>
      </p:sp>
      <p:cxnSp>
        <p:nvCxnSpPr>
          <p:cNvPr id="98" name="Straight Arrow Connector 97">
            <a:extLst>
              <a:ext uri="{FF2B5EF4-FFF2-40B4-BE49-F238E27FC236}">
                <a16:creationId xmlns:a16="http://schemas.microsoft.com/office/drawing/2014/main" id="{575F6D3F-0007-4AEC-B1FD-4E1A40813146}"/>
              </a:ext>
            </a:extLst>
          </p:cNvPr>
          <p:cNvCxnSpPr>
            <a:cxnSpLocks/>
          </p:cNvCxnSpPr>
          <p:nvPr/>
        </p:nvCxnSpPr>
        <p:spPr>
          <a:xfrm flipV="1">
            <a:off x="1046851" y="4902596"/>
            <a:ext cx="0" cy="567904"/>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AAA3F5AD-1EE6-4A22-BFDB-AF69C99BF478}"/>
              </a:ext>
            </a:extLst>
          </p:cNvPr>
          <p:cNvSpPr txBox="1"/>
          <p:nvPr/>
        </p:nvSpPr>
        <p:spPr>
          <a:xfrm>
            <a:off x="2764542" y="5495069"/>
            <a:ext cx="607548" cy="334707"/>
          </a:xfrm>
          <a:prstGeom prst="rect">
            <a:avLst/>
          </a:prstGeom>
          <a:noFill/>
          <a:ln>
            <a:solidFill>
              <a:srgbClr val="14487F"/>
            </a:solidFill>
          </a:ln>
        </p:spPr>
        <p:txBody>
          <a:bodyPr wrap="square" lIns="0" tIns="0" rIns="0" bIns="0" rtlCol="0">
            <a:spAutoFit/>
          </a:bodyPr>
          <a:lstStyle/>
          <a:p>
            <a:pPr algn="ctr">
              <a:lnSpc>
                <a:spcPct val="110000"/>
              </a:lnSpc>
              <a:spcBef>
                <a:spcPts val="300"/>
              </a:spcBef>
              <a:spcAft>
                <a:spcPts val="300"/>
              </a:spcAft>
            </a:pPr>
            <a:r>
              <a:rPr lang="en-GB" sz="1000">
                <a:solidFill>
                  <a:srgbClr val="14487F"/>
                </a:solidFill>
              </a:rPr>
              <a:t>Furlough </a:t>
            </a:r>
            <a:br>
              <a:rPr lang="en-GB" sz="1000">
                <a:solidFill>
                  <a:srgbClr val="14487F"/>
                </a:solidFill>
              </a:rPr>
            </a:br>
            <a:r>
              <a:rPr lang="en-GB" sz="1000">
                <a:solidFill>
                  <a:srgbClr val="14487F"/>
                </a:solidFill>
              </a:rPr>
              <a:t>Ends</a:t>
            </a:r>
          </a:p>
        </p:txBody>
      </p:sp>
      <p:sp>
        <p:nvSpPr>
          <p:cNvPr id="103" name="Freeform 17">
            <a:extLst>
              <a:ext uri="{FF2B5EF4-FFF2-40B4-BE49-F238E27FC236}">
                <a16:creationId xmlns:a16="http://schemas.microsoft.com/office/drawing/2014/main" id="{EE6C2666-7AA2-4C09-BA03-39086013D4BB}"/>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8" name="TextBox 27">
            <a:extLst>
              <a:ext uri="{FF2B5EF4-FFF2-40B4-BE49-F238E27FC236}">
                <a16:creationId xmlns:a16="http://schemas.microsoft.com/office/drawing/2014/main" id="{CDD7B7AA-EFDC-489E-8464-45371FE057D3}"/>
              </a:ext>
            </a:extLst>
          </p:cNvPr>
          <p:cNvSpPr txBox="1"/>
          <p:nvPr/>
        </p:nvSpPr>
        <p:spPr>
          <a:xfrm>
            <a:off x="8823223" y="1652326"/>
            <a:ext cx="460106" cy="249812"/>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GB" sz="1600" dirty="0">
                <a:solidFill>
                  <a:srgbClr val="43B049"/>
                </a:solidFill>
                <a:latin typeface="Arial"/>
                <a:ea typeface="MS PGothic"/>
              </a:rPr>
              <a:t>39%</a:t>
            </a:r>
          </a:p>
        </p:txBody>
      </p:sp>
      <p:sp>
        <p:nvSpPr>
          <p:cNvPr id="29" name="TextBox 1">
            <a:extLst>
              <a:ext uri="{FF2B5EF4-FFF2-40B4-BE49-F238E27FC236}">
                <a16:creationId xmlns:a16="http://schemas.microsoft.com/office/drawing/2014/main" id="{1FE8765A-1931-4798-BDC0-ADC4915E2FA5}"/>
              </a:ext>
            </a:extLst>
          </p:cNvPr>
          <p:cNvSpPr txBox="1"/>
          <p:nvPr/>
        </p:nvSpPr>
        <p:spPr>
          <a:xfrm>
            <a:off x="7283514" y="1699826"/>
            <a:ext cx="489187" cy="18197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10000"/>
              </a:lnSpc>
              <a:spcBef>
                <a:spcPts val="300"/>
              </a:spcBef>
              <a:spcAft>
                <a:spcPts val="300"/>
              </a:spcAft>
              <a:buClrTx/>
              <a:buSzTx/>
              <a:buFontTx/>
              <a:buNone/>
              <a:tabLst/>
              <a:defRPr/>
            </a:pPr>
            <a:r>
              <a:rPr kumimoji="0" lang="en-GB" b="1" i="0" u="none" strike="noStrike" kern="0" cap="none" spc="0" normalizeH="0" baseline="0" noProof="0" dirty="0">
                <a:ln>
                  <a:noFill/>
                </a:ln>
                <a:solidFill>
                  <a:srgbClr val="43B049"/>
                </a:solidFill>
                <a:effectLst/>
                <a:uLnTx/>
                <a:uFillTx/>
                <a:ea typeface="MS PGothic"/>
                <a:cs typeface="+mn-cs"/>
              </a:rPr>
              <a:t>FY22</a:t>
            </a:r>
          </a:p>
        </p:txBody>
      </p:sp>
      <p:sp>
        <p:nvSpPr>
          <p:cNvPr id="30" name="TextBox 29">
            <a:extLst>
              <a:ext uri="{FF2B5EF4-FFF2-40B4-BE49-F238E27FC236}">
                <a16:creationId xmlns:a16="http://schemas.microsoft.com/office/drawing/2014/main" id="{B7E157A0-EE39-4036-9F47-023A9AC8CE27}"/>
              </a:ext>
            </a:extLst>
          </p:cNvPr>
          <p:cNvSpPr txBox="1"/>
          <p:nvPr/>
        </p:nvSpPr>
        <p:spPr>
          <a:xfrm>
            <a:off x="5465792" y="5471926"/>
            <a:ext cx="1290171" cy="503984"/>
          </a:xfrm>
          <a:prstGeom prst="rect">
            <a:avLst/>
          </a:prstGeom>
          <a:noFill/>
          <a:ln>
            <a:solidFill>
              <a:srgbClr val="14487F"/>
            </a:solidFill>
          </a:ln>
        </p:spPr>
        <p:txBody>
          <a:bodyPr wrap="square" lIns="0" tIns="0" rIns="0" bIns="0" rtlCol="0">
            <a:spAutoFit/>
          </a:bodyPr>
          <a:lstStyle/>
          <a:p>
            <a:pPr algn="ctr">
              <a:lnSpc>
                <a:spcPct val="110000"/>
              </a:lnSpc>
              <a:spcBef>
                <a:spcPts val="300"/>
              </a:spcBef>
              <a:spcAft>
                <a:spcPts val="300"/>
              </a:spcAft>
            </a:pPr>
            <a:r>
              <a:rPr lang="en-GB" sz="1000" dirty="0">
                <a:solidFill>
                  <a:srgbClr val="14487F"/>
                </a:solidFill>
              </a:rPr>
              <a:t>Winding Up Petition / Landlord Restrictions Lifted</a:t>
            </a:r>
          </a:p>
        </p:txBody>
      </p:sp>
      <p:cxnSp>
        <p:nvCxnSpPr>
          <p:cNvPr id="31" name="Straight Arrow Connector 30">
            <a:extLst>
              <a:ext uri="{FF2B5EF4-FFF2-40B4-BE49-F238E27FC236}">
                <a16:creationId xmlns:a16="http://schemas.microsoft.com/office/drawing/2014/main" id="{B14C8015-1BAE-4F1A-B749-546BC1C8F9CD}"/>
              </a:ext>
            </a:extLst>
          </p:cNvPr>
          <p:cNvCxnSpPr>
            <a:cxnSpLocks/>
            <a:stCxn id="30" idx="0"/>
          </p:cNvCxnSpPr>
          <p:nvPr/>
        </p:nvCxnSpPr>
        <p:spPr>
          <a:xfrm flipV="1">
            <a:off x="6110878" y="4880166"/>
            <a:ext cx="0" cy="591760"/>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FC1AF2-0208-4C14-839A-CB3536ABD1BD}"/>
              </a:ext>
            </a:extLst>
          </p:cNvPr>
          <p:cNvCxnSpPr>
            <a:cxnSpLocks/>
          </p:cNvCxnSpPr>
          <p:nvPr/>
        </p:nvCxnSpPr>
        <p:spPr>
          <a:xfrm flipV="1">
            <a:off x="1059733" y="2373986"/>
            <a:ext cx="8113052" cy="1470991"/>
          </a:xfrm>
          <a:prstGeom prst="line">
            <a:avLst/>
          </a:prstGeom>
          <a:ln w="38100">
            <a:solidFill>
              <a:srgbClr val="FDC006"/>
            </a:solidFill>
            <a:prstDash val="sysDash"/>
          </a:ln>
        </p:spPr>
        <p:style>
          <a:lnRef idx="1">
            <a:schemeClr val="accent1"/>
          </a:lnRef>
          <a:fillRef idx="0">
            <a:schemeClr val="accent1"/>
          </a:fillRef>
          <a:effectRef idx="0">
            <a:schemeClr val="accent1"/>
          </a:effectRef>
          <a:fontRef idx="minor">
            <a:schemeClr val="tx1"/>
          </a:fontRef>
        </p:style>
      </p:cxnSp>
      <p:sp>
        <p:nvSpPr>
          <p:cNvPr id="34" name="Arrow: Right 33">
            <a:extLst>
              <a:ext uri="{FF2B5EF4-FFF2-40B4-BE49-F238E27FC236}">
                <a16:creationId xmlns:a16="http://schemas.microsoft.com/office/drawing/2014/main" id="{AD929770-C06D-4B2B-9851-106F37457A5E}"/>
              </a:ext>
            </a:extLst>
          </p:cNvPr>
          <p:cNvSpPr/>
          <p:nvPr/>
        </p:nvSpPr>
        <p:spPr>
          <a:xfrm>
            <a:off x="5099808" y="1866047"/>
            <a:ext cx="4313344" cy="249812"/>
          </a:xfrm>
          <a:prstGeom prst="rightArrow">
            <a:avLst/>
          </a:prstGeom>
          <a:solidFill>
            <a:srgbClr val="43B049"/>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a typeface="MS PGothic"/>
              <a:cs typeface="+mn-cs"/>
            </a:endParaRPr>
          </a:p>
        </p:txBody>
      </p:sp>
      <p:cxnSp>
        <p:nvCxnSpPr>
          <p:cNvPr id="35" name="Straight Arrow Connector 34">
            <a:extLst>
              <a:ext uri="{FF2B5EF4-FFF2-40B4-BE49-F238E27FC236}">
                <a16:creationId xmlns:a16="http://schemas.microsoft.com/office/drawing/2014/main" id="{B520AC83-50C4-4224-AC58-17F28F0ED8DE}"/>
              </a:ext>
            </a:extLst>
          </p:cNvPr>
          <p:cNvCxnSpPr>
            <a:cxnSpLocks/>
          </p:cNvCxnSpPr>
          <p:nvPr/>
        </p:nvCxnSpPr>
        <p:spPr>
          <a:xfrm flipV="1">
            <a:off x="3068316" y="4927166"/>
            <a:ext cx="0" cy="567904"/>
          </a:xfrm>
          <a:prstGeom prst="straightConnector1">
            <a:avLst/>
          </a:prstGeom>
          <a:ln w="6350">
            <a:solidFill>
              <a:srgbClr val="14487F"/>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762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A83FA1-D215-4984-9532-EBE76B428DBB}"/>
              </a:ext>
            </a:extLst>
          </p:cNvPr>
          <p:cNvSpPr>
            <a:spLocks noGrp="1"/>
          </p:cNvSpPr>
          <p:nvPr>
            <p:ph type="sldNum" sz="quarter" idx="12"/>
          </p:nvPr>
        </p:nvSpPr>
        <p:spPr>
          <a:xfrm>
            <a:off x="9423176" y="6445101"/>
            <a:ext cx="335043" cy="174625"/>
          </a:xfrm>
        </p:spPr>
        <p:txBody>
          <a:bodyPr/>
          <a:lstStyle/>
          <a:p>
            <a:fld id="{52077610-26DF-472D-B24E-7EE9EE6D6E6A}" type="slidenum">
              <a:rPr lang="en-GB" smtClean="0"/>
              <a:pPr/>
              <a:t>8</a:t>
            </a:fld>
            <a:endParaRPr lang="en-GB"/>
          </a:p>
        </p:txBody>
      </p:sp>
      <p:sp>
        <p:nvSpPr>
          <p:cNvPr id="15" name="Text Placeholder 4">
            <a:extLst>
              <a:ext uri="{FF2B5EF4-FFF2-40B4-BE49-F238E27FC236}">
                <a16:creationId xmlns:a16="http://schemas.microsoft.com/office/drawing/2014/main" id="{90AC5793-0EB5-4F34-9080-EDB23B7123F4}"/>
              </a:ext>
            </a:extLst>
          </p:cNvPr>
          <p:cNvSpPr>
            <a:spLocks noGrp="1"/>
          </p:cNvSpPr>
          <p:nvPr>
            <p:ph type="body" sz="quarter" idx="13"/>
          </p:nvPr>
        </p:nvSpPr>
        <p:spPr/>
        <p:txBody>
          <a:bodyPr/>
          <a:lstStyle/>
          <a:p>
            <a:r>
              <a:rPr lang="en-US" sz="1600"/>
              <a:t>Sector focus: CBILS lending vs. Administrations</a:t>
            </a:r>
          </a:p>
        </p:txBody>
      </p:sp>
      <p:sp>
        <p:nvSpPr>
          <p:cNvPr id="12" name="Title 2">
            <a:extLst>
              <a:ext uri="{FF2B5EF4-FFF2-40B4-BE49-F238E27FC236}">
                <a16:creationId xmlns:a16="http://schemas.microsoft.com/office/drawing/2014/main" id="{82F04117-B964-47D0-AF37-518CC39BDADD}"/>
              </a:ext>
            </a:extLst>
          </p:cNvPr>
          <p:cNvSpPr>
            <a:spLocks noGrp="1"/>
          </p:cNvSpPr>
          <p:nvPr>
            <p:ph type="title"/>
          </p:nvPr>
        </p:nvSpPr>
        <p:spPr>
          <a:xfrm>
            <a:off x="681039" y="590053"/>
            <a:ext cx="7659397" cy="373839"/>
          </a:xfrm>
        </p:spPr>
        <p:txBody>
          <a:bodyPr/>
          <a:lstStyle/>
          <a:p>
            <a:r>
              <a:rPr lang="en-GB" dirty="0"/>
              <a:t>MARKET OUTLOOK – CBILS vs ADMINISTRATIONS</a:t>
            </a:r>
            <a:endParaRPr lang="en-US" dirty="0"/>
          </a:p>
        </p:txBody>
      </p:sp>
      <p:sp>
        <p:nvSpPr>
          <p:cNvPr id="8" name="TextBox 9">
            <a:extLst>
              <a:ext uri="{FF2B5EF4-FFF2-40B4-BE49-F238E27FC236}">
                <a16:creationId xmlns:a16="http://schemas.microsoft.com/office/drawing/2014/main" id="{991033C5-AAA4-4E22-A0CB-AEE006E8705E}"/>
              </a:ext>
            </a:extLst>
          </p:cNvPr>
          <p:cNvSpPr txBox="1">
            <a:spLocks/>
          </p:cNvSpPr>
          <p:nvPr>
            <p:custDataLst>
              <p:tags r:id="rId1"/>
            </p:custDataLst>
          </p:nvPr>
        </p:nvSpPr>
        <p:spPr>
          <a:xfrm>
            <a:off x="560785" y="359388"/>
            <a:ext cx="8783241" cy="55853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938" b="1">
              <a:solidFill>
                <a:schemeClr val="accent1"/>
              </a:solidFill>
            </a:endParaRPr>
          </a:p>
        </p:txBody>
      </p:sp>
      <p:sp>
        <p:nvSpPr>
          <p:cNvPr id="9" name="Text Placeholder 2">
            <a:extLst>
              <a:ext uri="{FF2B5EF4-FFF2-40B4-BE49-F238E27FC236}">
                <a16:creationId xmlns:a16="http://schemas.microsoft.com/office/drawing/2014/main" id="{73578AAC-8584-4770-A732-E5BCB7B3CA1A}"/>
              </a:ext>
            </a:extLst>
          </p:cNvPr>
          <p:cNvSpPr txBox="1">
            <a:spLocks/>
          </p:cNvSpPr>
          <p:nvPr/>
        </p:nvSpPr>
        <p:spPr>
          <a:xfrm>
            <a:off x="915091" y="6200994"/>
            <a:ext cx="8725465" cy="233879"/>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938"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69"/>
              <a:t>*Professional &amp; Financial Services excludes ‘Legal &amp; Accounting Services’ and ‘Office Administrative’</a:t>
            </a:r>
            <a:endParaRPr lang="en-US" sz="969"/>
          </a:p>
        </p:txBody>
      </p:sp>
      <p:graphicFrame>
        <p:nvGraphicFramePr>
          <p:cNvPr id="4" name="Table 3">
            <a:extLst>
              <a:ext uri="{FF2B5EF4-FFF2-40B4-BE49-F238E27FC236}">
                <a16:creationId xmlns:a16="http://schemas.microsoft.com/office/drawing/2014/main" id="{CF88C62C-A54C-458A-BA03-A3483567D6EB}"/>
              </a:ext>
            </a:extLst>
          </p:cNvPr>
          <p:cNvGraphicFramePr>
            <a:graphicFrameLocks noGrp="1"/>
          </p:cNvGraphicFramePr>
          <p:nvPr/>
        </p:nvGraphicFramePr>
        <p:xfrm>
          <a:off x="1032978" y="1451296"/>
          <a:ext cx="8281036" cy="4652157"/>
        </p:xfrm>
        <a:graphic>
          <a:graphicData uri="http://schemas.openxmlformats.org/drawingml/2006/table">
            <a:tbl>
              <a:tblPr/>
              <a:tblGrid>
                <a:gridCol w="2655280">
                  <a:extLst>
                    <a:ext uri="{9D8B030D-6E8A-4147-A177-3AD203B41FA5}">
                      <a16:colId xmlns:a16="http://schemas.microsoft.com/office/drawing/2014/main" val="2965807737"/>
                    </a:ext>
                  </a:extLst>
                </a:gridCol>
                <a:gridCol w="926483">
                  <a:extLst>
                    <a:ext uri="{9D8B030D-6E8A-4147-A177-3AD203B41FA5}">
                      <a16:colId xmlns:a16="http://schemas.microsoft.com/office/drawing/2014/main" val="618663756"/>
                    </a:ext>
                  </a:extLst>
                </a:gridCol>
                <a:gridCol w="1117510">
                  <a:extLst>
                    <a:ext uri="{9D8B030D-6E8A-4147-A177-3AD203B41FA5}">
                      <a16:colId xmlns:a16="http://schemas.microsoft.com/office/drawing/2014/main" val="136589241"/>
                    </a:ext>
                  </a:extLst>
                </a:gridCol>
                <a:gridCol w="1174818">
                  <a:extLst>
                    <a:ext uri="{9D8B030D-6E8A-4147-A177-3AD203B41FA5}">
                      <a16:colId xmlns:a16="http://schemas.microsoft.com/office/drawing/2014/main" val="2776767181"/>
                    </a:ext>
                  </a:extLst>
                </a:gridCol>
                <a:gridCol w="1107959">
                  <a:extLst>
                    <a:ext uri="{9D8B030D-6E8A-4147-A177-3AD203B41FA5}">
                      <a16:colId xmlns:a16="http://schemas.microsoft.com/office/drawing/2014/main" val="1527469828"/>
                    </a:ext>
                  </a:extLst>
                </a:gridCol>
                <a:gridCol w="1298986">
                  <a:extLst>
                    <a:ext uri="{9D8B030D-6E8A-4147-A177-3AD203B41FA5}">
                      <a16:colId xmlns:a16="http://schemas.microsoft.com/office/drawing/2014/main" val="2365085774"/>
                    </a:ext>
                  </a:extLst>
                </a:gridCol>
              </a:tblGrid>
              <a:tr h="271277">
                <a:tc>
                  <a:txBody>
                    <a:bodyPr/>
                    <a:lstStyle/>
                    <a:p>
                      <a:pPr algn="l" fontAlgn="ctr"/>
                      <a:r>
                        <a:rPr lang="en-US" sz="1000" b="1" i="0" u="none" strike="noStrike">
                          <a:solidFill>
                            <a:srgbClr val="02427B"/>
                          </a:solidFill>
                          <a:effectLst/>
                          <a:latin typeface="Nunito Sans" panose="00000500000000000000" pitchFamily="2" charset="0"/>
                        </a:rPr>
                        <a:t>CBILS / Administrations Analysis</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tcPr>
                </a:tc>
                <a:tc gridSpan="3">
                  <a:txBody>
                    <a:bodyPr/>
                    <a:lstStyle/>
                    <a:p>
                      <a:pPr algn="ctr" fontAlgn="ctr"/>
                      <a:r>
                        <a:rPr lang="en-US" sz="1000" b="1" i="0" u="none" strike="noStrike">
                          <a:solidFill>
                            <a:srgbClr val="02427B"/>
                          </a:solidFill>
                          <a:effectLst/>
                          <a:latin typeface="Nunito Sans" panose="00000500000000000000" pitchFamily="2" charset="0"/>
                        </a:rPr>
                        <a:t>CBILS Loans</a:t>
                      </a:r>
                    </a:p>
                  </a:txBody>
                  <a:tcPr marL="4775" marR="4775" marT="4775" marB="0" anchor="ctr">
                    <a:lnL>
                      <a:noFill/>
                    </a:lnL>
                    <a:lnR>
                      <a:noFill/>
                    </a:lnR>
                    <a:lnT w="6350" cap="flat" cmpd="sng" algn="ctr">
                      <a:solidFill>
                        <a:srgbClr val="43B049"/>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1000" b="1" i="0" u="none" strike="noStrike">
                          <a:solidFill>
                            <a:srgbClr val="02427B"/>
                          </a:solidFill>
                          <a:effectLst/>
                          <a:latin typeface="Nunito Sans" panose="00000500000000000000" pitchFamily="2" charset="0"/>
                        </a:rPr>
                        <a:t>Administrations (YTD 2022)</a:t>
                      </a:r>
                    </a:p>
                  </a:txBody>
                  <a:tcPr marL="4775" marR="4775" marT="4775" marB="0" anchor="ctr">
                    <a:lnL>
                      <a:noFill/>
                    </a:lnL>
                    <a:lnR>
                      <a:noFill/>
                    </a:lnR>
                    <a:lnT w="6350" cap="flat" cmpd="sng" algn="ctr">
                      <a:solidFill>
                        <a:srgbClr val="43B049"/>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lumMod val="85000"/>
                      </a:schemeClr>
                    </a:solidFill>
                  </a:tcPr>
                </a:tc>
                <a:tc hMerge="1">
                  <a:txBody>
                    <a:bodyPr/>
                    <a:lstStyle/>
                    <a:p>
                      <a:endParaRPr lang="en-US"/>
                    </a:p>
                  </a:txBody>
                  <a:tcPr/>
                </a:tc>
                <a:extLst>
                  <a:ext uri="{0D108BD9-81ED-4DB2-BD59-A6C34878D82A}">
                    <a16:rowId xmlns:a16="http://schemas.microsoft.com/office/drawing/2014/main" val="2005185510"/>
                  </a:ext>
                </a:extLst>
              </a:tr>
              <a:tr h="294330">
                <a:tc>
                  <a:txBody>
                    <a:bodyPr/>
                    <a:lstStyle/>
                    <a:p>
                      <a:pPr algn="l" fontAlgn="ctr"/>
                      <a:r>
                        <a:rPr lang="en-US" sz="1000" b="1" i="0" u="none" strike="noStrike">
                          <a:solidFill>
                            <a:srgbClr val="02427B"/>
                          </a:solidFill>
                          <a:effectLst/>
                          <a:latin typeface="Nunito Sans" panose="00000500000000000000" pitchFamily="2" charset="0"/>
                        </a:rPr>
                        <a:t>Sector</a:t>
                      </a:r>
                    </a:p>
                  </a:txBody>
                  <a:tcPr marL="4775" marR="4775" marT="4775" marB="0" anchor="ctr">
                    <a:lnL>
                      <a:noFill/>
                    </a:lnL>
                    <a:lnR>
                      <a:noFill/>
                    </a:lnR>
                    <a:lnT>
                      <a:noFill/>
                    </a:lnT>
                    <a:lnB w="6350" cap="flat" cmpd="sng" algn="ctr">
                      <a:solidFill>
                        <a:srgbClr val="43B049"/>
                      </a:solidFill>
                      <a:prstDash val="solid"/>
                      <a:round/>
                      <a:headEnd type="none" w="med" len="med"/>
                      <a:tailEnd type="none" w="med" len="med"/>
                    </a:lnB>
                  </a:tcPr>
                </a:tc>
                <a:tc>
                  <a:txBody>
                    <a:bodyPr/>
                    <a:lstStyle/>
                    <a:p>
                      <a:pPr algn="r" fontAlgn="ctr"/>
                      <a:r>
                        <a:rPr lang="en-US" sz="1000" b="1" i="0" u="none" strike="noStrike">
                          <a:solidFill>
                            <a:srgbClr val="02427B"/>
                          </a:solidFill>
                          <a:effectLst/>
                          <a:latin typeface="Nunito Sans" panose="00000500000000000000" pitchFamily="2" charset="0"/>
                        </a:rPr>
                        <a:t>Loans (£'m)</a:t>
                      </a:r>
                    </a:p>
                  </a:txBody>
                  <a:tcPr marL="4775" marR="4775" marT="4775" marB="0" anchor="ctr">
                    <a:lnL>
                      <a:noFill/>
                    </a:lnL>
                    <a:lnR>
                      <a:noFill/>
                    </a:lnR>
                    <a:lnT w="6350" cap="flat" cmpd="sng" algn="ctr">
                      <a:solidFill>
                        <a:srgbClr val="FFFFFF"/>
                      </a:solidFill>
                      <a:prstDash val="solid"/>
                      <a:round/>
                      <a:headEnd type="none" w="med" len="med"/>
                      <a:tailEnd type="none" w="med" len="med"/>
                    </a:lnT>
                    <a:lnB w="6350" cap="flat" cmpd="sng" algn="ctr">
                      <a:solidFill>
                        <a:srgbClr val="43B049"/>
                      </a:solidFill>
                      <a:prstDash val="solid"/>
                      <a:round/>
                      <a:headEnd type="none" w="med" len="med"/>
                      <a:tailEnd type="none" w="med" len="med"/>
                    </a:lnB>
                  </a:tcPr>
                </a:tc>
                <a:tc>
                  <a:txBody>
                    <a:bodyPr/>
                    <a:lstStyle/>
                    <a:p>
                      <a:pPr algn="r" fontAlgn="ctr"/>
                      <a:r>
                        <a:rPr lang="en-US" sz="1000" b="1" i="0" u="none" strike="noStrike">
                          <a:solidFill>
                            <a:srgbClr val="02427B"/>
                          </a:solidFill>
                          <a:effectLst/>
                          <a:latin typeface="Nunito Sans" panose="00000500000000000000" pitchFamily="2" charset="0"/>
                        </a:rPr>
                        <a:t>No. Loans</a:t>
                      </a:r>
                    </a:p>
                  </a:txBody>
                  <a:tcPr marL="4775" marR="4775" marT="4775" marB="0" anchor="ctr">
                    <a:lnL>
                      <a:noFill/>
                    </a:lnL>
                    <a:lnR>
                      <a:noFill/>
                    </a:lnR>
                    <a:lnT w="6350" cap="flat" cmpd="sng" algn="ctr">
                      <a:solidFill>
                        <a:srgbClr val="FFFFFF"/>
                      </a:solidFill>
                      <a:prstDash val="solid"/>
                      <a:round/>
                      <a:headEnd type="none" w="med" len="med"/>
                      <a:tailEnd type="none" w="med" len="med"/>
                    </a:lnT>
                    <a:lnB w="6350" cap="flat" cmpd="sng" algn="ctr">
                      <a:solidFill>
                        <a:srgbClr val="43B049"/>
                      </a:solidFill>
                      <a:prstDash val="solid"/>
                      <a:round/>
                      <a:headEnd type="none" w="med" len="med"/>
                      <a:tailEnd type="none" w="med" len="med"/>
                    </a:lnB>
                  </a:tcPr>
                </a:tc>
                <a:tc>
                  <a:txBody>
                    <a:bodyPr/>
                    <a:lstStyle/>
                    <a:p>
                      <a:pPr algn="r" fontAlgn="ctr"/>
                      <a:r>
                        <a:rPr lang="en-US" sz="1000" b="1" i="0" u="none" strike="noStrike">
                          <a:solidFill>
                            <a:srgbClr val="02427B"/>
                          </a:solidFill>
                          <a:effectLst/>
                          <a:latin typeface="Nunito Sans" panose="00000500000000000000" pitchFamily="2" charset="0"/>
                        </a:rPr>
                        <a:t>% of Loan Values</a:t>
                      </a:r>
                    </a:p>
                  </a:txBody>
                  <a:tcPr marL="4775" marR="4775" marT="4775" marB="0" anchor="ctr">
                    <a:lnL>
                      <a:noFill/>
                    </a:lnL>
                    <a:lnR>
                      <a:noFill/>
                    </a:lnR>
                    <a:lnT w="6350" cap="flat" cmpd="sng" algn="ctr">
                      <a:solidFill>
                        <a:srgbClr val="FFFFFF"/>
                      </a:solidFill>
                      <a:prstDash val="solid"/>
                      <a:round/>
                      <a:headEnd type="none" w="med" len="med"/>
                      <a:tailEnd type="none" w="med" len="med"/>
                    </a:lnT>
                    <a:lnB w="6350" cap="flat" cmpd="sng" algn="ctr">
                      <a:solidFill>
                        <a:srgbClr val="43B049"/>
                      </a:solidFill>
                      <a:prstDash val="solid"/>
                      <a:round/>
                      <a:headEnd type="none" w="med" len="med"/>
                      <a:tailEnd type="none" w="med" len="med"/>
                    </a:lnB>
                  </a:tcPr>
                </a:tc>
                <a:tc>
                  <a:txBody>
                    <a:bodyPr/>
                    <a:lstStyle/>
                    <a:p>
                      <a:pPr algn="r" fontAlgn="ctr"/>
                      <a:r>
                        <a:rPr lang="en-US" sz="1000" b="1" i="0" u="none" strike="noStrike">
                          <a:solidFill>
                            <a:srgbClr val="02427B"/>
                          </a:solidFill>
                          <a:effectLst/>
                          <a:latin typeface="Nunito Sans" panose="00000500000000000000" pitchFamily="2" charset="0"/>
                        </a:rPr>
                        <a:t>Administrations</a:t>
                      </a:r>
                    </a:p>
                  </a:txBody>
                  <a:tcPr marL="4775" marR="4775" marT="4775" marB="0" anchor="ctr">
                    <a:lnL>
                      <a:noFill/>
                    </a:lnL>
                    <a:lnR>
                      <a:noFill/>
                    </a:lnR>
                    <a:lnT w="6350" cap="flat" cmpd="sng" algn="ctr">
                      <a:solidFill>
                        <a:srgbClr val="FFFFFF"/>
                      </a:solidFill>
                      <a:prstDash val="solid"/>
                      <a:round/>
                      <a:headEnd type="none" w="med" len="med"/>
                      <a:tailEnd type="none" w="med" len="med"/>
                    </a:lnT>
                    <a:lnB w="6350" cap="flat" cmpd="sng" algn="ctr">
                      <a:solidFill>
                        <a:srgbClr val="43B049"/>
                      </a:solidFill>
                      <a:prstDash val="solid"/>
                      <a:round/>
                      <a:headEnd type="none" w="med" len="med"/>
                      <a:tailEnd type="none" w="med" len="med"/>
                    </a:lnB>
                    <a:solidFill>
                      <a:schemeClr val="bg1">
                        <a:lumMod val="85000"/>
                      </a:schemeClr>
                    </a:solidFill>
                  </a:tcPr>
                </a:tc>
                <a:tc>
                  <a:txBody>
                    <a:bodyPr/>
                    <a:lstStyle/>
                    <a:p>
                      <a:pPr algn="r" fontAlgn="ctr"/>
                      <a:r>
                        <a:rPr lang="en-US" sz="1000" b="1" i="0" u="none" strike="noStrike">
                          <a:solidFill>
                            <a:srgbClr val="02427B"/>
                          </a:solidFill>
                          <a:effectLst/>
                          <a:latin typeface="Nunito Sans" panose="00000500000000000000" pitchFamily="2" charset="0"/>
                        </a:rPr>
                        <a:t>% of Administrations</a:t>
                      </a:r>
                    </a:p>
                  </a:txBody>
                  <a:tcPr marL="4775" marR="4775" marT="4775" marB="0" anchor="ctr">
                    <a:lnL>
                      <a:noFill/>
                    </a:lnL>
                    <a:lnR>
                      <a:noFill/>
                    </a:lnR>
                    <a:lnT w="6350" cap="flat" cmpd="sng" algn="ctr">
                      <a:solidFill>
                        <a:srgbClr val="FFFFFF"/>
                      </a:solidFill>
                      <a:prstDash val="solid"/>
                      <a:round/>
                      <a:headEnd type="none" w="med" len="med"/>
                      <a:tailEnd type="none" w="med" len="med"/>
                    </a:lnT>
                    <a:lnB w="6350" cap="flat" cmpd="sng" algn="ctr">
                      <a:solidFill>
                        <a:srgbClr val="43B049"/>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10732066"/>
                  </a:ext>
                </a:extLst>
              </a:tr>
              <a:tr h="152486">
                <a:tc>
                  <a:txBody>
                    <a:bodyPr/>
                    <a:lstStyle/>
                    <a:p>
                      <a:pPr algn="l" fontAlgn="ctr"/>
                      <a:r>
                        <a:rPr lang="en-US" sz="1000" b="1" i="0" u="none" strike="noStrike">
                          <a:solidFill>
                            <a:srgbClr val="4D4D4F"/>
                          </a:solidFill>
                          <a:effectLst/>
                          <a:latin typeface="Nunito Sans" panose="00000500000000000000" pitchFamily="2" charset="0"/>
                        </a:rPr>
                        <a:t>Construction </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4,347 </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16,724 </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17%</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96 </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15%</a:t>
                      </a:r>
                    </a:p>
                  </a:txBody>
                  <a:tcPr marL="4775" marR="4775" marT="4775" marB="0" anchor="ctr">
                    <a:lnL>
                      <a:noFill/>
                    </a:lnL>
                    <a:lnR>
                      <a:noFill/>
                    </a:lnR>
                    <a:lnT w="6350" cap="flat" cmpd="sng" algn="ctr">
                      <a:solidFill>
                        <a:srgbClr val="43B049"/>
                      </a:solidFill>
                      <a:prstDash val="solid"/>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548176344"/>
                  </a:ext>
                </a:extLst>
              </a:tr>
              <a:tr h="152486">
                <a:tc>
                  <a:txBody>
                    <a:bodyPr/>
                    <a:lstStyle/>
                    <a:p>
                      <a:pPr algn="l" fontAlgn="ctr"/>
                      <a:r>
                        <a:rPr lang="en-US" sz="1000" b="1" i="0" u="none" strike="noStrike">
                          <a:solidFill>
                            <a:srgbClr val="4D4D4F"/>
                          </a:solidFill>
                          <a:effectLst/>
                          <a:latin typeface="Nunito Sans" panose="00000500000000000000" pitchFamily="2" charset="0"/>
                        </a:rPr>
                        <a:t>Retail </a:t>
                      </a:r>
                    </a:p>
                  </a:txBody>
                  <a:tcPr marL="4775" marR="4775" marT="4775" marB="0" anchor="ctr">
                    <a:lnL>
                      <a:noFill/>
                    </a:lnL>
                    <a:lnR>
                      <a:noFill/>
                    </a:lnR>
                    <a:lnT>
                      <a:noFill/>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3,484 </a:t>
                      </a:r>
                    </a:p>
                  </a:txBody>
                  <a:tcPr marL="4775" marR="4775" marT="4775" marB="0" anchor="ctr">
                    <a:lnL>
                      <a:noFill/>
                    </a:lnL>
                    <a:lnR>
                      <a:noFill/>
                    </a:lnR>
                    <a:lnT>
                      <a:noFill/>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13,395 </a:t>
                      </a:r>
                    </a:p>
                  </a:txBody>
                  <a:tcPr marL="4775" marR="4775" marT="4775" marB="0" anchor="ctr">
                    <a:lnL>
                      <a:noFill/>
                    </a:lnL>
                    <a:lnR>
                      <a:noFill/>
                    </a:lnR>
                    <a:lnT>
                      <a:noFill/>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13%</a:t>
                      </a:r>
                    </a:p>
                  </a:txBody>
                  <a:tcPr marL="4775" marR="4775" marT="4775" marB="0" anchor="ctr">
                    <a:lnL>
                      <a:noFill/>
                    </a:lnL>
                    <a:lnR>
                      <a:noFill/>
                    </a:lnR>
                    <a:lnT>
                      <a:noFill/>
                    </a:lnT>
                    <a:lnB>
                      <a:noFill/>
                    </a:lnB>
                    <a:noFill/>
                  </a:tcPr>
                </a:tc>
                <a:tc>
                  <a:txBody>
                    <a:bodyPr/>
                    <a:lstStyle/>
                    <a:p>
                      <a:pPr algn="r" fontAlgn="ctr"/>
                      <a:r>
                        <a:rPr lang="en-US" sz="1000" b="1" i="0" u="none" strike="noStrike">
                          <a:solidFill>
                            <a:srgbClr val="4D4D4F"/>
                          </a:solidFill>
                          <a:effectLst/>
                          <a:latin typeface="Nunito Sans" panose="00000500000000000000" pitchFamily="2" charset="0"/>
                        </a:rPr>
                        <a:t>57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9%</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4156189905"/>
                  </a:ext>
                </a:extLst>
              </a:tr>
              <a:tr h="152486">
                <a:tc>
                  <a:txBody>
                    <a:bodyPr/>
                    <a:lstStyle/>
                    <a:p>
                      <a:pPr algn="l" fontAlgn="ctr"/>
                      <a:r>
                        <a:rPr lang="en-US" sz="1000" b="1" i="0" u="none" strike="noStrike">
                          <a:solidFill>
                            <a:srgbClr val="4D4D4F"/>
                          </a:solidFill>
                          <a:effectLst/>
                          <a:latin typeface="Nunito Sans" panose="00000500000000000000" pitchFamily="2" charset="0"/>
                        </a:rPr>
                        <a:t>Professional &amp; Financial Services*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2,282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8,284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9%</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52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8%</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2471809311"/>
                  </a:ext>
                </a:extLst>
              </a:tr>
              <a:tr h="152486">
                <a:tc>
                  <a:txBody>
                    <a:bodyPr/>
                    <a:lstStyle/>
                    <a:p>
                      <a:pPr algn="l" fontAlgn="ctr"/>
                      <a:r>
                        <a:rPr lang="en-US" sz="1000" b="1" i="0" u="none" strike="noStrike">
                          <a:solidFill>
                            <a:srgbClr val="4D4D4F"/>
                          </a:solidFill>
                          <a:effectLst/>
                          <a:latin typeface="Nunito Sans" panose="00000500000000000000" pitchFamily="2" charset="0"/>
                        </a:rPr>
                        <a:t>Real Estate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1,879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5,547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7%</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72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1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819778158"/>
                  </a:ext>
                </a:extLst>
              </a:tr>
              <a:tr h="152486">
                <a:tc>
                  <a:txBody>
                    <a:bodyPr/>
                    <a:lstStyle/>
                    <a:p>
                      <a:pPr algn="l" fontAlgn="ctr"/>
                      <a:r>
                        <a:rPr lang="en-US" sz="1000" b="1" i="0" u="none" strike="noStrike">
                          <a:solidFill>
                            <a:srgbClr val="4D4D4F"/>
                          </a:solidFill>
                          <a:effectLst/>
                          <a:latin typeface="Nunito Sans" panose="00000500000000000000" pitchFamily="2" charset="0"/>
                        </a:rPr>
                        <a:t>Manufacturing (excl. Fabricated Metal)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1,863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6,952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7%</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66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1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2464908291"/>
                  </a:ext>
                </a:extLst>
              </a:tr>
              <a:tr h="152486">
                <a:tc>
                  <a:txBody>
                    <a:bodyPr/>
                    <a:lstStyle/>
                    <a:p>
                      <a:pPr algn="l" fontAlgn="ctr"/>
                      <a:r>
                        <a:rPr lang="en-US" sz="1000" b="1" i="0" u="none" strike="noStrike">
                          <a:solidFill>
                            <a:srgbClr val="4D4D4F"/>
                          </a:solidFill>
                          <a:effectLst/>
                          <a:latin typeface="Nunito Sans" panose="00000500000000000000" pitchFamily="2" charset="0"/>
                        </a:rPr>
                        <a:t>Leisure &amp; Hospitality (excl. Accommodation)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1,459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4,817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6%</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33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5%</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466397224"/>
                  </a:ext>
                </a:extLst>
              </a:tr>
              <a:tr h="152486">
                <a:tc>
                  <a:txBody>
                    <a:bodyPr/>
                    <a:lstStyle/>
                    <a:p>
                      <a:pPr algn="l" fontAlgn="ctr"/>
                      <a:r>
                        <a:rPr lang="en-US" sz="1000" b="1" i="0" u="none" strike="noStrike">
                          <a:solidFill>
                            <a:srgbClr val="4D4D4F"/>
                          </a:solidFill>
                          <a:effectLst/>
                          <a:latin typeface="Nunito Sans" panose="00000500000000000000" pitchFamily="2" charset="0"/>
                        </a:rPr>
                        <a:t>Food &amp; Drink </a:t>
                      </a:r>
                    </a:p>
                  </a:txBody>
                  <a:tcPr marL="4775" marR="4775" marT="4775" marB="0" anchor="ctr">
                    <a:lnL>
                      <a:noFill/>
                    </a:lnL>
                    <a:lnR>
                      <a:noFill/>
                    </a:lnR>
                    <a:lnT>
                      <a:noFill/>
                    </a:lnT>
                    <a:lnB>
                      <a:noFill/>
                    </a:lnB>
                    <a:solidFill>
                      <a:srgbClr val="FFFFFF"/>
                    </a:solidFill>
                  </a:tcPr>
                </a:tc>
                <a:tc>
                  <a:txBody>
                    <a:bodyPr/>
                    <a:lstStyle/>
                    <a:p>
                      <a:pPr algn="r" fontAlgn="ctr"/>
                      <a:r>
                        <a:rPr lang="en-US" sz="1000" b="1" i="0" u="none" strike="noStrike">
                          <a:solidFill>
                            <a:srgbClr val="4D4D4F"/>
                          </a:solidFill>
                          <a:effectLst/>
                          <a:latin typeface="Nunito Sans" panose="00000500000000000000" pitchFamily="2" charset="0"/>
                        </a:rPr>
                        <a:t>1,344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5,535 </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5%</a:t>
                      </a:r>
                    </a:p>
                  </a:txBody>
                  <a:tcPr marL="4775" marR="4775" marT="4775" marB="0" anchor="ctr">
                    <a:lnL>
                      <a:noFill/>
                    </a:lnL>
                    <a:lnR>
                      <a:noFill/>
                    </a:lnR>
                    <a:lnT>
                      <a:noFill/>
                    </a:lnT>
                    <a:lnB>
                      <a:noFill/>
                    </a:lnB>
                  </a:tcPr>
                </a:tc>
                <a:tc>
                  <a:txBody>
                    <a:bodyPr/>
                    <a:lstStyle/>
                    <a:p>
                      <a:pPr algn="r" fontAlgn="ctr"/>
                      <a:r>
                        <a:rPr lang="en-US" sz="1000" b="1" i="0" u="none" strike="noStrike">
                          <a:solidFill>
                            <a:srgbClr val="4D4D4F"/>
                          </a:solidFill>
                          <a:effectLst/>
                          <a:latin typeface="Nunito Sans" panose="00000500000000000000" pitchFamily="2" charset="0"/>
                        </a:rPr>
                        <a:t>21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1"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502750292"/>
                  </a:ext>
                </a:extLst>
              </a:tr>
              <a:tr h="152486">
                <a:tc>
                  <a:txBody>
                    <a:bodyPr/>
                    <a:lstStyle/>
                    <a:p>
                      <a:pPr algn="l" fontAlgn="ctr"/>
                      <a:r>
                        <a:rPr lang="en-US" sz="1000" b="0" i="0" u="none" strike="noStrike">
                          <a:solidFill>
                            <a:srgbClr val="4D4D4F"/>
                          </a:solidFill>
                          <a:effectLst/>
                          <a:latin typeface="Nunito Sans" panose="00000500000000000000" pitchFamily="2" charset="0"/>
                        </a:rPr>
                        <a:t>Office Administrative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1,006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4,23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4%</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8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948281571"/>
                  </a:ext>
                </a:extLst>
              </a:tr>
              <a:tr h="152486">
                <a:tc>
                  <a:txBody>
                    <a:bodyPr/>
                    <a:lstStyle/>
                    <a:p>
                      <a:pPr algn="l" fontAlgn="ctr"/>
                      <a:r>
                        <a:rPr lang="en-US" sz="1000" b="0" i="0" u="none" strike="noStrike">
                          <a:solidFill>
                            <a:srgbClr val="4D4D4F"/>
                          </a:solidFill>
                          <a:effectLst/>
                          <a:latin typeface="Nunito Sans" panose="00000500000000000000" pitchFamily="2" charset="0"/>
                        </a:rPr>
                        <a:t>Accommodation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95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123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4%</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9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246197538"/>
                  </a:ext>
                </a:extLst>
              </a:tr>
              <a:tr h="152486">
                <a:tc>
                  <a:txBody>
                    <a:bodyPr/>
                    <a:lstStyle/>
                    <a:p>
                      <a:pPr algn="l" fontAlgn="ctr"/>
                      <a:r>
                        <a:rPr lang="en-US" sz="1000" b="0" i="0" u="none" strike="noStrike">
                          <a:solidFill>
                            <a:srgbClr val="4D4D4F"/>
                          </a:solidFill>
                          <a:effectLst/>
                          <a:latin typeface="Nunito Sans" panose="00000500000000000000" pitchFamily="2" charset="0"/>
                        </a:rPr>
                        <a:t>Legal &amp; Accounting Services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873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188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7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1841936302"/>
                  </a:ext>
                </a:extLst>
              </a:tr>
              <a:tr h="152486">
                <a:tc>
                  <a:txBody>
                    <a:bodyPr/>
                    <a:lstStyle/>
                    <a:p>
                      <a:pPr algn="l" fontAlgn="ctr"/>
                      <a:r>
                        <a:rPr lang="en-US" sz="1000" b="0" i="0" u="none" strike="noStrike">
                          <a:solidFill>
                            <a:srgbClr val="4D4D4F"/>
                          </a:solidFill>
                          <a:effectLst/>
                          <a:latin typeface="Nunito Sans" panose="00000500000000000000" pitchFamily="2" charset="0"/>
                        </a:rPr>
                        <a:t>Media &amp; Technology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86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42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3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5%</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4019783513"/>
                  </a:ext>
                </a:extLst>
              </a:tr>
              <a:tr h="152486">
                <a:tc>
                  <a:txBody>
                    <a:bodyPr/>
                    <a:lstStyle/>
                    <a:p>
                      <a:pPr algn="l" fontAlgn="ctr"/>
                      <a:r>
                        <a:rPr lang="en-US" sz="1000" b="0" i="0" u="none" strike="noStrike">
                          <a:solidFill>
                            <a:srgbClr val="4D4D4F"/>
                          </a:solidFill>
                          <a:effectLst/>
                          <a:latin typeface="Nunito Sans" panose="00000500000000000000" pitchFamily="2" charset="0"/>
                        </a:rPr>
                        <a:t>Automotive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810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83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4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782710998"/>
                  </a:ext>
                </a:extLst>
              </a:tr>
              <a:tr h="152486">
                <a:tc>
                  <a:txBody>
                    <a:bodyPr/>
                    <a:lstStyle/>
                    <a:p>
                      <a:pPr algn="l" fontAlgn="ctr"/>
                      <a:r>
                        <a:rPr lang="en-US" sz="1000" b="0" i="0" u="none" strike="noStrike">
                          <a:solidFill>
                            <a:srgbClr val="4D4D4F"/>
                          </a:solidFill>
                          <a:effectLst/>
                          <a:latin typeface="Nunito Sans" panose="00000500000000000000" pitchFamily="2" charset="0"/>
                        </a:rPr>
                        <a:t>Land Transport &amp; Transport via Pipelines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762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4,166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5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1661105175"/>
                  </a:ext>
                </a:extLst>
              </a:tr>
              <a:tr h="152486">
                <a:tc>
                  <a:txBody>
                    <a:bodyPr/>
                    <a:lstStyle/>
                    <a:p>
                      <a:pPr algn="l" fontAlgn="ctr"/>
                      <a:r>
                        <a:rPr lang="en-GB" sz="1000" b="0" i="0" u="none" strike="noStrike">
                          <a:solidFill>
                            <a:srgbClr val="4D4D4F"/>
                          </a:solidFill>
                          <a:effectLst/>
                          <a:latin typeface="Nunito Sans" panose="00000500000000000000" pitchFamily="2" charset="0"/>
                        </a:rPr>
                        <a:t>Manufacture of Fabricated Metal Products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593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352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7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02738259"/>
                  </a:ext>
                </a:extLst>
              </a:tr>
              <a:tr h="152486">
                <a:tc>
                  <a:txBody>
                    <a:bodyPr/>
                    <a:lstStyle/>
                    <a:p>
                      <a:pPr algn="l" fontAlgn="ctr"/>
                      <a:r>
                        <a:rPr lang="en-US" sz="1000" b="0" i="0" u="none" strike="noStrike">
                          <a:solidFill>
                            <a:srgbClr val="4D4D4F"/>
                          </a:solidFill>
                          <a:effectLst/>
                          <a:latin typeface="Nunito Sans" panose="00000500000000000000" pitchFamily="2" charset="0"/>
                        </a:rPr>
                        <a:t>Other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493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41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9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953817590"/>
                  </a:ext>
                </a:extLst>
              </a:tr>
              <a:tr h="152486">
                <a:tc>
                  <a:txBody>
                    <a:bodyPr/>
                    <a:lstStyle/>
                    <a:p>
                      <a:pPr algn="l" fontAlgn="ctr"/>
                      <a:r>
                        <a:rPr lang="en-US" sz="1000" b="0" i="0" u="none" strike="noStrike">
                          <a:solidFill>
                            <a:srgbClr val="4D4D4F"/>
                          </a:solidFill>
                          <a:effectLst/>
                          <a:latin typeface="Nunito Sans" panose="00000500000000000000" pitchFamily="2" charset="0"/>
                        </a:rPr>
                        <a:t>Energy, Industrials, &amp; Utilities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489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935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33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5%</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1778492996"/>
                  </a:ext>
                </a:extLst>
              </a:tr>
              <a:tr h="152486">
                <a:tc>
                  <a:txBody>
                    <a:bodyPr/>
                    <a:lstStyle/>
                    <a:p>
                      <a:pPr algn="l" fontAlgn="ctr"/>
                      <a:r>
                        <a:rPr lang="en-US" sz="1000" b="0" i="0" u="none" strike="noStrike">
                          <a:solidFill>
                            <a:srgbClr val="4D4D4F"/>
                          </a:solidFill>
                          <a:effectLst/>
                          <a:latin typeface="Nunito Sans" panose="00000500000000000000" pitchFamily="2" charset="0"/>
                        </a:rPr>
                        <a:t>Healthcare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481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621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8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3%</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1211193629"/>
                  </a:ext>
                </a:extLst>
              </a:tr>
              <a:tr h="152486">
                <a:tc>
                  <a:txBody>
                    <a:bodyPr/>
                    <a:lstStyle/>
                    <a:p>
                      <a:pPr algn="l" fontAlgn="ctr"/>
                      <a:r>
                        <a:rPr lang="en-US" sz="1000" b="0" i="0" u="none" strike="noStrike">
                          <a:solidFill>
                            <a:srgbClr val="4D4D4F"/>
                          </a:solidFill>
                          <a:effectLst/>
                          <a:latin typeface="Nunito Sans" panose="00000500000000000000" pitchFamily="2" charset="0"/>
                        </a:rPr>
                        <a:t>Printing &amp; Advertising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465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922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4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423713473"/>
                  </a:ext>
                </a:extLst>
              </a:tr>
              <a:tr h="152486">
                <a:tc>
                  <a:txBody>
                    <a:bodyPr/>
                    <a:lstStyle/>
                    <a:p>
                      <a:pPr algn="l" fontAlgn="ctr"/>
                      <a:r>
                        <a:rPr lang="en-US" sz="1000" b="0" i="0" u="none" strike="noStrike">
                          <a:solidFill>
                            <a:srgbClr val="4D4D4F"/>
                          </a:solidFill>
                          <a:effectLst/>
                          <a:latin typeface="Nunito Sans" panose="00000500000000000000" pitchFamily="2" charset="0"/>
                        </a:rPr>
                        <a:t>Recruitment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460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900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0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830447915"/>
                  </a:ext>
                </a:extLst>
              </a:tr>
              <a:tr h="152486">
                <a:tc>
                  <a:txBody>
                    <a:bodyPr/>
                    <a:lstStyle/>
                    <a:p>
                      <a:pPr algn="l" fontAlgn="ctr"/>
                      <a:r>
                        <a:rPr lang="en-US" sz="1000" b="0" i="0" u="none" strike="noStrike">
                          <a:solidFill>
                            <a:srgbClr val="4D4D4F"/>
                          </a:solidFill>
                          <a:effectLst/>
                          <a:latin typeface="Nunito Sans" panose="00000500000000000000" pitchFamily="2" charset="0"/>
                        </a:rPr>
                        <a:t>Education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434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293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5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1935265701"/>
                  </a:ext>
                </a:extLst>
              </a:tr>
              <a:tr h="152486">
                <a:tc>
                  <a:txBody>
                    <a:bodyPr/>
                    <a:lstStyle/>
                    <a:p>
                      <a:pPr algn="l" fontAlgn="ctr"/>
                      <a:r>
                        <a:rPr lang="fr-FR" sz="1000" b="0" i="0" u="none" strike="noStrike">
                          <a:solidFill>
                            <a:srgbClr val="4D4D4F"/>
                          </a:solidFill>
                          <a:effectLst/>
                          <a:latin typeface="Nunito Sans" panose="00000500000000000000" pitchFamily="2" charset="0"/>
                        </a:rPr>
                        <a:t>Transportation &amp; </a:t>
                      </a:r>
                      <a:r>
                        <a:rPr lang="fr-FR" sz="1000" b="0" i="0" u="none" strike="noStrike" err="1">
                          <a:solidFill>
                            <a:srgbClr val="4D4D4F"/>
                          </a:solidFill>
                          <a:effectLst/>
                          <a:latin typeface="Nunito Sans" panose="00000500000000000000" pitchFamily="2" charset="0"/>
                        </a:rPr>
                        <a:t>Logistics</a:t>
                      </a:r>
                      <a:endParaRPr lang="fr-FR" sz="1000" b="0" i="0" u="none" strike="noStrike">
                        <a:solidFill>
                          <a:srgbClr val="4D4D4F"/>
                        </a:solidFill>
                        <a:effectLst/>
                        <a:latin typeface="Nunito Sans" panose="00000500000000000000" pitchFamily="2" charset="0"/>
                      </a:endParaRP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332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250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4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3849340811"/>
                  </a:ext>
                </a:extLst>
              </a:tr>
              <a:tr h="152486">
                <a:tc>
                  <a:txBody>
                    <a:bodyPr/>
                    <a:lstStyle/>
                    <a:p>
                      <a:pPr algn="l" fontAlgn="ctr"/>
                      <a:r>
                        <a:rPr lang="en-US" sz="1000" b="0" i="0" u="none" strike="noStrike">
                          <a:solidFill>
                            <a:srgbClr val="4D4D4F"/>
                          </a:solidFill>
                          <a:effectLst/>
                          <a:latin typeface="Nunito Sans" panose="00000500000000000000" pitchFamily="2" charset="0"/>
                        </a:rPr>
                        <a:t>Agriculture, Forestry, &amp; Fishing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196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017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5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557618492"/>
                  </a:ext>
                </a:extLst>
              </a:tr>
              <a:tr h="152486">
                <a:tc>
                  <a:txBody>
                    <a:bodyPr/>
                    <a:lstStyle/>
                    <a:p>
                      <a:pPr algn="l" fontAlgn="ctr"/>
                      <a:r>
                        <a:rPr lang="en-US" sz="1000" b="0" i="0" u="none" strike="noStrike">
                          <a:solidFill>
                            <a:srgbClr val="4D4D4F"/>
                          </a:solidFill>
                          <a:effectLst/>
                          <a:latin typeface="Nunito Sans" panose="00000500000000000000" pitchFamily="2" charset="0"/>
                        </a:rPr>
                        <a:t>Telecoms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133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450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8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1%</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2208232442"/>
                  </a:ext>
                </a:extLst>
              </a:tr>
              <a:tr h="152486">
                <a:tc>
                  <a:txBody>
                    <a:bodyPr/>
                    <a:lstStyle/>
                    <a:p>
                      <a:pPr algn="l" fontAlgn="ctr"/>
                      <a:r>
                        <a:rPr lang="en-US" sz="1000" b="0" i="0" u="none" strike="noStrike">
                          <a:solidFill>
                            <a:srgbClr val="4D4D4F"/>
                          </a:solidFill>
                          <a:effectLst/>
                          <a:latin typeface="Nunito Sans" panose="00000500000000000000" pitchFamily="2" charset="0"/>
                        </a:rPr>
                        <a:t>Mining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58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266 </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0.2%</a:t>
                      </a:r>
                    </a:p>
                  </a:txBody>
                  <a:tcPr marL="4775" marR="4775" marT="4775" marB="0" anchor="ctr">
                    <a:lnL>
                      <a:noFill/>
                    </a:lnL>
                    <a:lnR>
                      <a:noFill/>
                    </a:lnR>
                    <a:lnT>
                      <a:noFill/>
                    </a:lnT>
                    <a:lnB>
                      <a:noFill/>
                    </a:lnB>
                  </a:tcPr>
                </a:tc>
                <a:tc>
                  <a:txBody>
                    <a:bodyPr/>
                    <a:lstStyle/>
                    <a:p>
                      <a:pPr algn="r" fontAlgn="ctr"/>
                      <a:r>
                        <a:rPr lang="en-US" sz="1000" b="0" i="0" u="none" strike="noStrike">
                          <a:solidFill>
                            <a:srgbClr val="4D4D4F"/>
                          </a:solidFill>
                          <a:effectLst/>
                          <a:latin typeface="Nunito Sans" panose="00000500000000000000" pitchFamily="2" charset="0"/>
                        </a:rPr>
                        <a:t>1 </a:t>
                      </a:r>
                    </a:p>
                  </a:txBody>
                  <a:tcPr marL="4775" marR="4775" marT="4775" marB="0" anchor="ctr">
                    <a:lnL>
                      <a:noFill/>
                    </a:lnL>
                    <a:lnR>
                      <a:noFill/>
                    </a:lnR>
                    <a:lnT>
                      <a:noFill/>
                    </a:lnT>
                    <a:lnB>
                      <a:noFill/>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0.2%</a:t>
                      </a:r>
                    </a:p>
                  </a:txBody>
                  <a:tcPr marL="4775" marR="4775" marT="4775" marB="0" anchor="ctr">
                    <a:lnL>
                      <a:noFill/>
                    </a:lnL>
                    <a:lnR>
                      <a:noFill/>
                    </a:lnR>
                    <a:lnT>
                      <a:noFill/>
                    </a:lnT>
                    <a:lnB>
                      <a:noFill/>
                    </a:lnB>
                    <a:solidFill>
                      <a:schemeClr val="bg1">
                        <a:lumMod val="85000"/>
                      </a:schemeClr>
                    </a:solidFill>
                  </a:tcPr>
                </a:tc>
                <a:extLst>
                  <a:ext uri="{0D108BD9-81ED-4DB2-BD59-A6C34878D82A}">
                    <a16:rowId xmlns:a16="http://schemas.microsoft.com/office/drawing/2014/main" val="903997277"/>
                  </a:ext>
                </a:extLst>
              </a:tr>
              <a:tr h="152486">
                <a:tc>
                  <a:txBody>
                    <a:bodyPr/>
                    <a:lstStyle/>
                    <a:p>
                      <a:pPr algn="l" fontAlgn="ctr"/>
                      <a:r>
                        <a:rPr lang="en-US" sz="1000" b="0" i="0" u="none" strike="noStrike">
                          <a:solidFill>
                            <a:srgbClr val="4D4D4F"/>
                          </a:solidFill>
                          <a:effectLst/>
                          <a:latin typeface="Nunito Sans" panose="00000500000000000000" pitchFamily="2" charset="0"/>
                        </a:rPr>
                        <a:t>Aerospace &amp; Defense </a:t>
                      </a:r>
                    </a:p>
                  </a:txBody>
                  <a:tcPr marL="4775" marR="4775" marT="4775" marB="0" anchor="ctr">
                    <a:lnL>
                      <a:noFill/>
                    </a:lnL>
                    <a:lnR>
                      <a:noFill/>
                    </a:lnR>
                    <a:lnT>
                      <a:noFill/>
                    </a:lnT>
                    <a:lnB>
                      <a:noFill/>
                    </a:lnB>
                    <a:solidFill>
                      <a:srgbClr val="FFFFFF"/>
                    </a:solidFill>
                  </a:tcPr>
                </a:tc>
                <a:tc>
                  <a:txBody>
                    <a:bodyPr/>
                    <a:lstStyle/>
                    <a:p>
                      <a:pPr algn="r" fontAlgn="ctr"/>
                      <a:r>
                        <a:rPr lang="en-US" sz="1000" b="0" i="0" u="none" strike="noStrike">
                          <a:solidFill>
                            <a:srgbClr val="4D4D4F"/>
                          </a:solidFill>
                          <a:effectLst/>
                          <a:latin typeface="Nunito Sans" panose="00000500000000000000" pitchFamily="2" charset="0"/>
                        </a:rPr>
                        <a:t>10 </a:t>
                      </a:r>
                    </a:p>
                  </a:txBody>
                  <a:tcPr marL="4775" marR="4775" marT="477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solidFill>
                            <a:srgbClr val="4D4D4F"/>
                          </a:solidFill>
                          <a:effectLst/>
                          <a:latin typeface="Nunito Sans" panose="00000500000000000000" pitchFamily="2" charset="0"/>
                        </a:rPr>
                        <a:t>40 </a:t>
                      </a:r>
                    </a:p>
                  </a:txBody>
                  <a:tcPr marL="4775" marR="4775" marT="477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solidFill>
                            <a:srgbClr val="4D4D4F"/>
                          </a:solidFill>
                          <a:effectLst/>
                          <a:latin typeface="Nunito Sans" panose="00000500000000000000" pitchFamily="2" charset="0"/>
                        </a:rPr>
                        <a:t>0.04%</a:t>
                      </a:r>
                    </a:p>
                  </a:txBody>
                  <a:tcPr marL="4775" marR="4775" marT="477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solidFill>
                            <a:srgbClr val="4D4D4F"/>
                          </a:solidFill>
                          <a:effectLst/>
                          <a:latin typeface="Nunito Sans" panose="00000500000000000000" pitchFamily="2" charset="0"/>
                        </a:rPr>
                        <a:t>3 </a:t>
                      </a:r>
                    </a:p>
                  </a:txBody>
                  <a:tcPr marL="4775" marR="4775" marT="4775" marB="0" anchor="ctr">
                    <a:lnL>
                      <a:noFill/>
                    </a:lnL>
                    <a:lnR>
                      <a:noFill/>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fontAlgn="ctr"/>
                      <a:r>
                        <a:rPr lang="en-US" sz="1000" b="0" i="0" u="none" strike="noStrike">
                          <a:solidFill>
                            <a:srgbClr val="4D4D4F"/>
                          </a:solidFill>
                          <a:effectLst/>
                          <a:latin typeface="Nunito Sans" panose="00000500000000000000" pitchFamily="2" charset="0"/>
                        </a:rPr>
                        <a:t>0.5%</a:t>
                      </a:r>
                    </a:p>
                  </a:txBody>
                  <a:tcPr marL="4775" marR="4775" marT="4775" marB="0" anchor="ctr">
                    <a:lnL>
                      <a:noFill/>
                    </a:lnL>
                    <a:lnR>
                      <a:noFill/>
                    </a:lnR>
                    <a:lnT>
                      <a:noFill/>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4257524"/>
                  </a:ext>
                </a:extLst>
              </a:tr>
              <a:tr h="152486">
                <a:tc>
                  <a:txBody>
                    <a:bodyPr/>
                    <a:lstStyle/>
                    <a:p>
                      <a:pPr algn="l" fontAlgn="ctr"/>
                      <a:r>
                        <a:rPr lang="en-US" sz="1000" b="1" i="0" u="none" strike="noStrike">
                          <a:solidFill>
                            <a:srgbClr val="4D4D4F"/>
                          </a:solidFill>
                          <a:effectLst/>
                          <a:latin typeface="Nunito Sans" panose="00000500000000000000" pitchFamily="2" charset="0"/>
                        </a:rPr>
                        <a:t>TOTAL </a:t>
                      </a:r>
                    </a:p>
                  </a:txBody>
                  <a:tcPr marL="4775" marR="4775" marT="4775" marB="0" anchor="ctr">
                    <a:lnL>
                      <a:noFill/>
                    </a:lnL>
                    <a:lnR>
                      <a:noFill/>
                    </a:lnR>
                    <a:lnT>
                      <a:noFill/>
                    </a:lnT>
                    <a:lnB>
                      <a:noFill/>
                    </a:lnB>
                  </a:tcPr>
                </a:tc>
                <a:tc>
                  <a:txBody>
                    <a:bodyPr/>
                    <a:lstStyle/>
                    <a:p>
                      <a:pPr algn="r" rtl="0" fontAlgn="ctr"/>
                      <a:r>
                        <a:rPr lang="en-US" sz="1000" b="1" i="0" u="none" strike="noStrike">
                          <a:solidFill>
                            <a:srgbClr val="4D4D4F"/>
                          </a:solidFill>
                          <a:effectLst/>
                          <a:latin typeface="Nunito Sans" panose="00000500000000000000" pitchFamily="2" charset="0"/>
                        </a:rPr>
                        <a:t>26,080</a:t>
                      </a:r>
                    </a:p>
                  </a:txBody>
                  <a:tcPr marL="4775" marR="4775" marT="477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1" i="0" u="none" strike="noStrike">
                          <a:solidFill>
                            <a:srgbClr val="4D4D4F"/>
                          </a:solidFill>
                          <a:effectLst/>
                          <a:latin typeface="Nunito Sans" panose="00000500000000000000" pitchFamily="2" charset="0"/>
                        </a:rPr>
                        <a:t>99,695 </a:t>
                      </a:r>
                    </a:p>
                  </a:txBody>
                  <a:tcPr marL="4775" marR="4775" marT="477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1" i="0" u="none" strike="noStrike">
                          <a:solidFill>
                            <a:srgbClr val="4D4D4F"/>
                          </a:solidFill>
                          <a:effectLst/>
                          <a:latin typeface="Nunito Sans" panose="00000500000000000000" pitchFamily="2" charset="0"/>
                        </a:rPr>
                        <a:t> </a:t>
                      </a:r>
                    </a:p>
                  </a:txBody>
                  <a:tcPr marL="4775" marR="4775" marT="477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1" i="0" u="none" strike="noStrike">
                          <a:solidFill>
                            <a:srgbClr val="4D4D4F"/>
                          </a:solidFill>
                          <a:effectLst/>
                          <a:latin typeface="Nunito Sans" panose="00000500000000000000" pitchFamily="2" charset="0"/>
                        </a:rPr>
                        <a:t>620 </a:t>
                      </a:r>
                    </a:p>
                  </a:txBody>
                  <a:tcPr marL="4775" marR="4775" marT="4775" marB="0" anchor="ctr">
                    <a:lnL>
                      <a:noFill/>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a:txBody>
                    <a:bodyPr/>
                    <a:lstStyle/>
                    <a:p>
                      <a:pPr algn="r" rtl="0" fontAlgn="ctr"/>
                      <a:r>
                        <a:rPr lang="en-US" sz="1000" b="1" i="0" u="none" strike="noStrike" dirty="0">
                          <a:solidFill>
                            <a:srgbClr val="4D4D4F"/>
                          </a:solidFill>
                          <a:effectLst/>
                          <a:latin typeface="Nunito Sans" panose="00000500000000000000" pitchFamily="2" charset="0"/>
                        </a:rPr>
                        <a:t> </a:t>
                      </a:r>
                    </a:p>
                  </a:txBody>
                  <a:tcPr marL="4775" marR="4775" marT="4775" marB="0" anchor="ctr">
                    <a:lnL>
                      <a:noFill/>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2327331674"/>
                  </a:ext>
                </a:extLst>
              </a:tr>
            </a:tbl>
          </a:graphicData>
        </a:graphic>
      </p:graphicFrame>
      <p:sp>
        <p:nvSpPr>
          <p:cNvPr id="5" name="Rectangle 4">
            <a:extLst>
              <a:ext uri="{FF2B5EF4-FFF2-40B4-BE49-F238E27FC236}">
                <a16:creationId xmlns:a16="http://schemas.microsoft.com/office/drawing/2014/main" id="{398C5292-373F-4C92-870C-4A5BBA17037E}"/>
              </a:ext>
            </a:extLst>
          </p:cNvPr>
          <p:cNvSpPr/>
          <p:nvPr/>
        </p:nvSpPr>
        <p:spPr>
          <a:xfrm>
            <a:off x="915090" y="2006177"/>
            <a:ext cx="8544744" cy="1121349"/>
          </a:xfrm>
          <a:prstGeom prst="rect">
            <a:avLst/>
          </a:prstGeom>
          <a:noFill/>
          <a:ln w="19050">
            <a:solidFill>
              <a:srgbClr val="43B04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45"/>
          </a:p>
        </p:txBody>
      </p:sp>
      <p:sp>
        <p:nvSpPr>
          <p:cNvPr id="7" name="TextBox 6">
            <a:extLst>
              <a:ext uri="{FF2B5EF4-FFF2-40B4-BE49-F238E27FC236}">
                <a16:creationId xmlns:a16="http://schemas.microsoft.com/office/drawing/2014/main" id="{2BD86DD9-4E85-45E9-83DC-3D127A0D63ED}"/>
              </a:ext>
            </a:extLst>
          </p:cNvPr>
          <p:cNvSpPr txBox="1"/>
          <p:nvPr/>
        </p:nvSpPr>
        <p:spPr>
          <a:xfrm>
            <a:off x="210893" y="1964130"/>
            <a:ext cx="726737" cy="1163396"/>
          </a:xfrm>
          <a:prstGeom prst="rect">
            <a:avLst/>
          </a:prstGeom>
          <a:noFill/>
        </p:spPr>
        <p:txBody>
          <a:bodyPr wrap="square" rtlCol="0">
            <a:spAutoFit/>
          </a:bodyPr>
          <a:lstStyle/>
          <a:p>
            <a:pPr algn="ctr"/>
            <a:r>
              <a:rPr lang="en-GB" sz="1163" b="1">
                <a:solidFill>
                  <a:schemeClr val="accent2"/>
                </a:solidFill>
              </a:rPr>
              <a:t>64% of Loans Values</a:t>
            </a:r>
          </a:p>
          <a:p>
            <a:pPr algn="ctr"/>
            <a:r>
              <a:rPr lang="en-GB" sz="1163" b="1">
                <a:solidFill>
                  <a:schemeClr val="accent2"/>
                </a:solidFill>
              </a:rPr>
              <a:t>&amp; </a:t>
            </a:r>
          </a:p>
          <a:p>
            <a:pPr algn="ctr"/>
            <a:r>
              <a:rPr lang="en-GB" sz="1163" b="1">
                <a:solidFill>
                  <a:schemeClr val="accent2"/>
                </a:solidFill>
              </a:rPr>
              <a:t>63% of Admins</a:t>
            </a:r>
          </a:p>
        </p:txBody>
      </p:sp>
    </p:spTree>
    <p:extLst>
      <p:ext uri="{BB962C8B-B14F-4D97-AF65-F5344CB8AC3E}">
        <p14:creationId xmlns:p14="http://schemas.microsoft.com/office/powerpoint/2010/main" val="1213502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FCF73B-1983-47A5-86B9-A530625F7718}"/>
              </a:ext>
            </a:extLst>
          </p:cNvPr>
          <p:cNvGraphicFramePr>
            <a:graphicFrameLocks noChangeAspect="1"/>
          </p:cNvGraphicFramePr>
          <p:nvPr>
            <p:custDataLst>
              <p:tags r:id="rId1"/>
            </p:custDataLst>
          </p:nvPr>
        </p:nvGraphicFramePr>
        <p:xfrm>
          <a:off x="301604" y="209262"/>
          <a:ext cx="1492" cy="1492"/>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7" name="Object 6" hidden="1">
                        <a:extLst>
                          <a:ext uri="{FF2B5EF4-FFF2-40B4-BE49-F238E27FC236}">
                            <a16:creationId xmlns:a16="http://schemas.microsoft.com/office/drawing/2014/main" id="{89FCF73B-1983-47A5-86B9-A530625F7718}"/>
                          </a:ext>
                        </a:extLst>
                      </p:cNvPr>
                      <p:cNvPicPr/>
                      <p:nvPr/>
                    </p:nvPicPr>
                    <p:blipFill>
                      <a:blip r:embed="rId5"/>
                      <a:stretch>
                        <a:fillRect/>
                      </a:stretch>
                    </p:blipFill>
                    <p:spPr>
                      <a:xfrm>
                        <a:off x="301604" y="209262"/>
                        <a:ext cx="1492" cy="1492"/>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BD9E914-1BA2-4EA6-A74C-7FF6B1602D5D}"/>
              </a:ext>
            </a:extLst>
          </p:cNvPr>
          <p:cNvSpPr>
            <a:spLocks noGrp="1"/>
          </p:cNvSpPr>
          <p:nvPr>
            <p:ph type="sldNum" sz="quarter" idx="12"/>
          </p:nvPr>
        </p:nvSpPr>
        <p:spPr/>
        <p:txBody>
          <a:bodyPr/>
          <a:lstStyle/>
          <a:p>
            <a:pPr defTabSz="858940"/>
            <a:fld id="{CB7FE98A-78B1-495F-8A5C-53E48422F91F}" type="slidenum">
              <a:rPr lang="en-US">
                <a:solidFill>
                  <a:srgbClr val="4D4D4F"/>
                </a:solidFill>
                <a:latin typeface="Nunito Sans"/>
              </a:rPr>
              <a:pPr defTabSz="858940"/>
              <a:t>9</a:t>
            </a:fld>
            <a:endParaRPr lang="en-US">
              <a:solidFill>
                <a:srgbClr val="4D4D4F"/>
              </a:solidFill>
              <a:latin typeface="Nunito Sans"/>
            </a:endParaRPr>
          </a:p>
        </p:txBody>
      </p:sp>
      <p:sp>
        <p:nvSpPr>
          <p:cNvPr id="36" name="Text Placeholder 4">
            <a:extLst>
              <a:ext uri="{FF2B5EF4-FFF2-40B4-BE49-F238E27FC236}">
                <a16:creationId xmlns:a16="http://schemas.microsoft.com/office/drawing/2014/main" id="{D0D07D1C-76A0-40E7-A1D3-AD528DADDF5E}"/>
              </a:ext>
            </a:extLst>
          </p:cNvPr>
          <p:cNvSpPr>
            <a:spLocks noGrp="1"/>
          </p:cNvSpPr>
          <p:nvPr>
            <p:ph type="body" sz="quarter" idx="13"/>
          </p:nvPr>
        </p:nvSpPr>
        <p:spPr/>
        <p:txBody>
          <a:bodyPr/>
          <a:lstStyle/>
          <a:p>
            <a:r>
              <a:rPr lang="en-US" sz="1600" dirty="0"/>
              <a:t>KEY DISTRESSED SECTORS</a:t>
            </a:r>
          </a:p>
        </p:txBody>
      </p:sp>
      <p:sp>
        <p:nvSpPr>
          <p:cNvPr id="35" name="Title 2">
            <a:extLst>
              <a:ext uri="{FF2B5EF4-FFF2-40B4-BE49-F238E27FC236}">
                <a16:creationId xmlns:a16="http://schemas.microsoft.com/office/drawing/2014/main" id="{22441FA1-DDD3-49E5-9B43-642671960D8B}"/>
              </a:ext>
            </a:extLst>
          </p:cNvPr>
          <p:cNvSpPr>
            <a:spLocks noGrp="1"/>
          </p:cNvSpPr>
          <p:nvPr>
            <p:ph type="title"/>
          </p:nvPr>
        </p:nvSpPr>
        <p:spPr/>
        <p:txBody>
          <a:bodyPr/>
          <a:lstStyle/>
          <a:p>
            <a:r>
              <a:rPr lang="en-GB" dirty="0"/>
              <a:t>SECTOR MARKET OUTLOOK</a:t>
            </a:r>
            <a:endParaRPr lang="en-US" dirty="0"/>
          </a:p>
        </p:txBody>
      </p:sp>
      <p:sp>
        <p:nvSpPr>
          <p:cNvPr id="11" name="Rectangle 10">
            <a:extLst>
              <a:ext uri="{FF2B5EF4-FFF2-40B4-BE49-F238E27FC236}">
                <a16:creationId xmlns:a16="http://schemas.microsoft.com/office/drawing/2014/main" id="{B4577F43-C529-451D-AC27-2D2316148E76}"/>
              </a:ext>
            </a:extLst>
          </p:cNvPr>
          <p:cNvSpPr/>
          <p:nvPr/>
        </p:nvSpPr>
        <p:spPr>
          <a:xfrm>
            <a:off x="6016438" y="1501260"/>
            <a:ext cx="1704662" cy="4649290"/>
          </a:xfrm>
          <a:prstGeom prst="rect">
            <a:avLst/>
          </a:prstGeom>
          <a:solidFill>
            <a:schemeClr val="accent3"/>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endParaRPr lang="uk-UA" sz="1691" b="1" kern="0">
              <a:solidFill>
                <a:prstClr val="white"/>
              </a:solidFill>
              <a:ea typeface="MS PGothic"/>
            </a:endParaRPr>
          </a:p>
        </p:txBody>
      </p:sp>
      <p:sp>
        <p:nvSpPr>
          <p:cNvPr id="12" name="Rectangle 11">
            <a:extLst>
              <a:ext uri="{FF2B5EF4-FFF2-40B4-BE49-F238E27FC236}">
                <a16:creationId xmlns:a16="http://schemas.microsoft.com/office/drawing/2014/main" id="{8DB08DEC-9ED5-4789-8D2D-CB893801D472}"/>
              </a:ext>
            </a:extLst>
          </p:cNvPr>
          <p:cNvSpPr/>
          <p:nvPr/>
        </p:nvSpPr>
        <p:spPr>
          <a:xfrm>
            <a:off x="2632070" y="1501260"/>
            <a:ext cx="1704662" cy="4649290"/>
          </a:xfrm>
          <a:prstGeom prst="rect">
            <a:avLst/>
          </a:prstGeom>
          <a:solidFill>
            <a:schemeClr val="accent2"/>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1691" b="1" kern="0">
              <a:solidFill>
                <a:prstClr val="white"/>
              </a:solidFill>
              <a:ea typeface="MS PGothic"/>
            </a:endParaRPr>
          </a:p>
        </p:txBody>
      </p:sp>
      <p:sp>
        <p:nvSpPr>
          <p:cNvPr id="13" name="Rectangle 12">
            <a:extLst>
              <a:ext uri="{FF2B5EF4-FFF2-40B4-BE49-F238E27FC236}">
                <a16:creationId xmlns:a16="http://schemas.microsoft.com/office/drawing/2014/main" id="{8D56C43E-641E-4F59-9526-5E464C6F35F0}"/>
              </a:ext>
            </a:extLst>
          </p:cNvPr>
          <p:cNvSpPr/>
          <p:nvPr/>
        </p:nvSpPr>
        <p:spPr>
          <a:xfrm>
            <a:off x="939885" y="1501258"/>
            <a:ext cx="1704662" cy="4649290"/>
          </a:xfrm>
          <a:prstGeom prst="rect">
            <a:avLst/>
          </a:prstGeom>
          <a:solidFill>
            <a:srgbClr val="4D4D4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1691" b="1" kern="0">
              <a:solidFill>
                <a:prstClr val="white"/>
              </a:solidFill>
              <a:ea typeface="MS PGothic"/>
            </a:endParaRPr>
          </a:p>
        </p:txBody>
      </p:sp>
      <p:sp>
        <p:nvSpPr>
          <p:cNvPr id="14" name="Rectangle 13">
            <a:extLst>
              <a:ext uri="{FF2B5EF4-FFF2-40B4-BE49-F238E27FC236}">
                <a16:creationId xmlns:a16="http://schemas.microsoft.com/office/drawing/2014/main" id="{3813508D-98A9-4242-AF4F-571BAFDE02A6}"/>
              </a:ext>
            </a:extLst>
          </p:cNvPr>
          <p:cNvSpPr/>
          <p:nvPr/>
        </p:nvSpPr>
        <p:spPr>
          <a:xfrm>
            <a:off x="4324254" y="1501260"/>
            <a:ext cx="1704662" cy="4649290"/>
          </a:xfrm>
          <a:prstGeom prst="rect">
            <a:avLst/>
          </a:prstGeom>
          <a:solidFill>
            <a:srgbClr val="14487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1691" b="1" kern="0">
              <a:solidFill>
                <a:prstClr val="white"/>
              </a:solidFill>
              <a:ea typeface="MS PGothic"/>
            </a:endParaRPr>
          </a:p>
        </p:txBody>
      </p:sp>
      <p:sp>
        <p:nvSpPr>
          <p:cNvPr id="15" name="Oval 14">
            <a:extLst>
              <a:ext uri="{FF2B5EF4-FFF2-40B4-BE49-F238E27FC236}">
                <a16:creationId xmlns:a16="http://schemas.microsoft.com/office/drawing/2014/main" id="{ED7E462B-6D7A-4AB9-805B-ED30A7EBE7A6}"/>
              </a:ext>
            </a:extLst>
          </p:cNvPr>
          <p:cNvSpPr/>
          <p:nvPr/>
        </p:nvSpPr>
        <p:spPr>
          <a:xfrm>
            <a:off x="1356086" y="1883578"/>
            <a:ext cx="872260" cy="898451"/>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2254" b="1" kern="0">
              <a:solidFill>
                <a:prstClr val="white"/>
              </a:solidFill>
              <a:ea typeface="MS PGothic"/>
              <a:cs typeface="Arial" panose="020B0604020202020204" pitchFamily="34" charset="0"/>
            </a:endParaRPr>
          </a:p>
        </p:txBody>
      </p:sp>
      <p:sp>
        <p:nvSpPr>
          <p:cNvPr id="16" name="TextBox 15">
            <a:extLst>
              <a:ext uri="{FF2B5EF4-FFF2-40B4-BE49-F238E27FC236}">
                <a16:creationId xmlns:a16="http://schemas.microsoft.com/office/drawing/2014/main" id="{A8439A1D-95F1-41BC-9C8C-8BFB5E9C68C0}"/>
              </a:ext>
            </a:extLst>
          </p:cNvPr>
          <p:cNvSpPr txBox="1"/>
          <p:nvPr/>
        </p:nvSpPr>
        <p:spPr>
          <a:xfrm>
            <a:off x="973145" y="3776776"/>
            <a:ext cx="1638145" cy="2373774"/>
          </a:xfrm>
          <a:prstGeom prst="rect">
            <a:avLst/>
          </a:prstGeom>
          <a:noFill/>
        </p:spPr>
        <p:txBody>
          <a:bodyPr wrap="square" rtlCol="0">
            <a:spAutoFit/>
          </a:bodyPr>
          <a:lstStyle/>
          <a:p>
            <a:pPr algn="ctr" defTabSz="858940">
              <a:lnSpc>
                <a:spcPct val="120000"/>
              </a:lnSpc>
            </a:pPr>
            <a:r>
              <a:rPr lang="en-GB" altLang="en-US" sz="1163" b="1">
                <a:solidFill>
                  <a:srgbClr val="FFFFFF"/>
                </a:solidFill>
                <a:latin typeface="Nunito Sans"/>
                <a:cs typeface="Arial" panose="020B0604020202020204" pitchFamily="34" charset="0"/>
              </a:rPr>
              <a:t>£4.4bn CBILS</a:t>
            </a:r>
          </a:p>
          <a:p>
            <a:pPr algn="ctr" defTabSz="858940">
              <a:lnSpc>
                <a:spcPct val="120000"/>
              </a:lnSpc>
            </a:pPr>
            <a:r>
              <a:rPr lang="en-GB" altLang="en-US" sz="1163" b="1">
                <a:solidFill>
                  <a:srgbClr val="FFFFFF"/>
                </a:solidFill>
                <a:latin typeface="Nunito Sans"/>
                <a:cs typeface="Arial" panose="020B0604020202020204" pitchFamily="34" charset="0"/>
              </a:rPr>
              <a:t>15% Administrations YTD</a:t>
            </a:r>
          </a:p>
          <a:p>
            <a:pPr defTabSz="858940">
              <a:lnSpc>
                <a:spcPct val="120000"/>
              </a:lnSpc>
            </a:pPr>
            <a:endParaRPr lang="en-GB" altLang="en-US" sz="1066">
              <a:solidFill>
                <a:srgbClr val="FFFFFF"/>
              </a:solidFill>
              <a:latin typeface="Nunito Sans"/>
              <a:cs typeface="Arial" panose="020B0604020202020204" pitchFamily="34" charset="0"/>
            </a:endParaRP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Inflation pressures</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Supply chain disruption</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Energy intensive sectors like steel, cement and concrete face surging costs. </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Operational inefficiencies (safety regulation, labour shortages and pandemic)</a:t>
            </a:r>
          </a:p>
        </p:txBody>
      </p:sp>
      <p:sp>
        <p:nvSpPr>
          <p:cNvPr id="17" name="Oval 16">
            <a:extLst>
              <a:ext uri="{FF2B5EF4-FFF2-40B4-BE49-F238E27FC236}">
                <a16:creationId xmlns:a16="http://schemas.microsoft.com/office/drawing/2014/main" id="{49A5F3C8-546F-4A97-A027-2B7A9B09093F}"/>
              </a:ext>
            </a:extLst>
          </p:cNvPr>
          <p:cNvSpPr/>
          <p:nvPr/>
        </p:nvSpPr>
        <p:spPr>
          <a:xfrm>
            <a:off x="3048270" y="1883578"/>
            <a:ext cx="872260" cy="898451"/>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2254" b="1" kern="0">
              <a:solidFill>
                <a:prstClr val="white"/>
              </a:solidFill>
              <a:ea typeface="MS PGothic"/>
              <a:cs typeface="Arial" panose="020B0604020202020204" pitchFamily="34" charset="0"/>
            </a:endParaRPr>
          </a:p>
        </p:txBody>
      </p:sp>
      <p:sp>
        <p:nvSpPr>
          <p:cNvPr id="18" name="TextBox 17">
            <a:extLst>
              <a:ext uri="{FF2B5EF4-FFF2-40B4-BE49-F238E27FC236}">
                <a16:creationId xmlns:a16="http://schemas.microsoft.com/office/drawing/2014/main" id="{14F85FBA-345F-41CF-B001-FB8FF0AD73B3}"/>
              </a:ext>
            </a:extLst>
          </p:cNvPr>
          <p:cNvSpPr txBox="1"/>
          <p:nvPr/>
        </p:nvSpPr>
        <p:spPr>
          <a:xfrm>
            <a:off x="2665329" y="3776777"/>
            <a:ext cx="1638145" cy="1732077"/>
          </a:xfrm>
          <a:prstGeom prst="rect">
            <a:avLst/>
          </a:prstGeom>
          <a:noFill/>
        </p:spPr>
        <p:txBody>
          <a:bodyPr wrap="square" rtlCol="0">
            <a:spAutoFit/>
          </a:bodyPr>
          <a:lstStyle/>
          <a:p>
            <a:pPr algn="ctr" defTabSz="858940">
              <a:lnSpc>
                <a:spcPct val="120000"/>
              </a:lnSpc>
            </a:pPr>
            <a:r>
              <a:rPr lang="en-GB" altLang="ja-JP" sz="1163" b="1">
                <a:solidFill>
                  <a:srgbClr val="FFFFFF"/>
                </a:solidFill>
                <a:latin typeface="Nunito Sans"/>
                <a:cs typeface="Arial" panose="020B0604020202020204" pitchFamily="34" charset="0"/>
              </a:rPr>
              <a:t>£5bn CBILS</a:t>
            </a:r>
          </a:p>
          <a:p>
            <a:pPr algn="ctr" defTabSz="858940">
              <a:lnSpc>
                <a:spcPct val="120000"/>
              </a:lnSpc>
            </a:pPr>
            <a:r>
              <a:rPr lang="en-GB" altLang="ja-JP" sz="1163" b="1">
                <a:solidFill>
                  <a:srgbClr val="FFFFFF"/>
                </a:solidFill>
                <a:latin typeface="Nunito Sans"/>
                <a:cs typeface="Arial" panose="020B0604020202020204" pitchFamily="34" charset="0"/>
              </a:rPr>
              <a:t>14% Administrations YTD</a:t>
            </a:r>
          </a:p>
          <a:p>
            <a:pPr defTabSz="858940">
              <a:lnSpc>
                <a:spcPct val="120000"/>
              </a:lnSpc>
            </a:pPr>
            <a:endParaRPr lang="en-GB" altLang="ja-JP" sz="1066" b="1">
              <a:solidFill>
                <a:srgbClr val="FFFFFF"/>
              </a:solidFill>
              <a:latin typeface="Nunito Sans"/>
              <a:cs typeface="Arial" panose="020B0604020202020204" pitchFamily="34" charset="0"/>
            </a:endParaRP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Reducing demand</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Change in spending habits</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Inflationary pressures</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Interest rate rises</a:t>
            </a:r>
          </a:p>
        </p:txBody>
      </p:sp>
      <p:sp>
        <p:nvSpPr>
          <p:cNvPr id="19" name="TextBox 18">
            <a:extLst>
              <a:ext uri="{FF2B5EF4-FFF2-40B4-BE49-F238E27FC236}">
                <a16:creationId xmlns:a16="http://schemas.microsoft.com/office/drawing/2014/main" id="{65B378D4-6CE8-420C-97A2-ED781D29B82A}"/>
              </a:ext>
            </a:extLst>
          </p:cNvPr>
          <p:cNvSpPr txBox="1"/>
          <p:nvPr/>
        </p:nvSpPr>
        <p:spPr>
          <a:xfrm>
            <a:off x="2632070" y="3003519"/>
            <a:ext cx="1704662" cy="626444"/>
          </a:xfrm>
          <a:prstGeom prst="rect">
            <a:avLst/>
          </a:prstGeom>
          <a:noFill/>
        </p:spPr>
        <p:txBody>
          <a:bodyPr wrap="square" rtlCol="0">
            <a:spAutoFit/>
          </a:bodyPr>
          <a:lstStyle/>
          <a:p>
            <a:pPr algn="ctr" defTabSz="858940"/>
            <a:r>
              <a:rPr lang="en-US" sz="1163" b="1" kern="7500" spc="76">
                <a:solidFill>
                  <a:srgbClr val="FFFFFF"/>
                </a:solidFill>
                <a:latin typeface="Nunito Sans"/>
                <a:cs typeface="Arial" panose="020B0604020202020204" pitchFamily="34" charset="0"/>
              </a:rPr>
              <a:t>CONSUMER</a:t>
            </a:r>
          </a:p>
          <a:p>
            <a:pPr algn="ctr" defTabSz="858940"/>
            <a:r>
              <a:rPr lang="en-US" sz="1163" b="1" kern="7500" spc="76">
                <a:solidFill>
                  <a:srgbClr val="FFFFFF"/>
                </a:solidFill>
                <a:latin typeface="Nunito Sans"/>
                <a:cs typeface="Arial" panose="020B0604020202020204" pitchFamily="34" charset="0"/>
              </a:rPr>
              <a:t>(RETAIL + LEISURE &amp; HOSPITALITY)</a:t>
            </a:r>
            <a:endParaRPr lang="uk-UA" sz="1163" b="1" kern="7500" spc="76">
              <a:solidFill>
                <a:srgbClr val="FFFFFF"/>
              </a:solidFill>
              <a:cs typeface="Arial" panose="020B0604020202020204" pitchFamily="34" charset="0"/>
            </a:endParaRPr>
          </a:p>
        </p:txBody>
      </p:sp>
      <p:sp>
        <p:nvSpPr>
          <p:cNvPr id="20" name="Oval 19">
            <a:extLst>
              <a:ext uri="{FF2B5EF4-FFF2-40B4-BE49-F238E27FC236}">
                <a16:creationId xmlns:a16="http://schemas.microsoft.com/office/drawing/2014/main" id="{C3DBD312-CD9F-4101-865E-04B89682FF2C}"/>
              </a:ext>
            </a:extLst>
          </p:cNvPr>
          <p:cNvSpPr/>
          <p:nvPr/>
        </p:nvSpPr>
        <p:spPr>
          <a:xfrm>
            <a:off x="4740454" y="1883578"/>
            <a:ext cx="872260" cy="898451"/>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2254" b="1" kern="0">
              <a:solidFill>
                <a:prstClr val="white"/>
              </a:solidFill>
              <a:ea typeface="MS PGothic"/>
              <a:cs typeface="Arial" panose="020B0604020202020204" pitchFamily="34" charset="0"/>
            </a:endParaRPr>
          </a:p>
        </p:txBody>
      </p:sp>
      <p:sp>
        <p:nvSpPr>
          <p:cNvPr id="21" name="TextBox 20">
            <a:extLst>
              <a:ext uri="{FF2B5EF4-FFF2-40B4-BE49-F238E27FC236}">
                <a16:creationId xmlns:a16="http://schemas.microsoft.com/office/drawing/2014/main" id="{DE167F21-A2E7-4196-AF58-11B3CDE46196}"/>
              </a:ext>
            </a:extLst>
          </p:cNvPr>
          <p:cNvSpPr txBox="1"/>
          <p:nvPr/>
        </p:nvSpPr>
        <p:spPr>
          <a:xfrm>
            <a:off x="4357514" y="3776777"/>
            <a:ext cx="1638145" cy="2354385"/>
          </a:xfrm>
          <a:prstGeom prst="rect">
            <a:avLst/>
          </a:prstGeom>
          <a:noFill/>
        </p:spPr>
        <p:txBody>
          <a:bodyPr wrap="square" rtlCol="0">
            <a:spAutoFit/>
          </a:bodyPr>
          <a:lstStyle/>
          <a:p>
            <a:pPr algn="ctr" defTabSz="858940">
              <a:lnSpc>
                <a:spcPct val="120000"/>
              </a:lnSpc>
            </a:pPr>
            <a:r>
              <a:rPr lang="en-GB" altLang="ja-JP" sz="1163" b="1">
                <a:solidFill>
                  <a:srgbClr val="FFFFFF"/>
                </a:solidFill>
                <a:latin typeface="Nunito Sans"/>
                <a:cs typeface="Arial" panose="020B0604020202020204" pitchFamily="34" charset="0"/>
              </a:rPr>
              <a:t>£2.3bn CBILS</a:t>
            </a:r>
          </a:p>
          <a:p>
            <a:pPr algn="ctr" defTabSz="858940">
              <a:lnSpc>
                <a:spcPct val="120000"/>
              </a:lnSpc>
            </a:pPr>
            <a:r>
              <a:rPr lang="en-GB" altLang="ja-JP" sz="1163" b="1">
                <a:solidFill>
                  <a:srgbClr val="FFFFFF"/>
                </a:solidFill>
                <a:latin typeface="Nunito Sans"/>
                <a:cs typeface="Arial" panose="020B0604020202020204" pitchFamily="34" charset="0"/>
              </a:rPr>
              <a:t>8% Administrations YTD</a:t>
            </a:r>
          </a:p>
          <a:p>
            <a:pPr algn="ctr" defTabSz="858940">
              <a:lnSpc>
                <a:spcPct val="120000"/>
              </a:lnSpc>
            </a:pPr>
            <a:endParaRPr lang="en-GB" altLang="ja-JP" sz="1066" b="1">
              <a:solidFill>
                <a:srgbClr val="FFFFFF"/>
              </a:solidFill>
              <a:latin typeface="Nunito Sans"/>
              <a:cs typeface="Arial" panose="020B0604020202020204" pitchFamily="34" charset="0"/>
            </a:endParaRP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Borrowing costs</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Risk appetite </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Funding restrictions</a:t>
            </a:r>
          </a:p>
          <a:p>
            <a:pPr marL="166169" indent="-166169" defTabSz="858940">
              <a:lnSpc>
                <a:spcPct val="120000"/>
              </a:lnSpc>
              <a:buFontTx/>
              <a:buChar char="-"/>
            </a:pPr>
            <a:r>
              <a:rPr lang="en-GB" altLang="ja-JP" sz="872">
                <a:solidFill>
                  <a:srgbClr val="FFFFFF"/>
                </a:solidFill>
                <a:latin typeface="Nunito Sans"/>
                <a:cs typeface="Arial" panose="020B0604020202020204" pitchFamily="34" charset="0"/>
              </a:rPr>
              <a:t>Bad debts &amp; provisions</a:t>
            </a:r>
          </a:p>
          <a:p>
            <a:pPr algn="ctr" defTabSz="858940">
              <a:lnSpc>
                <a:spcPct val="120000"/>
              </a:lnSpc>
            </a:pPr>
            <a:endParaRPr lang="en-GB" altLang="ja-JP" sz="1066" b="1">
              <a:solidFill>
                <a:srgbClr val="FFFFFF"/>
              </a:solidFill>
              <a:latin typeface="Nunito Sans"/>
              <a:cs typeface="Arial" panose="020B0604020202020204" pitchFamily="34" charset="0"/>
            </a:endParaRPr>
          </a:p>
          <a:p>
            <a:pPr algn="ctr" defTabSz="858940">
              <a:lnSpc>
                <a:spcPct val="120000"/>
              </a:lnSpc>
            </a:pPr>
            <a:endParaRPr lang="en-GB" altLang="ja-JP" sz="1066" b="1">
              <a:solidFill>
                <a:srgbClr val="FFFFFF"/>
              </a:solidFill>
              <a:latin typeface="Nunito Sans"/>
              <a:cs typeface="Arial" panose="020B0604020202020204" pitchFamily="34" charset="0"/>
            </a:endParaRPr>
          </a:p>
          <a:p>
            <a:pPr algn="ctr" defTabSz="858940">
              <a:lnSpc>
                <a:spcPct val="120000"/>
              </a:lnSpc>
            </a:pPr>
            <a:endParaRPr lang="en-GB" altLang="ja-JP" sz="1066" b="1">
              <a:solidFill>
                <a:srgbClr val="FFFFFF"/>
              </a:solidFill>
              <a:latin typeface="Nunito Sans"/>
              <a:cs typeface="Arial" panose="020B0604020202020204" pitchFamily="34" charset="0"/>
            </a:endParaRPr>
          </a:p>
          <a:p>
            <a:pPr algn="ctr" defTabSz="858940">
              <a:lnSpc>
                <a:spcPct val="120000"/>
              </a:lnSpc>
            </a:pPr>
            <a:endParaRPr lang="en-GB" altLang="ja-JP" sz="1066" b="1">
              <a:solidFill>
                <a:srgbClr val="FFFFFF"/>
              </a:solidFill>
              <a:latin typeface="Nunito Sans"/>
              <a:cs typeface="Arial" panose="020B0604020202020204" pitchFamily="34" charset="0"/>
            </a:endParaRPr>
          </a:p>
        </p:txBody>
      </p:sp>
      <p:sp>
        <p:nvSpPr>
          <p:cNvPr id="22" name="TextBox 21">
            <a:extLst>
              <a:ext uri="{FF2B5EF4-FFF2-40B4-BE49-F238E27FC236}">
                <a16:creationId xmlns:a16="http://schemas.microsoft.com/office/drawing/2014/main" id="{C5FEED35-1D79-459C-BAC6-D4B0E1AAE21B}"/>
              </a:ext>
            </a:extLst>
          </p:cNvPr>
          <p:cNvSpPr txBox="1"/>
          <p:nvPr/>
        </p:nvSpPr>
        <p:spPr>
          <a:xfrm>
            <a:off x="4325500" y="3003519"/>
            <a:ext cx="1704662" cy="447460"/>
          </a:xfrm>
          <a:prstGeom prst="rect">
            <a:avLst/>
          </a:prstGeom>
          <a:noFill/>
        </p:spPr>
        <p:txBody>
          <a:bodyPr wrap="square" rtlCol="0">
            <a:spAutoFit/>
          </a:bodyPr>
          <a:lstStyle/>
          <a:p>
            <a:pPr algn="ctr" defTabSz="858940"/>
            <a:r>
              <a:rPr lang="en-GB" sz="1163" b="1" kern="7500" spc="76">
                <a:solidFill>
                  <a:srgbClr val="FFFFFF"/>
                </a:solidFill>
                <a:latin typeface="Nunito Sans"/>
                <a:cs typeface="Arial" panose="020B0604020202020204" pitchFamily="34" charset="0"/>
              </a:rPr>
              <a:t>FINANCIAL SERVICES</a:t>
            </a:r>
            <a:endParaRPr lang="uk-UA" sz="1163" b="1" kern="7500" spc="76">
              <a:solidFill>
                <a:srgbClr val="FFFFFF"/>
              </a:solidFill>
              <a:cs typeface="Arial" panose="020B0604020202020204" pitchFamily="34" charset="0"/>
            </a:endParaRPr>
          </a:p>
        </p:txBody>
      </p:sp>
      <p:sp>
        <p:nvSpPr>
          <p:cNvPr id="23" name="Oval 22">
            <a:extLst>
              <a:ext uri="{FF2B5EF4-FFF2-40B4-BE49-F238E27FC236}">
                <a16:creationId xmlns:a16="http://schemas.microsoft.com/office/drawing/2014/main" id="{2542202D-03A9-46BD-8E74-CE685E9C9C87}"/>
              </a:ext>
            </a:extLst>
          </p:cNvPr>
          <p:cNvSpPr/>
          <p:nvPr/>
        </p:nvSpPr>
        <p:spPr>
          <a:xfrm>
            <a:off x="6432640" y="1883578"/>
            <a:ext cx="872260" cy="898451"/>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2254" b="1" kern="0">
              <a:solidFill>
                <a:prstClr val="white"/>
              </a:solidFill>
              <a:ea typeface="MS PGothic"/>
              <a:cs typeface="Arial" panose="020B0604020202020204" pitchFamily="34" charset="0"/>
            </a:endParaRPr>
          </a:p>
        </p:txBody>
      </p:sp>
      <p:sp>
        <p:nvSpPr>
          <p:cNvPr id="24" name="TextBox 23">
            <a:extLst>
              <a:ext uri="{FF2B5EF4-FFF2-40B4-BE49-F238E27FC236}">
                <a16:creationId xmlns:a16="http://schemas.microsoft.com/office/drawing/2014/main" id="{9AD938E7-2C7F-4D4B-AD07-6E071C1053B1}"/>
              </a:ext>
            </a:extLst>
          </p:cNvPr>
          <p:cNvSpPr txBox="1"/>
          <p:nvPr/>
        </p:nvSpPr>
        <p:spPr>
          <a:xfrm>
            <a:off x="6049698" y="3776777"/>
            <a:ext cx="1638145" cy="2587063"/>
          </a:xfrm>
          <a:prstGeom prst="rect">
            <a:avLst/>
          </a:prstGeom>
          <a:noFill/>
        </p:spPr>
        <p:txBody>
          <a:bodyPr wrap="square" rtlCol="0">
            <a:spAutoFit/>
          </a:bodyPr>
          <a:lstStyle/>
          <a:p>
            <a:pPr algn="ctr" defTabSz="858940">
              <a:lnSpc>
                <a:spcPct val="120000"/>
              </a:lnSpc>
            </a:pPr>
            <a:r>
              <a:rPr lang="en-US" sz="1163" b="1">
                <a:solidFill>
                  <a:srgbClr val="FFFFFF"/>
                </a:solidFill>
                <a:latin typeface="Nunito Sans"/>
                <a:cs typeface="Arial" panose="020B0604020202020204" pitchFamily="34" charset="0"/>
              </a:rPr>
              <a:t>£1.9bn CBILS</a:t>
            </a:r>
          </a:p>
          <a:p>
            <a:pPr algn="ctr" defTabSz="858940">
              <a:lnSpc>
                <a:spcPct val="120000"/>
              </a:lnSpc>
            </a:pPr>
            <a:r>
              <a:rPr lang="en-US" sz="1163" b="1">
                <a:solidFill>
                  <a:srgbClr val="FFFFFF"/>
                </a:solidFill>
                <a:latin typeface="Nunito Sans"/>
                <a:cs typeface="Arial" panose="020B0604020202020204" pitchFamily="34" charset="0"/>
              </a:rPr>
              <a:t>12% Administrations YTD</a:t>
            </a:r>
          </a:p>
          <a:p>
            <a:pPr algn="ctr" defTabSz="858940">
              <a:lnSpc>
                <a:spcPct val="120000"/>
              </a:lnSpc>
            </a:pPr>
            <a:endParaRPr lang="en-US" sz="1066" b="1">
              <a:solidFill>
                <a:srgbClr val="FFFFFF"/>
              </a:solidFill>
              <a:latin typeface="Nunito Sans"/>
              <a:cs typeface="Arial" panose="020B0604020202020204" pitchFamily="34" charset="0"/>
            </a:endParaRPr>
          </a:p>
          <a:p>
            <a:pPr marL="166169" indent="-166169" defTabSz="858940">
              <a:lnSpc>
                <a:spcPct val="120000"/>
              </a:lnSpc>
              <a:buFontTx/>
              <a:buChar char="-"/>
            </a:pPr>
            <a:r>
              <a:rPr lang="en-US" sz="872">
                <a:solidFill>
                  <a:srgbClr val="FFFFFF"/>
                </a:solidFill>
                <a:latin typeface="Nunito Sans"/>
                <a:cs typeface="Arial" panose="020B0604020202020204" pitchFamily="34" charset="0"/>
              </a:rPr>
              <a:t>Increased development costs</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Supply chain / delivery protraction</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Prime &amp; Secondary divergence</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Retail – declining </a:t>
            </a:r>
          </a:p>
          <a:p>
            <a:pPr marL="166169" indent="-166169" defTabSz="858940">
              <a:lnSpc>
                <a:spcPct val="120000"/>
              </a:lnSpc>
              <a:buFontTx/>
              <a:buChar char="-"/>
            </a:pPr>
            <a:endParaRPr lang="en-US" sz="775">
              <a:solidFill>
                <a:srgbClr val="FFFFFF"/>
              </a:solidFill>
              <a:latin typeface="Nunito Sans"/>
              <a:cs typeface="Arial" panose="020B0604020202020204" pitchFamily="34" charset="0"/>
            </a:endParaRPr>
          </a:p>
          <a:p>
            <a:pPr defTabSz="858940">
              <a:lnSpc>
                <a:spcPct val="120000"/>
              </a:lnSpc>
            </a:pPr>
            <a:endParaRPr lang="en-US" sz="1066">
              <a:solidFill>
                <a:srgbClr val="FFFFFF"/>
              </a:solidFill>
              <a:latin typeface="Nunito Sans"/>
              <a:cs typeface="Arial" panose="020B0604020202020204" pitchFamily="34" charset="0"/>
            </a:endParaRPr>
          </a:p>
          <a:p>
            <a:pPr defTabSz="858940">
              <a:lnSpc>
                <a:spcPct val="120000"/>
              </a:lnSpc>
            </a:pPr>
            <a:endParaRPr lang="en-US" sz="1066">
              <a:solidFill>
                <a:srgbClr val="FFFFFF"/>
              </a:solidFill>
              <a:latin typeface="Nunito Sans"/>
              <a:cs typeface="Arial" panose="020B0604020202020204" pitchFamily="34" charset="0"/>
            </a:endParaRPr>
          </a:p>
        </p:txBody>
      </p:sp>
      <p:sp>
        <p:nvSpPr>
          <p:cNvPr id="25" name="TextBox 24">
            <a:extLst>
              <a:ext uri="{FF2B5EF4-FFF2-40B4-BE49-F238E27FC236}">
                <a16:creationId xmlns:a16="http://schemas.microsoft.com/office/drawing/2014/main" id="{5765A408-AA33-4C15-8164-6E26AAF3B138}"/>
              </a:ext>
            </a:extLst>
          </p:cNvPr>
          <p:cNvSpPr txBox="1"/>
          <p:nvPr/>
        </p:nvSpPr>
        <p:spPr>
          <a:xfrm>
            <a:off x="6011768" y="3003520"/>
            <a:ext cx="1704662" cy="271293"/>
          </a:xfrm>
          <a:prstGeom prst="rect">
            <a:avLst/>
          </a:prstGeom>
          <a:noFill/>
        </p:spPr>
        <p:txBody>
          <a:bodyPr wrap="square" rtlCol="0">
            <a:spAutoFit/>
          </a:bodyPr>
          <a:lstStyle/>
          <a:p>
            <a:pPr algn="ctr" defTabSz="858940"/>
            <a:r>
              <a:rPr lang="en-GB" sz="1163" b="1" kern="7500" spc="76">
                <a:solidFill>
                  <a:srgbClr val="FFFFFF"/>
                </a:solidFill>
                <a:latin typeface="Nunito Sans"/>
                <a:cs typeface="Arial" panose="020B0604020202020204" pitchFamily="34" charset="0"/>
              </a:rPr>
              <a:t>REAL ESTATE</a:t>
            </a:r>
            <a:endParaRPr lang="uk-UA" sz="1163" b="1" kern="7500" spc="76">
              <a:solidFill>
                <a:srgbClr val="FFFFFF"/>
              </a:solidFill>
              <a:cs typeface="Arial" panose="020B0604020202020204" pitchFamily="34" charset="0"/>
            </a:endParaRPr>
          </a:p>
        </p:txBody>
      </p:sp>
      <p:sp>
        <p:nvSpPr>
          <p:cNvPr id="30" name="TextBox 29">
            <a:extLst>
              <a:ext uri="{FF2B5EF4-FFF2-40B4-BE49-F238E27FC236}">
                <a16:creationId xmlns:a16="http://schemas.microsoft.com/office/drawing/2014/main" id="{54608BA5-3A97-4E3F-AB92-567BE94FCF01}"/>
              </a:ext>
            </a:extLst>
          </p:cNvPr>
          <p:cNvSpPr txBox="1"/>
          <p:nvPr/>
        </p:nvSpPr>
        <p:spPr>
          <a:xfrm>
            <a:off x="939885" y="3003520"/>
            <a:ext cx="1704662" cy="271293"/>
          </a:xfrm>
          <a:prstGeom prst="rect">
            <a:avLst/>
          </a:prstGeom>
          <a:noFill/>
        </p:spPr>
        <p:txBody>
          <a:bodyPr wrap="square" rtlCol="0">
            <a:spAutoFit/>
          </a:bodyPr>
          <a:lstStyle/>
          <a:p>
            <a:pPr algn="ctr" defTabSz="858940"/>
            <a:r>
              <a:rPr lang="en-US" sz="1163" b="1" kern="7500" spc="76">
                <a:solidFill>
                  <a:srgbClr val="FFFFFF"/>
                </a:solidFill>
                <a:latin typeface="Nunito Sans"/>
                <a:cs typeface="Arial" panose="020B0604020202020204" pitchFamily="34" charset="0"/>
              </a:rPr>
              <a:t>CONSTRUCTION</a:t>
            </a:r>
          </a:p>
        </p:txBody>
      </p:sp>
      <p:sp>
        <p:nvSpPr>
          <p:cNvPr id="29" name="Rectangle 28">
            <a:extLst>
              <a:ext uri="{FF2B5EF4-FFF2-40B4-BE49-F238E27FC236}">
                <a16:creationId xmlns:a16="http://schemas.microsoft.com/office/drawing/2014/main" id="{66151EA0-8151-4588-9A39-BD81A66CF8FB}"/>
              </a:ext>
            </a:extLst>
          </p:cNvPr>
          <p:cNvSpPr/>
          <p:nvPr/>
        </p:nvSpPr>
        <p:spPr>
          <a:xfrm>
            <a:off x="7716907" y="1501257"/>
            <a:ext cx="1704662" cy="4649290"/>
          </a:xfrm>
          <a:prstGeom prst="rect">
            <a:avLst/>
          </a:prstGeom>
          <a:solidFill>
            <a:srgbClr val="67D2D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1691" b="1" kern="0">
              <a:solidFill>
                <a:prstClr val="white"/>
              </a:solidFill>
              <a:ea typeface="MS PGothic"/>
            </a:endParaRPr>
          </a:p>
        </p:txBody>
      </p:sp>
      <p:sp>
        <p:nvSpPr>
          <p:cNvPr id="33" name="TextBox 32">
            <a:extLst>
              <a:ext uri="{FF2B5EF4-FFF2-40B4-BE49-F238E27FC236}">
                <a16:creationId xmlns:a16="http://schemas.microsoft.com/office/drawing/2014/main" id="{B8404988-0743-411F-9224-20C8D366FC7C}"/>
              </a:ext>
            </a:extLst>
          </p:cNvPr>
          <p:cNvSpPr txBox="1"/>
          <p:nvPr/>
        </p:nvSpPr>
        <p:spPr>
          <a:xfrm>
            <a:off x="7750167" y="3776774"/>
            <a:ext cx="1638145" cy="2909234"/>
          </a:xfrm>
          <a:prstGeom prst="rect">
            <a:avLst/>
          </a:prstGeom>
          <a:noFill/>
        </p:spPr>
        <p:txBody>
          <a:bodyPr wrap="square" rtlCol="0">
            <a:spAutoFit/>
          </a:bodyPr>
          <a:lstStyle/>
          <a:p>
            <a:pPr algn="ctr" defTabSz="858940">
              <a:lnSpc>
                <a:spcPct val="120000"/>
              </a:lnSpc>
            </a:pPr>
            <a:r>
              <a:rPr lang="en-US" sz="1163" b="1">
                <a:solidFill>
                  <a:srgbClr val="FFFFFF"/>
                </a:solidFill>
                <a:latin typeface="Nunito Sans"/>
                <a:cs typeface="Arial" panose="020B0604020202020204" pitchFamily="34" charset="0"/>
              </a:rPr>
              <a:t>£3.2bn CBILS</a:t>
            </a:r>
          </a:p>
          <a:p>
            <a:pPr algn="ctr" defTabSz="858940">
              <a:lnSpc>
                <a:spcPct val="120000"/>
              </a:lnSpc>
            </a:pPr>
            <a:r>
              <a:rPr lang="en-US" sz="1163" b="1">
                <a:solidFill>
                  <a:srgbClr val="FFFFFF"/>
                </a:solidFill>
                <a:latin typeface="Nunito Sans"/>
                <a:cs typeface="Arial" panose="020B0604020202020204" pitchFamily="34" charset="0"/>
              </a:rPr>
              <a:t>14% Administrations YTD</a:t>
            </a:r>
          </a:p>
          <a:p>
            <a:pPr algn="ctr" defTabSz="858940">
              <a:lnSpc>
                <a:spcPct val="120000"/>
              </a:lnSpc>
            </a:pPr>
            <a:endParaRPr lang="en-US" sz="1066" b="1">
              <a:solidFill>
                <a:srgbClr val="FFFFFF"/>
              </a:solidFill>
              <a:latin typeface="Nunito Sans"/>
              <a:cs typeface="Arial" panose="020B0604020202020204" pitchFamily="34" charset="0"/>
            </a:endParaRPr>
          </a:p>
          <a:p>
            <a:pPr marL="166169" indent="-166169" defTabSz="858940">
              <a:lnSpc>
                <a:spcPct val="120000"/>
              </a:lnSpc>
              <a:buFontTx/>
              <a:buChar char="-"/>
            </a:pPr>
            <a:r>
              <a:rPr lang="en-US" sz="872">
                <a:solidFill>
                  <a:srgbClr val="FFFFFF"/>
                </a:solidFill>
                <a:latin typeface="Nunito Sans"/>
                <a:cs typeface="Arial" panose="020B0604020202020204" pitchFamily="34" charset="0"/>
              </a:rPr>
              <a:t>Access to raw materials </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Change in consumer habits</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Inflationary pressures</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Energy costs</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Competition </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Staff costs / shortages</a:t>
            </a:r>
          </a:p>
          <a:p>
            <a:pPr marL="166169" indent="-166169" defTabSz="858940">
              <a:lnSpc>
                <a:spcPct val="120000"/>
              </a:lnSpc>
              <a:buFontTx/>
              <a:buChar char="-"/>
            </a:pPr>
            <a:r>
              <a:rPr lang="en-US" sz="872">
                <a:solidFill>
                  <a:srgbClr val="FFFFFF"/>
                </a:solidFill>
                <a:latin typeface="Nunito Sans"/>
                <a:cs typeface="Arial" panose="020B0604020202020204" pitchFamily="34" charset="0"/>
              </a:rPr>
              <a:t>Supermarket dictating prices</a:t>
            </a:r>
          </a:p>
          <a:p>
            <a:pPr marL="166169" indent="-166169" defTabSz="858940">
              <a:lnSpc>
                <a:spcPct val="120000"/>
              </a:lnSpc>
              <a:buFontTx/>
              <a:buChar char="-"/>
            </a:pPr>
            <a:endParaRPr lang="en-US" sz="775">
              <a:solidFill>
                <a:srgbClr val="FFFFFF"/>
              </a:solidFill>
              <a:latin typeface="Nunito Sans"/>
              <a:cs typeface="Arial" panose="020B0604020202020204" pitchFamily="34" charset="0"/>
            </a:endParaRPr>
          </a:p>
          <a:p>
            <a:pPr defTabSz="858940">
              <a:lnSpc>
                <a:spcPct val="120000"/>
              </a:lnSpc>
            </a:pPr>
            <a:endParaRPr lang="en-US" sz="1066">
              <a:solidFill>
                <a:srgbClr val="FFFFFF"/>
              </a:solidFill>
              <a:latin typeface="Nunito Sans"/>
              <a:cs typeface="Arial" panose="020B0604020202020204" pitchFamily="34" charset="0"/>
            </a:endParaRPr>
          </a:p>
          <a:p>
            <a:pPr defTabSz="858940">
              <a:lnSpc>
                <a:spcPct val="120000"/>
              </a:lnSpc>
            </a:pPr>
            <a:endParaRPr lang="en-US" sz="1066">
              <a:solidFill>
                <a:srgbClr val="FFFFFF"/>
              </a:solidFill>
              <a:latin typeface="Nunito Sans"/>
              <a:cs typeface="Arial" panose="020B0604020202020204" pitchFamily="34" charset="0"/>
            </a:endParaRPr>
          </a:p>
        </p:txBody>
      </p:sp>
      <p:sp>
        <p:nvSpPr>
          <p:cNvPr id="34" name="TextBox 33">
            <a:extLst>
              <a:ext uri="{FF2B5EF4-FFF2-40B4-BE49-F238E27FC236}">
                <a16:creationId xmlns:a16="http://schemas.microsoft.com/office/drawing/2014/main" id="{42DB1F30-0E84-4B0B-8179-7945F2C54852}"/>
              </a:ext>
            </a:extLst>
          </p:cNvPr>
          <p:cNvSpPr txBox="1"/>
          <p:nvPr/>
        </p:nvSpPr>
        <p:spPr>
          <a:xfrm>
            <a:off x="7712237" y="3003516"/>
            <a:ext cx="1704662" cy="447460"/>
          </a:xfrm>
          <a:prstGeom prst="rect">
            <a:avLst/>
          </a:prstGeom>
          <a:noFill/>
        </p:spPr>
        <p:txBody>
          <a:bodyPr wrap="square" rtlCol="0">
            <a:spAutoFit/>
          </a:bodyPr>
          <a:lstStyle/>
          <a:p>
            <a:pPr algn="ctr" defTabSz="858940"/>
            <a:r>
              <a:rPr lang="en-GB" sz="1163" b="1" kern="7500" spc="76">
                <a:solidFill>
                  <a:srgbClr val="FFFFFF"/>
                </a:solidFill>
                <a:latin typeface="Nunito Sans"/>
                <a:cs typeface="Arial" panose="020B0604020202020204" pitchFamily="34" charset="0"/>
              </a:rPr>
              <a:t>MANUFACTURING</a:t>
            </a:r>
          </a:p>
          <a:p>
            <a:pPr algn="ctr" defTabSz="858940"/>
            <a:r>
              <a:rPr lang="en-GB" sz="1163" b="1" kern="7500" spc="76">
                <a:solidFill>
                  <a:srgbClr val="FFFFFF"/>
                </a:solidFill>
                <a:latin typeface="Nunito Sans"/>
                <a:cs typeface="Arial" panose="020B0604020202020204" pitchFamily="34" charset="0"/>
              </a:rPr>
              <a:t>(INC F&amp;B)</a:t>
            </a:r>
            <a:endParaRPr lang="uk-UA" sz="1163" b="1" kern="7500" spc="76">
              <a:solidFill>
                <a:srgbClr val="FFFFFF"/>
              </a:solidFill>
              <a:cs typeface="Arial" panose="020B0604020202020204" pitchFamily="34" charset="0"/>
            </a:endParaRPr>
          </a:p>
        </p:txBody>
      </p:sp>
      <p:sp>
        <p:nvSpPr>
          <p:cNvPr id="38" name="Oval 37">
            <a:extLst>
              <a:ext uri="{FF2B5EF4-FFF2-40B4-BE49-F238E27FC236}">
                <a16:creationId xmlns:a16="http://schemas.microsoft.com/office/drawing/2014/main" id="{AD3F5387-49CE-4CB8-AF09-4BC25B674127}"/>
              </a:ext>
            </a:extLst>
          </p:cNvPr>
          <p:cNvSpPr/>
          <p:nvPr/>
        </p:nvSpPr>
        <p:spPr>
          <a:xfrm>
            <a:off x="8133109" y="1883577"/>
            <a:ext cx="872260" cy="898450"/>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2950" tIns="21476" rIns="42950" bIns="21476" numCol="1" spcCol="0" rtlCol="0" fromWordArt="0" anchor="ctr" anchorCtr="0" forceAA="0" compatLnSpc="1">
            <a:prstTxWarp prst="textNoShape">
              <a:avLst/>
            </a:prstTxWarp>
            <a:noAutofit/>
          </a:bodyPr>
          <a:lstStyle/>
          <a:p>
            <a:pPr algn="ctr" defTabSz="858931">
              <a:defRPr/>
            </a:pPr>
            <a:endParaRPr lang="uk-UA" sz="2254" b="1" kern="0">
              <a:solidFill>
                <a:prstClr val="white"/>
              </a:solidFill>
              <a:ea typeface="MS PGothic"/>
              <a:cs typeface="Arial" panose="020B0604020202020204" pitchFamily="34" charset="0"/>
            </a:endParaRPr>
          </a:p>
        </p:txBody>
      </p:sp>
      <p:pic>
        <p:nvPicPr>
          <p:cNvPr id="5" name="Graphic 4" descr="Crane outline">
            <a:extLst>
              <a:ext uri="{FF2B5EF4-FFF2-40B4-BE49-F238E27FC236}">
                <a16:creationId xmlns:a16="http://schemas.microsoft.com/office/drawing/2014/main" id="{661D2801-85C5-4338-A3C2-1AE3CB594B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29288" y="1980254"/>
            <a:ext cx="705096" cy="705096"/>
          </a:xfrm>
          <a:prstGeom prst="rect">
            <a:avLst/>
          </a:prstGeom>
        </p:spPr>
      </p:pic>
      <p:pic>
        <p:nvPicPr>
          <p:cNvPr id="8" name="Graphic 7" descr="Store outline">
            <a:extLst>
              <a:ext uri="{FF2B5EF4-FFF2-40B4-BE49-F238E27FC236}">
                <a16:creationId xmlns:a16="http://schemas.microsoft.com/office/drawing/2014/main" id="{564CBB7C-999B-497F-9B5F-E6F20998AC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75748" y="2007579"/>
            <a:ext cx="638069" cy="638069"/>
          </a:xfrm>
          <a:prstGeom prst="rect">
            <a:avLst/>
          </a:prstGeom>
        </p:spPr>
      </p:pic>
      <p:pic>
        <p:nvPicPr>
          <p:cNvPr id="39" name="Graphic 38" descr="Money outline">
            <a:extLst>
              <a:ext uri="{FF2B5EF4-FFF2-40B4-BE49-F238E27FC236}">
                <a16:creationId xmlns:a16="http://schemas.microsoft.com/office/drawing/2014/main" id="{5141E11A-DC6D-47E6-A1D5-5C8203ECC41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61765" y="1986298"/>
            <a:ext cx="608881" cy="608881"/>
          </a:xfrm>
          <a:prstGeom prst="rect">
            <a:avLst/>
          </a:prstGeom>
        </p:spPr>
      </p:pic>
      <p:pic>
        <p:nvPicPr>
          <p:cNvPr id="41" name="Graphic 40" descr="City outline">
            <a:extLst>
              <a:ext uri="{FF2B5EF4-FFF2-40B4-BE49-F238E27FC236}">
                <a16:creationId xmlns:a16="http://schemas.microsoft.com/office/drawing/2014/main" id="{49FA2DED-2917-404E-BDEB-CDCCB8ED4C0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6012" y="1960759"/>
            <a:ext cx="670733" cy="670733"/>
          </a:xfrm>
          <a:prstGeom prst="rect">
            <a:avLst/>
          </a:prstGeom>
        </p:spPr>
      </p:pic>
      <p:pic>
        <p:nvPicPr>
          <p:cNvPr id="45" name="Graphic 44" descr="Grocery bag outline">
            <a:extLst>
              <a:ext uri="{FF2B5EF4-FFF2-40B4-BE49-F238E27FC236}">
                <a16:creationId xmlns:a16="http://schemas.microsoft.com/office/drawing/2014/main" id="{F2FBACE2-8962-4ADF-8C2B-2234B89D29D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237084" y="1974840"/>
            <a:ext cx="658130" cy="658130"/>
          </a:xfrm>
          <a:prstGeom prst="rect">
            <a:avLst/>
          </a:prstGeom>
        </p:spPr>
      </p:pic>
    </p:spTree>
    <p:extLst>
      <p:ext uri="{BB962C8B-B14F-4D97-AF65-F5344CB8AC3E}">
        <p14:creationId xmlns:p14="http://schemas.microsoft.com/office/powerpoint/2010/main" val="1480512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Reminder10/9/2020 2:30:56 PM251285285"/>
  <p:tag name="TOCTEMPLATESHAPENAME" val="Defaut 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UPSLIDESHAPELIBITEMID" val="0032a15a-b928-4245-8b5f-045f7294ea6a"/>
  <p:tag name="UPSLIDESHAPELIBITEMEDITIONDATE" val="636915732711476164"/>
  <p:tag name="UPSLIDESHAPELIBITEMLASTCREATOR" val="Poupaud"/>
  <p:tag name="UPSLIDESHAPELIBITEMNAME" val="United Kingdom (UK) and Ireland"/>
  <p:tag name="UPSLIDESTOREDSHAPELOCATION" val="\\duffandphelps.com\applications$\upslide\rest_uk\Duff &amp; Phelps UK\Kroll\Duff &amp; Phelps UK\Slide elements\Flags &amp; Maps\Maps\Europe\Western Europe.lib"/>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1Dva2W16Ei_Mvh3cJJ7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1Dva2W16Ei_Mvh3cJJ7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1Dva2W16Ei_Mvh3cJJ7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1Dva2W16Ei_Mvh3cJJ7LQ"/>
</p:tagLst>
</file>

<file path=ppt/tags/tag8.xml><?xml version="1.0" encoding="utf-8"?>
<p:tagLst xmlns:a="http://schemas.openxmlformats.org/drawingml/2006/main" xmlns:r="http://schemas.openxmlformats.org/officeDocument/2006/relationships" xmlns:p="http://schemas.openxmlformats.org/presentationml/2006/main">
  <p:tag name="NAME" val="Reminder10/9/2020 2:30:56 PM251285285"/>
  <p:tag name="TOCTEMPLATESHAPENAME" val="Defaut 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roll">
  <a:themeElements>
    <a:clrScheme name="Kroll">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788A850D0FFD45975E53B2592BCC7C" ma:contentTypeVersion="10" ma:contentTypeDescription="Create a new document." ma:contentTypeScope="" ma:versionID="ce35de7cc73597c396789d62388607b0">
  <xsd:schema xmlns:xsd="http://www.w3.org/2001/XMLSchema" xmlns:xs="http://www.w3.org/2001/XMLSchema" xmlns:p="http://schemas.microsoft.com/office/2006/metadata/properties" xmlns:ns2="6076926a-baa6-4e04-9b19-03a001e6e373" xmlns:ns3="73acd2cc-6b42-4a04-8f44-7773442ac39f" targetNamespace="http://schemas.microsoft.com/office/2006/metadata/properties" ma:root="true" ma:fieldsID="4532d00259ee511c8f4f24b6343204a7" ns2:_="" ns3:_="">
    <xsd:import namespace="6076926a-baa6-4e04-9b19-03a001e6e373"/>
    <xsd:import namespace="73acd2cc-6b42-4a04-8f44-7773442ac39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76926a-baa6-4e04-9b19-03a001e6e3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3acd2cc-6b42-4a04-8f44-7773442ac39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77A263-C78A-4F5D-96FF-2773AAFAED7C}">
  <ds:schemaRefs>
    <ds:schemaRef ds:uri="http://purl.org/dc/dcmitype/"/>
    <ds:schemaRef ds:uri="http://purl.org/dc/elements/1.1/"/>
    <ds:schemaRef ds:uri="http://www.w3.org/XML/1998/namespace"/>
    <ds:schemaRef ds:uri="http://schemas.microsoft.com/office/2006/documentManagement/types"/>
    <ds:schemaRef ds:uri="http://schemas.microsoft.com/office/infopath/2007/PartnerControls"/>
    <ds:schemaRef ds:uri="http://purl.org/dc/terms/"/>
    <ds:schemaRef ds:uri="73acd2cc-6b42-4a04-8f44-7773442ac39f"/>
    <ds:schemaRef ds:uri="http://schemas.microsoft.com/office/2006/metadata/properties"/>
    <ds:schemaRef ds:uri="http://schemas.openxmlformats.org/package/2006/metadata/core-properties"/>
    <ds:schemaRef ds:uri="6076926a-baa6-4e04-9b19-03a001e6e373"/>
  </ds:schemaRefs>
</ds:datastoreItem>
</file>

<file path=customXml/itemProps2.xml><?xml version="1.0" encoding="utf-8"?>
<ds:datastoreItem xmlns:ds="http://schemas.openxmlformats.org/officeDocument/2006/customXml" ds:itemID="{F238A320-A7B5-4E80-9BB5-16D9C21A69E4}">
  <ds:schemaRefs>
    <ds:schemaRef ds:uri="6076926a-baa6-4e04-9b19-03a001e6e373"/>
    <ds:schemaRef ds:uri="73acd2cc-6b42-4a04-8f44-7773442ac3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BB814C6-DB62-4A96-B750-46D9A7EFE1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10</TotalTime>
  <Words>1493</Words>
  <Application>Microsoft Office PowerPoint</Application>
  <PresentationFormat>A4 Paper (210x297 mm)</PresentationFormat>
  <Paragraphs>494</Paragraphs>
  <Slides>21</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1</vt:i4>
      </vt:variant>
    </vt:vector>
  </HeadingPairs>
  <TitlesOfParts>
    <vt:vector size="30" baseType="lpstr">
      <vt:lpstr>Arial</vt:lpstr>
      <vt:lpstr>Calibri</vt:lpstr>
      <vt:lpstr>Courier New</vt:lpstr>
      <vt:lpstr>Nunito Sans</vt:lpstr>
      <vt:lpstr>Nunito Sans ExtraBold</vt:lpstr>
      <vt:lpstr>System Font Regular</vt:lpstr>
      <vt:lpstr>Kroll</vt:lpstr>
      <vt:lpstr>think-cell Slide</vt:lpstr>
      <vt:lpstr>Worksheet</vt:lpstr>
      <vt:lpstr>UK Restructuring Update</vt:lpstr>
      <vt:lpstr>PowerPoint Presentation</vt:lpstr>
      <vt:lpstr>01. Introduction To Kroll</vt:lpstr>
      <vt:lpstr>PowerPoint Presentation</vt:lpstr>
      <vt:lpstr>PowerPoint Presentation</vt:lpstr>
      <vt:lpstr>02. UK Restructuring Market Update</vt:lpstr>
      <vt:lpstr>MARKET UPDATE &amp; HISTORIC UK ADMINISTRATION APPOINTMENTS</vt:lpstr>
      <vt:lpstr>MARKET OUTLOOK – CBILS vs ADMINISTRATIONS</vt:lpstr>
      <vt:lpstr>SECTOR MARKET OUTLOOK</vt:lpstr>
      <vt:lpstr>MARKET UPDATE AND HISTORIC UK CREDITORS’ VOLUNTARY LIQUIDATIONS (CVLs)</vt:lpstr>
      <vt:lpstr>SECTOR ANALYSIS – TOTAL INSOLVENCIES</vt:lpstr>
      <vt:lpstr>03. HMRC Update</vt:lpstr>
      <vt:lpstr>Selected Case Study</vt:lpstr>
      <vt:lpstr>Selected Case Study</vt:lpstr>
      <vt:lpstr>04. The Impacts on Value of Leverage</vt:lpstr>
      <vt:lpstr>CASE STUDY - LEVERAGED BUYOUTS</vt:lpstr>
      <vt:lpstr>CASE STUDY - LEVERAGED BALANCE SHEETS</vt:lpstr>
      <vt:lpstr>05. Summary</vt:lpstr>
      <vt:lpstr>TESTIMONIAL</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dget Hurley</dc:creator>
  <cp:lastModifiedBy>Kirsty McGregor</cp:lastModifiedBy>
  <cp:revision>2</cp:revision>
  <cp:lastPrinted>2022-10-04T16:48:56Z</cp:lastPrinted>
  <dcterms:created xsi:type="dcterms:W3CDTF">2021-05-25T12:41:17Z</dcterms:created>
  <dcterms:modified xsi:type="dcterms:W3CDTF">2022-10-08T14:0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788A850D0FFD45975E53B2592BCC7C</vt:lpwstr>
  </property>
</Properties>
</file>